
<file path=[Content_Types].xml><?xml version="1.0" encoding="utf-8"?>
<Types xmlns="http://schemas.openxmlformats.org/package/2006/content-types">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4" r:id="rId4"/>
  </p:sldMasterIdLst>
  <p:notesMasterIdLst>
    <p:notesMasterId r:id="rId17"/>
  </p:notesMasterIdLst>
  <p:handoutMasterIdLst>
    <p:handoutMasterId r:id="rId18"/>
  </p:handoutMasterIdLst>
  <p:sldIdLst>
    <p:sldId id="6176" r:id="rId5"/>
    <p:sldId id="6165" r:id="rId6"/>
    <p:sldId id="3325" r:id="rId7"/>
    <p:sldId id="3108" r:id="rId8"/>
    <p:sldId id="6178" r:id="rId9"/>
    <p:sldId id="1937" r:id="rId10"/>
    <p:sldId id="6179" r:id="rId11"/>
    <p:sldId id="257" r:id="rId12"/>
    <p:sldId id="2710" r:id="rId13"/>
    <p:sldId id="2725" r:id="rId14"/>
    <p:sldId id="2726" r:id="rId15"/>
    <p:sldId id="6180" r:id="rId16"/>
  </p:sldIdLst>
  <p:sldSz cx="14630400" cy="8229600"/>
  <p:notesSz cx="6858000" cy="9144000"/>
  <p:defaultTextStyle>
    <a:defPPr>
      <a:defRPr lang="en-US"/>
    </a:defPPr>
    <a:lvl1pPr marL="0" algn="l" defTabSz="731520" rtl="0" eaLnBrk="1" latinLnBrk="0" hangingPunct="1">
      <a:defRPr sz="2880" kern="1200">
        <a:solidFill>
          <a:schemeClr val="tx1"/>
        </a:solidFill>
        <a:latin typeface="+mn-lt"/>
        <a:ea typeface="+mn-ea"/>
        <a:cs typeface="+mn-cs"/>
      </a:defRPr>
    </a:lvl1pPr>
    <a:lvl2pPr marL="731520" algn="l" defTabSz="731520" rtl="0" eaLnBrk="1" latinLnBrk="0" hangingPunct="1">
      <a:defRPr sz="2880" kern="1200">
        <a:solidFill>
          <a:schemeClr val="tx1"/>
        </a:solidFill>
        <a:latin typeface="+mn-lt"/>
        <a:ea typeface="+mn-ea"/>
        <a:cs typeface="+mn-cs"/>
      </a:defRPr>
    </a:lvl2pPr>
    <a:lvl3pPr marL="1463040" algn="l" defTabSz="731520" rtl="0" eaLnBrk="1" latinLnBrk="0" hangingPunct="1">
      <a:defRPr sz="2880" kern="1200">
        <a:solidFill>
          <a:schemeClr val="tx1"/>
        </a:solidFill>
        <a:latin typeface="+mn-lt"/>
        <a:ea typeface="+mn-ea"/>
        <a:cs typeface="+mn-cs"/>
      </a:defRPr>
    </a:lvl3pPr>
    <a:lvl4pPr marL="2194560" algn="l" defTabSz="731520" rtl="0" eaLnBrk="1" latinLnBrk="0" hangingPunct="1">
      <a:defRPr sz="2880" kern="1200">
        <a:solidFill>
          <a:schemeClr val="tx1"/>
        </a:solidFill>
        <a:latin typeface="+mn-lt"/>
        <a:ea typeface="+mn-ea"/>
        <a:cs typeface="+mn-cs"/>
      </a:defRPr>
    </a:lvl4pPr>
    <a:lvl5pPr marL="2926080" algn="l" defTabSz="731520" rtl="0" eaLnBrk="1" latinLnBrk="0" hangingPunct="1">
      <a:defRPr sz="2880" kern="1200">
        <a:solidFill>
          <a:schemeClr val="tx1"/>
        </a:solidFill>
        <a:latin typeface="+mn-lt"/>
        <a:ea typeface="+mn-ea"/>
        <a:cs typeface="+mn-cs"/>
      </a:defRPr>
    </a:lvl5pPr>
    <a:lvl6pPr marL="3657600" algn="l" defTabSz="731520" rtl="0" eaLnBrk="1" latinLnBrk="0" hangingPunct="1">
      <a:defRPr sz="2880" kern="1200">
        <a:solidFill>
          <a:schemeClr val="tx1"/>
        </a:solidFill>
        <a:latin typeface="+mn-lt"/>
        <a:ea typeface="+mn-ea"/>
        <a:cs typeface="+mn-cs"/>
      </a:defRPr>
    </a:lvl6pPr>
    <a:lvl7pPr marL="4389120" algn="l" defTabSz="731520" rtl="0" eaLnBrk="1" latinLnBrk="0" hangingPunct="1">
      <a:defRPr sz="2880" kern="1200">
        <a:solidFill>
          <a:schemeClr val="tx1"/>
        </a:solidFill>
        <a:latin typeface="+mn-lt"/>
        <a:ea typeface="+mn-ea"/>
        <a:cs typeface="+mn-cs"/>
      </a:defRPr>
    </a:lvl7pPr>
    <a:lvl8pPr marL="5120640" algn="l" defTabSz="731520" rtl="0" eaLnBrk="1" latinLnBrk="0" hangingPunct="1">
      <a:defRPr sz="2880" kern="1200">
        <a:solidFill>
          <a:schemeClr val="tx1"/>
        </a:solidFill>
        <a:latin typeface="+mn-lt"/>
        <a:ea typeface="+mn-ea"/>
        <a:cs typeface="+mn-cs"/>
      </a:defRPr>
    </a:lvl8pPr>
    <a:lvl9pPr marL="5852160" algn="l" defTabSz="731520" rtl="0" eaLnBrk="1" latinLnBrk="0" hangingPunct="1">
      <a:defRPr sz="288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30" userDrawn="1">
          <p15:clr>
            <a:srgbClr val="A4A3A4"/>
          </p15:clr>
        </p15:guide>
        <p15:guide id="2" orient="horz" pos="4637" userDrawn="1">
          <p15:clr>
            <a:srgbClr val="A4A3A4"/>
          </p15:clr>
        </p15:guide>
        <p15:guide id="3" orient="horz" pos="3859" userDrawn="1">
          <p15:clr>
            <a:srgbClr val="A4A3A4"/>
          </p15:clr>
        </p15:guide>
        <p15:guide id="4" orient="horz" pos="5114" userDrawn="1">
          <p15:clr>
            <a:srgbClr val="A4A3A4"/>
          </p15:clr>
        </p15:guide>
        <p15:guide id="5" orient="horz" pos="2160" userDrawn="1">
          <p15:clr>
            <a:srgbClr val="A4A3A4"/>
          </p15:clr>
        </p15:guide>
        <p15:guide id="6" orient="horz" pos="2205" userDrawn="1">
          <p15:clr>
            <a:srgbClr val="A4A3A4"/>
          </p15:clr>
        </p15:guide>
        <p15:guide id="7" orient="horz" pos="3325" userDrawn="1">
          <p15:clr>
            <a:srgbClr val="A4A3A4"/>
          </p15:clr>
        </p15:guide>
        <p15:guide id="8" orient="horz" pos="200" userDrawn="1">
          <p15:clr>
            <a:srgbClr val="A4A3A4"/>
          </p15:clr>
        </p15:guide>
        <p15:guide id="9" orient="horz" pos="3370" userDrawn="1">
          <p15:clr>
            <a:srgbClr val="A4A3A4"/>
          </p15:clr>
        </p15:guide>
        <p15:guide id="10" orient="horz" pos="4574" userDrawn="1">
          <p15:clr>
            <a:srgbClr val="A4A3A4"/>
          </p15:clr>
        </p15:guide>
        <p15:guide id="11" pos="1536" userDrawn="1">
          <p15:clr>
            <a:srgbClr val="A4A3A4"/>
          </p15:clr>
        </p15:guide>
        <p15:guide id="12" pos="2808" userDrawn="1">
          <p15:clr>
            <a:srgbClr val="A4A3A4"/>
          </p15:clr>
        </p15:guide>
        <p15:guide id="13" pos="4613" userDrawn="1">
          <p15:clr>
            <a:srgbClr val="A4A3A4"/>
          </p15:clr>
        </p15:guide>
        <p15:guide id="14" pos="4030" userDrawn="1">
          <p15:clr>
            <a:srgbClr val="A4A3A4"/>
          </p15:clr>
        </p15:guide>
        <p15:guide id="15" pos="7664" userDrawn="1">
          <p15:clr>
            <a:srgbClr val="A4A3A4"/>
          </p15:clr>
        </p15:guide>
        <p15:guide id="16" pos="3979" userDrawn="1">
          <p15:clr>
            <a:srgbClr val="A4A3A4"/>
          </p15:clr>
        </p15:guide>
        <p15:guide id="17" pos="2755" userDrawn="1">
          <p15:clr>
            <a:srgbClr val="A4A3A4"/>
          </p15:clr>
        </p15:guide>
        <p15:guide id="18" pos="1579" userDrawn="1">
          <p15:clr>
            <a:srgbClr val="A4A3A4"/>
          </p15:clr>
        </p15:guide>
        <p15:guide id="19" pos="7709" userDrawn="1">
          <p15:clr>
            <a:srgbClr val="A4A3A4"/>
          </p15:clr>
        </p15:guide>
        <p15:guide id="20" pos="5211" userDrawn="1">
          <p15:clr>
            <a:srgbClr val="A4A3A4"/>
          </p15:clr>
        </p15:guide>
        <p15:guide id="21" userDrawn="1">
          <p15:clr>
            <a:srgbClr val="A4A3A4"/>
          </p15:clr>
        </p15:guide>
        <p15:guide id="22" pos="5256" userDrawn="1">
          <p15:clr>
            <a:srgbClr val="A4A3A4"/>
          </p15:clr>
        </p15:guide>
        <p15:guide id="23" pos="6435" userDrawn="1">
          <p15:clr>
            <a:srgbClr val="A4A3A4"/>
          </p15:clr>
        </p15:guide>
        <p15:guide id="24" pos="6485" userDrawn="1">
          <p15:clr>
            <a:srgbClr val="A4A3A4"/>
          </p15:clr>
        </p15:guide>
        <p15:guide id="25" pos="8870" userDrawn="1">
          <p15:clr>
            <a:srgbClr val="A4A3A4"/>
          </p15:clr>
        </p15:guide>
        <p15:guide id="26" pos="352" userDrawn="1">
          <p15:clr>
            <a:srgbClr val="A4A3A4"/>
          </p15:clr>
        </p15:guide>
        <p15:guide id="27" pos="557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atalano, Alec" initials="" lastIdx="23" clrIdx="0"/>
  <p:cmAuthor id="1" name="Alec Catalano" initials="" lastIdx="1" clrIdx="1"/>
  <p:cmAuthor id="2" name="Kate Johnson" initials="KJ" lastIdx="2" clrIdx="2">
    <p:extLst>
      <p:ext uri="{19B8F6BF-5375-455C-9EA6-DF929625EA0E}">
        <p15:presenceInfo xmlns:p15="http://schemas.microsoft.com/office/powerpoint/2012/main" userId="S::katej@silverfoxprod.com::9f2c6cbc-0561-4e9d-9f46-67e39326bdd3" providerId="AD"/>
      </p:ext>
    </p:extLst>
  </p:cmAuthor>
  <p:cmAuthor id="3" name="Mark Stluka" initials="MS" lastIdx="3" clrIdx="3">
    <p:extLst>
      <p:ext uri="{19B8F6BF-5375-455C-9EA6-DF929625EA0E}">
        <p15:presenceInfo xmlns:p15="http://schemas.microsoft.com/office/powerpoint/2012/main" userId="S::marks@silverfoxprod.com::8fdd8c16-1c2b-4b61-8fe4-faba46c6bb9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9B2E"/>
    <a:srgbClr val="414042"/>
    <a:srgbClr val="3EBEFF"/>
    <a:srgbClr val="FEDEDA"/>
    <a:srgbClr val="007DBC"/>
    <a:srgbClr val="FB5745"/>
    <a:srgbClr val="A5D77D"/>
    <a:srgbClr val="68AE35"/>
    <a:srgbClr val="232F3E"/>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157" autoAdjust="0"/>
    <p:restoredTop sz="89747" autoAdjust="0"/>
  </p:normalViewPr>
  <p:slideViewPr>
    <p:cSldViewPr snapToGrid="0" showGuides="1">
      <p:cViewPr varScale="1">
        <p:scale>
          <a:sx n="115" d="100"/>
          <a:sy n="115" d="100"/>
        </p:scale>
        <p:origin x="1664" y="208"/>
      </p:cViewPr>
      <p:guideLst>
        <p:guide orient="horz" pos="1030"/>
        <p:guide orient="horz" pos="4637"/>
        <p:guide orient="horz" pos="3859"/>
        <p:guide orient="horz" pos="5114"/>
        <p:guide orient="horz" pos="2160"/>
        <p:guide orient="horz" pos="2205"/>
        <p:guide orient="horz" pos="3325"/>
        <p:guide orient="horz" pos="200"/>
        <p:guide orient="horz" pos="3370"/>
        <p:guide orient="horz" pos="4574"/>
        <p:guide pos="1536"/>
        <p:guide pos="2808"/>
        <p:guide pos="4613"/>
        <p:guide pos="4030"/>
        <p:guide pos="7664"/>
        <p:guide pos="3979"/>
        <p:guide pos="2755"/>
        <p:guide pos="1579"/>
        <p:guide pos="7709"/>
        <p:guide pos="5211"/>
        <p:guide/>
        <p:guide pos="5256"/>
        <p:guide pos="6435"/>
        <p:guide pos="6485"/>
        <p:guide pos="8870"/>
        <p:guide pos="352"/>
        <p:guide pos="557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9" d="100"/>
          <a:sy n="59" d="100"/>
        </p:scale>
        <p:origin x="2371" y="3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9EAAF34-71F8-6342-832E-C583FEB3FB2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FA700CEA-93F0-3648-8636-3ECA00800B2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2887149-AF03-6142-908A-3DD284EAF54B}" type="datetimeFigureOut">
              <a:rPr lang="en-US" smtClean="0"/>
              <a:t>8/17/21</a:t>
            </a:fld>
            <a:endParaRPr lang="en-US"/>
          </a:p>
        </p:txBody>
      </p:sp>
      <p:sp>
        <p:nvSpPr>
          <p:cNvPr id="4" name="Footer Placeholder 3">
            <a:extLst>
              <a:ext uri="{FF2B5EF4-FFF2-40B4-BE49-F238E27FC236}">
                <a16:creationId xmlns:a16="http://schemas.microsoft.com/office/drawing/2014/main" id="{15D72482-B212-B34F-AAFC-10B8C8EF77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F0B9C6E-4611-5A44-8B47-37FCE89DEBF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71AC043-34FA-4C46-BDAD-AE3E2DBAD1A4}" type="slidenum">
              <a:rPr lang="en-US" smtClean="0"/>
              <a:t>‹#›</a:t>
            </a:fld>
            <a:endParaRPr lang="en-US"/>
          </a:p>
        </p:txBody>
      </p:sp>
    </p:spTree>
    <p:extLst>
      <p:ext uri="{BB962C8B-B14F-4D97-AF65-F5344CB8AC3E}">
        <p14:creationId xmlns:p14="http://schemas.microsoft.com/office/powerpoint/2010/main" val="24636460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Amazon Ember Regular"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Amazon Ember Regular" charset="0"/>
              </a:defRPr>
            </a:lvl1pPr>
          </a:lstStyle>
          <a:p>
            <a:fld id="{0B25AC41-3BEC-9247-8322-91B80C013F2D}" type="datetimeFigureOut">
              <a:rPr lang="en-US" smtClean="0"/>
              <a:pPr/>
              <a:t>8/17/21</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Amazon Ember Regular"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Amazon Ember Regular" charset="0"/>
              </a:defRPr>
            </a:lvl1pPr>
          </a:lstStyle>
          <a:p>
            <a:fld id="{69C3F2ED-74C5-7D4F-8560-0CC253E9A436}" type="slidenum">
              <a:rPr lang="en-US" smtClean="0"/>
              <a:pPr/>
              <a:t>‹#›</a:t>
            </a:fld>
            <a:endParaRPr lang="en-US" dirty="0"/>
          </a:p>
        </p:txBody>
      </p:sp>
    </p:spTree>
    <p:extLst>
      <p:ext uri="{BB962C8B-B14F-4D97-AF65-F5344CB8AC3E}">
        <p14:creationId xmlns:p14="http://schemas.microsoft.com/office/powerpoint/2010/main" val="943536003"/>
      </p:ext>
    </p:extLst>
  </p:cSld>
  <p:clrMap bg1="lt1" tx1="dk1" bg2="lt2" tx2="dk2" accent1="accent1" accent2="accent2" accent3="accent3" accent4="accent4" accent5="accent5" accent6="accent6" hlink="hlink" folHlink="folHlink"/>
  <p:notesStyle>
    <a:lvl1pPr marL="0" algn="l" defTabSz="731520" rtl="0" eaLnBrk="1" latinLnBrk="0" hangingPunct="1">
      <a:defRPr sz="1920" b="0" i="0" kern="1200">
        <a:solidFill>
          <a:schemeClr val="tx1"/>
        </a:solidFill>
        <a:latin typeface="Amazon Ember Regular" charset="0"/>
        <a:ea typeface="+mn-ea"/>
        <a:cs typeface="+mn-cs"/>
      </a:defRPr>
    </a:lvl1pPr>
    <a:lvl2pPr marL="731520" algn="l" defTabSz="731520" rtl="0" eaLnBrk="1" latinLnBrk="0" hangingPunct="1">
      <a:defRPr sz="1920" b="0" i="0" kern="1200">
        <a:solidFill>
          <a:schemeClr val="tx1"/>
        </a:solidFill>
        <a:latin typeface="Amazon Ember Regular" charset="0"/>
        <a:ea typeface="+mn-ea"/>
        <a:cs typeface="+mn-cs"/>
      </a:defRPr>
    </a:lvl2pPr>
    <a:lvl3pPr marL="1463040" algn="l" defTabSz="731520" rtl="0" eaLnBrk="1" latinLnBrk="0" hangingPunct="1">
      <a:defRPr sz="1920" b="0" i="0" kern="1200">
        <a:solidFill>
          <a:schemeClr val="tx1"/>
        </a:solidFill>
        <a:latin typeface="Amazon Ember Regular" charset="0"/>
        <a:ea typeface="+mn-ea"/>
        <a:cs typeface="+mn-cs"/>
      </a:defRPr>
    </a:lvl3pPr>
    <a:lvl4pPr marL="2194560" algn="l" defTabSz="731520" rtl="0" eaLnBrk="1" latinLnBrk="0" hangingPunct="1">
      <a:defRPr sz="1920" b="0" i="0" kern="1200">
        <a:solidFill>
          <a:schemeClr val="tx1"/>
        </a:solidFill>
        <a:latin typeface="Amazon Ember Regular" charset="0"/>
        <a:ea typeface="+mn-ea"/>
        <a:cs typeface="+mn-cs"/>
      </a:defRPr>
    </a:lvl4pPr>
    <a:lvl5pPr marL="2926080" algn="l" defTabSz="731520" rtl="0" eaLnBrk="1" latinLnBrk="0" hangingPunct="1">
      <a:defRPr sz="1920" b="0" i="0" kern="1200">
        <a:solidFill>
          <a:schemeClr val="tx1"/>
        </a:solidFill>
        <a:latin typeface="Amazon Ember Regular" charset="0"/>
        <a:ea typeface="+mn-ea"/>
        <a:cs typeface="+mn-cs"/>
      </a:defRPr>
    </a:lvl5pPr>
    <a:lvl6pPr marL="3657600" algn="l" defTabSz="731520" rtl="0" eaLnBrk="1" latinLnBrk="0" hangingPunct="1">
      <a:defRPr sz="1920" kern="1200">
        <a:solidFill>
          <a:schemeClr val="tx1"/>
        </a:solidFill>
        <a:latin typeface="+mn-lt"/>
        <a:ea typeface="+mn-ea"/>
        <a:cs typeface="+mn-cs"/>
      </a:defRPr>
    </a:lvl6pPr>
    <a:lvl7pPr marL="4389120" algn="l" defTabSz="731520" rtl="0" eaLnBrk="1" latinLnBrk="0" hangingPunct="1">
      <a:defRPr sz="1920" kern="1200">
        <a:solidFill>
          <a:schemeClr val="tx1"/>
        </a:solidFill>
        <a:latin typeface="+mn-lt"/>
        <a:ea typeface="+mn-ea"/>
        <a:cs typeface="+mn-cs"/>
      </a:defRPr>
    </a:lvl7pPr>
    <a:lvl8pPr marL="5120640" algn="l" defTabSz="731520" rtl="0" eaLnBrk="1" latinLnBrk="0" hangingPunct="1">
      <a:defRPr sz="1920" kern="1200">
        <a:solidFill>
          <a:schemeClr val="tx1"/>
        </a:solidFill>
        <a:latin typeface="+mn-lt"/>
        <a:ea typeface="+mn-ea"/>
        <a:cs typeface="+mn-cs"/>
      </a:defRPr>
    </a:lvl8pPr>
    <a:lvl9pPr marL="5852160" algn="l" defTabSz="731520" rtl="0" eaLnBrk="1" latinLnBrk="0" hangingPunct="1">
      <a:defRPr sz="192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9C3F2ED-74C5-7D4F-8560-0CC253E9A436}" type="slidenum">
              <a:rPr lang="en-US" smtClean="0"/>
              <a:pPr/>
              <a:t>1</a:t>
            </a:fld>
            <a:endParaRPr lang="en-US" dirty="0"/>
          </a:p>
        </p:txBody>
      </p:sp>
    </p:spTree>
    <p:extLst>
      <p:ext uri="{BB962C8B-B14F-4D97-AF65-F5344CB8AC3E}">
        <p14:creationId xmlns:p14="http://schemas.microsoft.com/office/powerpoint/2010/main" val="5987029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ol selection, installation &amp; data collection start is determinant to future speed</a:t>
            </a:r>
          </a:p>
          <a:p>
            <a:pPr marL="171450" indent="-171450">
              <a:buFontTx/>
              <a:buChar char="-"/>
            </a:pPr>
            <a:r>
              <a:rPr lang="en-US" dirty="0"/>
              <a:t>Inventory is only as complete as your diligence</a:t>
            </a:r>
          </a:p>
        </p:txBody>
      </p:sp>
      <p:sp>
        <p:nvSpPr>
          <p:cNvPr id="4" name="Slide Number Placeholder 3"/>
          <p:cNvSpPr>
            <a:spLocks noGrp="1"/>
          </p:cNvSpPr>
          <p:nvPr>
            <p:ph type="sldNum" sz="quarter" idx="5"/>
          </p:nvPr>
        </p:nvSpPr>
        <p:spPr/>
        <p:txBody>
          <a:bodyPr/>
          <a:lstStyle/>
          <a:p>
            <a:fld id="{69C3F2ED-74C5-7D4F-8560-0CC253E9A436}" type="slidenum">
              <a:rPr lang="en-US" smtClean="0"/>
              <a:pPr/>
              <a:t>10</a:t>
            </a:fld>
            <a:endParaRPr lang="en-US" dirty="0"/>
          </a:p>
        </p:txBody>
      </p:sp>
    </p:spTree>
    <p:extLst>
      <p:ext uri="{BB962C8B-B14F-4D97-AF65-F5344CB8AC3E}">
        <p14:creationId xmlns:p14="http://schemas.microsoft.com/office/powerpoint/2010/main" val="14112913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9C3F2ED-74C5-7D4F-8560-0CC253E9A436}" type="slidenum">
              <a:rPr lang="en-US" smtClean="0"/>
              <a:pPr/>
              <a:t>11</a:t>
            </a:fld>
            <a:endParaRPr lang="en-US" dirty="0"/>
          </a:p>
        </p:txBody>
      </p:sp>
    </p:spTree>
    <p:extLst>
      <p:ext uri="{BB962C8B-B14F-4D97-AF65-F5344CB8AC3E}">
        <p14:creationId xmlns:p14="http://schemas.microsoft.com/office/powerpoint/2010/main" val="33746599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9C3F2ED-74C5-7D4F-8560-0CC253E9A436}" type="slidenum">
              <a:rPr lang="en-US" smtClean="0"/>
              <a:pPr/>
              <a:t>2</a:t>
            </a:fld>
            <a:endParaRPr lang="en-US" dirty="0"/>
          </a:p>
        </p:txBody>
      </p:sp>
    </p:spTree>
    <p:extLst>
      <p:ext uri="{BB962C8B-B14F-4D97-AF65-F5344CB8AC3E}">
        <p14:creationId xmlns:p14="http://schemas.microsoft.com/office/powerpoint/2010/main" val="28286785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9275" y="731838"/>
            <a:ext cx="5759450" cy="32400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Amazon Ember Regular" charset="0"/>
                <a:ea typeface="+mn-ea"/>
                <a:cs typeface="+mn-cs"/>
              </a:rPr>
              <a:t>We have developed Migration Acceleration Program (MAP) based on previous customer experiences to create an efficient and effective approach to migrations through three phases:</a:t>
            </a:r>
          </a:p>
          <a:p>
            <a:endParaRPr lang="en-US" sz="1200" b="0" i="0" kern="1200" dirty="0">
              <a:solidFill>
                <a:schemeClr val="tx1"/>
              </a:solidFill>
              <a:effectLst/>
              <a:latin typeface="Amazon Ember Regular" charset="0"/>
              <a:ea typeface="+mn-ea"/>
              <a:cs typeface="+mn-cs"/>
            </a:endParaRPr>
          </a:p>
          <a:p>
            <a:pPr marL="171450" lvl="0" indent="-171450">
              <a:buFont typeface="Arial" panose="020B0604020202020204" pitchFamily="34" charset="0"/>
              <a:buChar char="•"/>
            </a:pPr>
            <a:r>
              <a:rPr lang="en-US" sz="1200" b="0" i="0" kern="1200" dirty="0">
                <a:solidFill>
                  <a:schemeClr val="tx1"/>
                </a:solidFill>
                <a:effectLst/>
                <a:latin typeface="Amazon Ember Regular" charset="0"/>
                <a:ea typeface="+mn-ea"/>
                <a:cs typeface="+mn-cs"/>
              </a:rPr>
              <a:t>The </a:t>
            </a:r>
            <a:r>
              <a:rPr lang="en-US" sz="1200" b="1" i="0" kern="1200" dirty="0">
                <a:solidFill>
                  <a:schemeClr val="tx1"/>
                </a:solidFill>
                <a:effectLst/>
                <a:latin typeface="Amazon Ember Regular" charset="0"/>
                <a:ea typeface="+mn-ea"/>
                <a:cs typeface="+mn-cs"/>
              </a:rPr>
              <a:t>Assess</a:t>
            </a:r>
            <a:r>
              <a:rPr lang="en-US" sz="1200" b="0" i="0" kern="1200" dirty="0">
                <a:solidFill>
                  <a:schemeClr val="tx1"/>
                </a:solidFill>
                <a:effectLst/>
                <a:latin typeface="Amazon Ember Regular" charset="0"/>
                <a:ea typeface="+mn-ea"/>
                <a:cs typeface="+mn-cs"/>
              </a:rPr>
              <a:t> phase is the beginning of your journey, and sets the foundation for a well-planned and executed migration.</a:t>
            </a:r>
            <a:r>
              <a:rPr lang="en-US" sz="1200" b="0" i="0" kern="1200" baseline="0" dirty="0">
                <a:solidFill>
                  <a:schemeClr val="tx1"/>
                </a:solidFill>
                <a:effectLst/>
                <a:latin typeface="Amazon Ember Regular" charset="0"/>
                <a:ea typeface="+mn-ea"/>
                <a:cs typeface="+mn-cs"/>
              </a:rPr>
              <a:t> A Migration Readiness Assessment (M</a:t>
            </a:r>
            <a:r>
              <a:rPr lang="en-US" sz="1200" b="0" i="0" kern="1200" dirty="0">
                <a:solidFill>
                  <a:schemeClr val="tx1"/>
                </a:solidFill>
                <a:effectLst/>
                <a:latin typeface="Amazon Ember Regular" charset="0"/>
                <a:ea typeface="+mn-ea"/>
                <a:cs typeface="+mn-cs"/>
              </a:rPr>
              <a:t>RA) completed in the Assess phase</a:t>
            </a:r>
            <a:r>
              <a:rPr lang="en-US" sz="1200" b="0" i="0" kern="1200" baseline="0" dirty="0">
                <a:solidFill>
                  <a:schemeClr val="tx1"/>
                </a:solidFill>
                <a:effectLst/>
                <a:latin typeface="Amazon Ember Regular" charset="0"/>
                <a:ea typeface="+mn-ea"/>
                <a:cs typeface="+mn-cs"/>
              </a:rPr>
              <a:t> h</a:t>
            </a:r>
            <a:r>
              <a:rPr lang="en-US" sz="1200" b="0" i="0" kern="1200" dirty="0">
                <a:solidFill>
                  <a:schemeClr val="tx1"/>
                </a:solidFill>
                <a:effectLst/>
                <a:latin typeface="Amazon Ember Regular" charset="0"/>
                <a:ea typeface="+mn-ea"/>
                <a:cs typeface="+mn-cs"/>
              </a:rPr>
              <a:t>elps you determine your organizations capabilities, readiness, and commitment to migrate to the cloud.</a:t>
            </a:r>
            <a:r>
              <a:rPr lang="en-US" sz="1200" b="0" i="0" kern="1200" baseline="0" dirty="0">
                <a:solidFill>
                  <a:schemeClr val="tx1"/>
                </a:solidFill>
                <a:effectLst/>
                <a:latin typeface="Amazon Ember Regular" charset="0"/>
                <a:ea typeface="+mn-ea"/>
                <a:cs typeface="+mn-cs"/>
              </a:rPr>
              <a:t>  During the MRA, we also look to quickly follow the assessment with a Rapid Discovery of your portfolio and create a Refined TCO report for the project. We provide discovery and business case tools free of charge during this phase to get the project launched.</a:t>
            </a:r>
            <a:br>
              <a:rPr lang="en-US" sz="1200" baseline="0" dirty="0"/>
            </a:br>
            <a:endParaRPr lang="en-US" sz="1200" b="0" i="0" kern="1200" dirty="0">
              <a:solidFill>
                <a:schemeClr val="tx1"/>
              </a:solidFill>
              <a:effectLst/>
              <a:latin typeface="Amazon Ember Regular" charset="0"/>
              <a:ea typeface="+mn-ea"/>
              <a:cs typeface="+mn-cs"/>
            </a:endParaRPr>
          </a:p>
          <a:p>
            <a:pPr marL="171450" lvl="0" indent="-171450">
              <a:buFont typeface="Arial" panose="020B0604020202020204" pitchFamily="34" charset="0"/>
              <a:buChar char="•"/>
            </a:pPr>
            <a:r>
              <a:rPr lang="en-US" sz="1200" b="0" i="0" kern="1200" dirty="0">
                <a:solidFill>
                  <a:schemeClr val="tx1"/>
                </a:solidFill>
                <a:effectLst/>
                <a:latin typeface="Amazon Ember Regular" charset="0"/>
                <a:ea typeface="+mn-ea"/>
                <a:cs typeface="+mn-cs"/>
              </a:rPr>
              <a:t>After the</a:t>
            </a:r>
            <a:r>
              <a:rPr lang="en-US" sz="1200" b="0" i="0" kern="1200" baseline="0" dirty="0">
                <a:solidFill>
                  <a:schemeClr val="tx1"/>
                </a:solidFill>
                <a:effectLst/>
                <a:latin typeface="Amazon Ember Regular" charset="0"/>
                <a:ea typeface="+mn-ea"/>
                <a:cs typeface="+mn-cs"/>
              </a:rPr>
              <a:t> Assess phase, you progress to the </a:t>
            </a:r>
            <a:r>
              <a:rPr lang="en-US" sz="1200" b="1" i="0" kern="1200" dirty="0">
                <a:solidFill>
                  <a:schemeClr val="tx1"/>
                </a:solidFill>
                <a:effectLst/>
                <a:latin typeface="Amazon Ember Regular" charset="0"/>
                <a:ea typeface="+mn-ea"/>
                <a:cs typeface="+mn-cs"/>
              </a:rPr>
              <a:t>Mobilize </a:t>
            </a:r>
            <a:r>
              <a:rPr lang="en-US" sz="1200" b="0" i="0" kern="1200" dirty="0">
                <a:solidFill>
                  <a:schemeClr val="tx1"/>
                </a:solidFill>
                <a:effectLst/>
                <a:latin typeface="Amazon Ember Regular" charset="0"/>
                <a:ea typeface="+mn-ea"/>
                <a:cs typeface="+mn-cs"/>
              </a:rPr>
              <a:t>phase, which builds capabilities to migrate and operate in the cloud.</a:t>
            </a:r>
            <a:r>
              <a:rPr lang="en-US" sz="1200" b="0" i="0" kern="1200" baseline="0" dirty="0">
                <a:solidFill>
                  <a:schemeClr val="tx1"/>
                </a:solidFill>
                <a:effectLst/>
                <a:latin typeface="Amazon Ember Regular" charset="0"/>
                <a:ea typeface="+mn-ea"/>
                <a:cs typeface="+mn-cs"/>
              </a:rPr>
              <a:t> The focus is o</a:t>
            </a:r>
            <a:r>
              <a:rPr lang="en-US" sz="1200" b="0" i="0" kern="1200" dirty="0">
                <a:solidFill>
                  <a:schemeClr val="tx1"/>
                </a:solidFill>
                <a:effectLst/>
                <a:latin typeface="Amazon Ember Regular" charset="0"/>
                <a:ea typeface="+mn-ea"/>
                <a:cs typeface="+mn-cs"/>
              </a:rPr>
              <a:t>n developing a</a:t>
            </a:r>
            <a:r>
              <a:rPr lang="en-US" sz="1200" b="0" i="0" kern="1200" baseline="0" dirty="0">
                <a:solidFill>
                  <a:schemeClr val="tx1"/>
                </a:solidFill>
                <a:effectLst/>
                <a:latin typeface="Amazon Ember Regular" charset="0"/>
                <a:ea typeface="+mn-ea"/>
                <a:cs typeface="+mn-cs"/>
              </a:rPr>
              <a:t> landing zone,</a:t>
            </a:r>
            <a:r>
              <a:rPr lang="en-US" sz="1200" b="0" i="0" kern="1200" dirty="0">
                <a:solidFill>
                  <a:schemeClr val="tx1"/>
                </a:solidFill>
                <a:effectLst/>
                <a:latin typeface="Amazon Ember Regular" charset="0"/>
                <a:ea typeface="+mn-ea"/>
                <a:cs typeface="+mn-cs"/>
              </a:rPr>
              <a:t> operational readiness, cloud skills,</a:t>
            </a:r>
            <a:r>
              <a:rPr lang="en-US" sz="1200" b="0" i="0" kern="1200" baseline="0" dirty="0">
                <a:solidFill>
                  <a:schemeClr val="tx1"/>
                </a:solidFill>
                <a:effectLst/>
                <a:latin typeface="Amazon Ember Regular" charset="0"/>
                <a:ea typeface="+mn-ea"/>
                <a:cs typeface="+mn-cs"/>
              </a:rPr>
              <a:t> a</a:t>
            </a:r>
            <a:r>
              <a:rPr lang="en-US" sz="1200" b="0" i="0" kern="1200" dirty="0">
                <a:solidFill>
                  <a:schemeClr val="tx1"/>
                </a:solidFill>
                <a:effectLst/>
                <a:latin typeface="Amazon Ember Regular" charset="0"/>
                <a:ea typeface="+mn-ea"/>
                <a:cs typeface="+mn-cs"/>
              </a:rPr>
              <a:t> strong migration plan (including initial migrations), and a compelling business case for the migrations. </a:t>
            </a:r>
            <a:r>
              <a:rPr lang="en-US" sz="1200" b="0" i="0" kern="1200" baseline="0" dirty="0">
                <a:solidFill>
                  <a:schemeClr val="tx1"/>
                </a:solidFill>
                <a:effectLst/>
                <a:latin typeface="Amazon Ember Regular" charset="0"/>
                <a:ea typeface="+mn-ea"/>
                <a:cs typeface="+mn-cs"/>
              </a:rPr>
              <a:t> </a:t>
            </a:r>
            <a:r>
              <a:rPr lang="en-US" sz="1200" b="1" dirty="0"/>
              <a:t>[More Mobilize details if needed]</a:t>
            </a:r>
          </a:p>
          <a:p>
            <a:pPr marL="0" lvl="0" indent="0">
              <a:buFont typeface="Arial" panose="020B0604020202020204" pitchFamily="34" charset="0"/>
              <a:buNone/>
            </a:pPr>
            <a:endParaRPr lang="en-US" sz="1200" b="0" i="0" kern="1200" dirty="0">
              <a:solidFill>
                <a:schemeClr val="tx1"/>
              </a:solidFill>
              <a:effectLst/>
              <a:latin typeface="Amazon Ember Regular" charset="0"/>
              <a:ea typeface="+mn-ea"/>
              <a:cs typeface="+mn-cs"/>
            </a:endParaRPr>
          </a:p>
          <a:p>
            <a:pPr marL="171450" lvl="0" indent="-171450">
              <a:buFont typeface="Arial" panose="020B0604020202020204" pitchFamily="34" charset="0"/>
              <a:buChar char="•"/>
            </a:pPr>
            <a:r>
              <a:rPr lang="en-US" sz="1200" b="0" i="0" kern="1200" dirty="0">
                <a:solidFill>
                  <a:schemeClr val="tx1"/>
                </a:solidFill>
                <a:effectLst/>
                <a:latin typeface="Amazon Ember Regular" charset="0"/>
                <a:ea typeface="+mn-ea"/>
                <a:cs typeface="+mn-cs"/>
              </a:rPr>
              <a:t>The</a:t>
            </a:r>
            <a:r>
              <a:rPr lang="en-US" sz="1200" b="0" i="0" kern="1200" baseline="0" dirty="0">
                <a:solidFill>
                  <a:schemeClr val="tx1"/>
                </a:solidFill>
                <a:effectLst/>
                <a:latin typeface="Amazon Ember Regular" charset="0"/>
                <a:ea typeface="+mn-ea"/>
                <a:cs typeface="+mn-cs"/>
              </a:rPr>
              <a:t> Mobilize phase prepares you for the </a:t>
            </a:r>
            <a:r>
              <a:rPr lang="en-US" sz="1200" b="1" i="0" kern="1200" baseline="0" dirty="0">
                <a:solidFill>
                  <a:schemeClr val="tx1"/>
                </a:solidFill>
                <a:effectLst/>
                <a:latin typeface="Amazon Ember Regular" charset="0"/>
                <a:ea typeface="+mn-ea"/>
                <a:cs typeface="+mn-cs"/>
              </a:rPr>
              <a:t>Migrate </a:t>
            </a:r>
            <a:r>
              <a:rPr lang="en-US" sz="1200" b="1" dirty="0"/>
              <a:t>&amp; Modernize </a:t>
            </a:r>
            <a:r>
              <a:rPr lang="en-US" sz="1200" b="0" i="0" kern="1200" baseline="0" dirty="0">
                <a:solidFill>
                  <a:schemeClr val="tx1"/>
                </a:solidFill>
                <a:effectLst/>
                <a:latin typeface="Amazon Ember Regular" charset="0"/>
                <a:ea typeface="+mn-ea"/>
                <a:cs typeface="+mn-cs"/>
              </a:rPr>
              <a:t>phase</a:t>
            </a:r>
            <a:r>
              <a:rPr lang="en-US" sz="1200" dirty="0"/>
              <a:t>, where you execute</a:t>
            </a:r>
            <a:r>
              <a:rPr lang="en-US" sz="1200" b="0" i="0" kern="1200" baseline="0" dirty="0">
                <a:solidFill>
                  <a:schemeClr val="tx1"/>
                </a:solidFill>
                <a:effectLst/>
                <a:latin typeface="Amazon Ember Regular" charset="0"/>
                <a:ea typeface="+mn-ea"/>
                <a:cs typeface="+mn-cs"/>
              </a:rPr>
              <a:t> </a:t>
            </a:r>
            <a:r>
              <a:rPr lang="en-US" sz="1200" i="0" kern="1200" baseline="0" dirty="0">
                <a:solidFill>
                  <a:schemeClr val="tx1"/>
                </a:solidFill>
                <a:effectLst/>
                <a:latin typeface="Amazon Ember Regular" charset="0"/>
                <a:ea typeface="+mn-ea"/>
                <a:cs typeface="+mn-cs"/>
              </a:rPr>
              <a:t>large scale migration and cloud operations</a:t>
            </a:r>
            <a:r>
              <a:rPr lang="en-US" sz="1200" b="0" i="0" kern="1200" baseline="0" dirty="0">
                <a:solidFill>
                  <a:schemeClr val="tx1"/>
                </a:solidFill>
                <a:effectLst/>
                <a:latin typeface="Amazon Ember Regular" charset="0"/>
                <a:ea typeface="+mn-ea"/>
                <a:cs typeface="+mn-cs"/>
              </a:rPr>
              <a:t>.</a:t>
            </a:r>
            <a:r>
              <a:rPr lang="en-US" sz="1200" b="0" i="0" kern="1200" dirty="0">
                <a:solidFill>
                  <a:schemeClr val="tx1"/>
                </a:solidFill>
                <a:effectLst/>
                <a:latin typeface="Amazon Ember Regular" charset="0"/>
                <a:ea typeface="+mn-ea"/>
                <a:cs typeface="+mn-cs"/>
              </a:rPr>
              <a:t> After</a:t>
            </a:r>
            <a:r>
              <a:rPr lang="en-US" sz="1200" b="0" i="0" kern="1200" baseline="0" dirty="0">
                <a:solidFill>
                  <a:schemeClr val="tx1"/>
                </a:solidFill>
                <a:effectLst/>
                <a:latin typeface="Amazon Ember Regular" charset="0"/>
                <a:ea typeface="+mn-ea"/>
                <a:cs typeface="+mn-cs"/>
              </a:rPr>
              <a:t> completing the Mobilize phase, m</a:t>
            </a:r>
            <a:r>
              <a:rPr lang="en-US" sz="1200" b="0" i="0" kern="1200" dirty="0">
                <a:solidFill>
                  <a:schemeClr val="tx1"/>
                </a:solidFill>
                <a:effectLst/>
                <a:latin typeface="Amazon Ember Regular" charset="0"/>
                <a:ea typeface="+mn-ea"/>
                <a:cs typeface="+mn-cs"/>
              </a:rPr>
              <a:t>igrations can proceed rapidly and efficiently during the last phase, since it builds on established foundational capabilities. Each</a:t>
            </a:r>
            <a:r>
              <a:rPr lang="en-US" sz="1200" b="0" i="0" kern="1200" baseline="0" dirty="0">
                <a:solidFill>
                  <a:schemeClr val="tx1"/>
                </a:solidFill>
                <a:effectLst/>
                <a:latin typeface="Amazon Ember Regular" charset="0"/>
                <a:ea typeface="+mn-ea"/>
                <a:cs typeface="+mn-cs"/>
              </a:rPr>
              <a:t> s</a:t>
            </a:r>
            <a:r>
              <a:rPr lang="en-US" sz="1200" b="0" i="0" kern="1200" dirty="0">
                <a:solidFill>
                  <a:schemeClr val="tx1"/>
                </a:solidFill>
                <a:effectLst/>
                <a:latin typeface="Amazon Ember Regular" charset="0"/>
                <a:ea typeface="+mn-ea"/>
                <a:cs typeface="+mn-cs"/>
              </a:rPr>
              <a:t>uccessive migration establishes a full-scale cloud operating model.</a:t>
            </a:r>
          </a:p>
          <a:p>
            <a:pPr marL="0" lvl="0" indent="0">
              <a:buFont typeface="Arial" panose="020B0604020202020204" pitchFamily="34" charset="0"/>
              <a:buNone/>
            </a:pPr>
            <a:endParaRPr lang="en-US" sz="1200" b="0" i="0" kern="1200" dirty="0">
              <a:solidFill>
                <a:schemeClr val="tx1"/>
              </a:solidFill>
              <a:effectLst/>
              <a:latin typeface="Amazon Ember Regular" charset="0"/>
              <a:ea typeface="+mn-ea"/>
              <a:cs typeface="+mn-cs"/>
            </a:endParaRPr>
          </a:p>
          <a:p>
            <a:pPr lvl="0"/>
            <a:r>
              <a:rPr lang="en-US" sz="1200" b="1" dirty="0"/>
              <a:t>[More Mobilize details to be described as needed]</a:t>
            </a:r>
          </a:p>
          <a:p>
            <a:pPr marL="171450" lvl="0" indent="-171450" defTabSz="914400">
              <a:buFont typeface="Arial" panose="020B0604020202020204" pitchFamily="34" charset="0"/>
              <a:buChar char="•"/>
              <a:defRPr/>
            </a:pPr>
            <a:endParaRPr lang="en-US" sz="1200" dirty="0"/>
          </a:p>
          <a:p>
            <a:pPr marL="171450" lvl="0" indent="-171450" defTabSz="914400">
              <a:buFont typeface="Arial" panose="020B0604020202020204" pitchFamily="34" charset="0"/>
              <a:buChar char="•"/>
              <a:defRPr/>
            </a:pPr>
            <a:r>
              <a:rPr lang="en-US" sz="1200" dirty="0"/>
              <a:t>The </a:t>
            </a:r>
            <a:r>
              <a:rPr lang="en-US" sz="1200" b="1" dirty="0"/>
              <a:t>Mobilize phase is typically 2 – 4 months </a:t>
            </a:r>
            <a:r>
              <a:rPr lang="en-US" sz="1200" dirty="0"/>
              <a:t>(based on your organization’s readiness levels) and is executed with a selected partner or AWS </a:t>
            </a:r>
            <a:r>
              <a:rPr lang="en-US" sz="1200" dirty="0" err="1"/>
              <a:t>ProServe</a:t>
            </a:r>
            <a:r>
              <a:rPr lang="en-US" sz="1200" dirty="0"/>
              <a:t> resour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Amazon Ember Regular" charset="0"/>
              <a:ea typeface="+mn-ea"/>
              <a:cs typeface="+mn-cs"/>
            </a:endParaRPr>
          </a:p>
          <a:p>
            <a:r>
              <a:rPr lang="en-US" dirty="0"/>
              <a:t>The Mobilize engagement uses Accelerators to deliver the following outputs/outcomes for customers:</a:t>
            </a:r>
          </a:p>
          <a:p>
            <a:pPr marL="171450" indent="-171450">
              <a:buFont typeface="Arial" panose="020B0604020202020204" pitchFamily="34" charset="0"/>
              <a:buChar char="•"/>
            </a:pPr>
            <a:r>
              <a:rPr lang="en-US" dirty="0"/>
              <a:t>Collect inventory and application data to assess the portfolio and develop decision criteria to create initial migration wave plans.</a:t>
            </a:r>
          </a:p>
          <a:p>
            <a:pPr marL="171450" indent="-171450">
              <a:buFont typeface="Arial" panose="020B0604020202020204" pitchFamily="34" charset="0"/>
              <a:buChar char="•"/>
            </a:pPr>
            <a:r>
              <a:rPr lang="en-US" dirty="0"/>
              <a:t>Deploy and validate the landing zone, develop required operating and governance models, and migrate up to 5 applications to the customer production environment.</a:t>
            </a:r>
          </a:p>
          <a:p>
            <a:pPr marL="171450" indent="-171450">
              <a:buFont typeface="Arial" panose="020B0604020202020204" pitchFamily="34" charset="0"/>
              <a:buChar char="•"/>
            </a:pPr>
            <a:r>
              <a:rPr lang="en-US" dirty="0"/>
              <a:t>Gain hands-on experience operating in the cloud to build confidence, skills, and competency for the migration and transformation of the organization.</a:t>
            </a:r>
          </a:p>
          <a:p>
            <a:pPr marL="171450" indent="-171450">
              <a:buFont typeface="Arial" panose="020B0604020202020204" pitchFamily="34" charset="0"/>
              <a:buChar char="•"/>
            </a:pPr>
            <a:r>
              <a:rPr lang="en-US" dirty="0"/>
              <a:t>Define, implement, scale and automate (where applicable), the customer’s security risk and compliance controls on AWS.</a:t>
            </a:r>
          </a:p>
          <a:p>
            <a:pPr marL="171450" indent="-171450">
              <a:buFont typeface="Arial" panose="020B0604020202020204" pitchFamily="34" charset="0"/>
              <a:buChar char="•"/>
            </a:pPr>
            <a:r>
              <a:rPr lang="en-US" dirty="0"/>
              <a:t>Establish the future operating model for cloud and plan, guide and support an efficient progression of the operational model during the migration.</a:t>
            </a:r>
          </a:p>
          <a:p>
            <a:pPr marL="171450" indent="-171450">
              <a:buFont typeface="Arial" panose="020B0604020202020204" pitchFamily="34" charset="0"/>
              <a:buChar char="•"/>
            </a:pPr>
            <a:r>
              <a:rPr lang="en-US" dirty="0"/>
              <a:t>These Accelerators generate early alignment, speed-up requirements gathering, and expedite first migrations to compress the overall engagement timefram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Amazon Ember Regular"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t>
            </a:r>
            <a:r>
              <a:rPr lang="en-US" b="1" u="sng" dirty="0"/>
              <a:t>Mobilize Accelerator </a:t>
            </a:r>
            <a:r>
              <a:rPr lang="en-US" dirty="0"/>
              <a:t>helps customers establish and exercise an agile program to accelerate cloud operational readiness and cloud migrations. This Accelerator supports the set-up of low-cost collaboration and planning mechanisms that implement and automate many activities within the AWS Cloud Adoption Framework. These mechanisms optimize end-user experience for distributed teams and are foundational to execute readiness and migration initiatives. The Mobilize Accelerator builds the foundation that all other </a:t>
            </a:r>
            <a:r>
              <a:rPr lang="en-US" dirty="0" err="1"/>
              <a:t>workstreams</a:t>
            </a:r>
            <a:r>
              <a:rPr lang="en-US" dirty="0"/>
              <a:t> leverage to structure and prioritize work, collaborate and document knowledge, and report progress.</a:t>
            </a:r>
            <a:endParaRPr lang="en-US" sz="1200" b="0" i="0" kern="1200" dirty="0">
              <a:solidFill>
                <a:schemeClr val="tx1"/>
              </a:solidFill>
              <a:effectLst/>
              <a:latin typeface="Amazon Ember Regular"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Amazon Ember Regular"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Amazon Ember Regular" charset="0"/>
                <a:ea typeface="+mn-ea"/>
                <a:cs typeface="+mn-cs"/>
              </a:rPr>
              <a:t>The </a:t>
            </a:r>
            <a:r>
              <a:rPr lang="en-US" sz="1200" b="1" i="0" u="sng" kern="1200" dirty="0">
                <a:solidFill>
                  <a:schemeClr val="tx1"/>
                </a:solidFill>
                <a:effectLst/>
                <a:latin typeface="Amazon Ember Regular" charset="0"/>
                <a:ea typeface="+mn-ea"/>
                <a:cs typeface="+mn-cs"/>
              </a:rPr>
              <a:t>Portfolio Accelerator </a:t>
            </a:r>
            <a:r>
              <a:rPr lang="en-US" sz="1200" b="0" i="0" kern="1200" dirty="0">
                <a:solidFill>
                  <a:schemeClr val="tx1"/>
                </a:solidFill>
                <a:effectLst/>
                <a:latin typeface="Amazon Ember" panose="020B0603020204020204" pitchFamily="34" charset="0"/>
                <a:ea typeface="Amazon Ember" panose="020B0603020204020204" pitchFamily="34" charset="0"/>
                <a:cs typeface="Amazon Ember" panose="020B0603020204020204" pitchFamily="34" charset="0"/>
              </a:rPr>
              <a:t>is a </a:t>
            </a:r>
            <a:r>
              <a:rPr lang="en-US" sz="1200" dirty="0">
                <a:latin typeface="Amazon Ember" panose="020B0603020204020204" pitchFamily="34" charset="0"/>
                <a:ea typeface="Amazon Ember" panose="020B0603020204020204" pitchFamily="34" charset="0"/>
                <a:cs typeface="Amazon Ember" panose="020B0603020204020204" pitchFamily="34" charset="0"/>
              </a:rPr>
              <a:t>sprint-based, interactive </a:t>
            </a:r>
            <a:r>
              <a:rPr lang="en-US" sz="1200" dirty="0" err="1">
                <a:latin typeface="Amazon Ember" panose="020B0603020204020204" pitchFamily="34" charset="0"/>
                <a:ea typeface="Amazon Ember" panose="020B0603020204020204" pitchFamily="34" charset="0"/>
                <a:cs typeface="Amazon Ember" panose="020B0603020204020204" pitchFamily="34" charset="0"/>
              </a:rPr>
              <a:t>workstream</a:t>
            </a:r>
            <a:r>
              <a:rPr lang="en-US" sz="1200" dirty="0">
                <a:latin typeface="Amazon Ember" panose="020B0603020204020204" pitchFamily="34" charset="0"/>
                <a:ea typeface="Amazon Ember" panose="020B0603020204020204" pitchFamily="34" charset="0"/>
                <a:cs typeface="Amazon Ember" panose="020B0603020204020204" pitchFamily="34" charset="0"/>
              </a:rPr>
              <a:t> designed to establish decision criteria for application migration candidates and accelerate the development of a migration wave pla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Amazon Ember" panose="020B0603020204020204" pitchFamily="34" charset="0"/>
              <a:ea typeface="Amazon Ember" panose="020B0603020204020204" pitchFamily="34" charset="0"/>
              <a:cs typeface="Amazon Ember" panose="020B06030202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mazon Ember" panose="020B0603020204020204" pitchFamily="34" charset="0"/>
                <a:ea typeface="Amazon Ember" panose="020B0603020204020204" pitchFamily="34" charset="0"/>
                <a:cs typeface="Amazon Ember" panose="020B0603020204020204" pitchFamily="34" charset="0"/>
              </a:rPr>
              <a:t>The </a:t>
            </a:r>
            <a:r>
              <a:rPr lang="en-US" sz="1200" b="1" u="sng" dirty="0">
                <a:latin typeface="Amazon Ember" panose="020B0603020204020204" pitchFamily="34" charset="0"/>
                <a:ea typeface="Amazon Ember" panose="020B0603020204020204" pitchFamily="34" charset="0"/>
                <a:cs typeface="Amazon Ember" panose="020B0603020204020204" pitchFamily="34" charset="0"/>
              </a:rPr>
              <a:t>Platform &amp; Migration Accelerator </a:t>
            </a:r>
            <a:r>
              <a:rPr lang="en-US" sz="1050" dirty="0"/>
              <a:t>deploys and validates the landing zone, develops required operating and governance models, and migrates up to 5 applications to customer production environment. The accelerator leverages Platform and Migration Parties to accelerate application migration, provide hands-on experience operating in the cloud, and build confidence across cross-functional teams. Activities within the Platform &amp; Migration Accelerator are broken into Pre-Party, Party, and Post-Party stages and will conclude with post migration acceptance testing and validation of the landing zone. There is a defined, programmatic approach to successfully organize and plan the accelerator which is detailed in this document. </a:t>
            </a:r>
            <a:endParaRPr lang="en-US" sz="1050" dirty="0">
              <a:latin typeface="Amazon Ember" panose="020B0603020204020204" pitchFamily="34" charset="0"/>
              <a:ea typeface="Amazon Ember" panose="020B0603020204020204" pitchFamily="34" charset="0"/>
              <a:cs typeface="Amazon Ember" panose="020B06030202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Amazon Ember Regular"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Amazon Ember Regular" charset="0"/>
                <a:ea typeface="+mn-ea"/>
                <a:cs typeface="+mn-cs"/>
              </a:rPr>
              <a:t>The </a:t>
            </a:r>
            <a:r>
              <a:rPr lang="en-US" sz="1200" b="1" i="0" u="sng" kern="1200" dirty="0">
                <a:solidFill>
                  <a:schemeClr val="tx1"/>
                </a:solidFill>
                <a:effectLst/>
                <a:latin typeface="Amazon Ember Regular" charset="0"/>
                <a:ea typeface="+mn-ea"/>
                <a:cs typeface="+mn-cs"/>
              </a:rPr>
              <a:t>People Accelerator </a:t>
            </a:r>
            <a:r>
              <a:rPr lang="en-US" sz="1200" b="0" i="0" kern="1200" dirty="0">
                <a:solidFill>
                  <a:schemeClr val="tx1"/>
                </a:solidFill>
                <a:effectLst/>
                <a:latin typeface="Amazon Ember Regular" charset="0"/>
                <a:ea typeface="+mn-ea"/>
                <a:cs typeface="+mn-cs"/>
              </a:rPr>
              <a:t>a</a:t>
            </a:r>
            <a:r>
              <a:rPr lang="en-US" sz="1200" dirty="0">
                <a:latin typeface="Amazon Ember" panose="020B0603020204020204" pitchFamily="34" charset="0"/>
                <a:ea typeface="Amazon Ember" panose="020B0603020204020204" pitchFamily="34" charset="0"/>
                <a:cs typeface="Amazon Ember" panose="020B0603020204020204" pitchFamily="34" charset="0"/>
              </a:rPr>
              <a:t>dvances an enterprise’s ability to create, sustain and govern the change that occurs to enable cloud adop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Amazon Ember" panose="020B0603020204020204" pitchFamily="34" charset="0"/>
              <a:ea typeface="Amazon Ember" panose="020B0603020204020204" pitchFamily="34" charset="0"/>
              <a:cs typeface="Amazon Ember" panose="020B06030202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mazon Ember" panose="020B0603020204020204" pitchFamily="34" charset="0"/>
                <a:ea typeface="Amazon Ember" panose="020B0603020204020204" pitchFamily="34" charset="0"/>
                <a:cs typeface="Amazon Ember" panose="020B0603020204020204" pitchFamily="34" charset="0"/>
              </a:rPr>
              <a:t>See the internal Mobilize wiki for more details: https://w.amazon.com/bin/view/AWS/Teams/Proserve/Migration/Mobilize/</a:t>
            </a:r>
            <a:endParaRPr lang="en-US" sz="1200" dirty="0"/>
          </a:p>
        </p:txBody>
      </p:sp>
      <p:sp>
        <p:nvSpPr>
          <p:cNvPr id="4" name="Header Placeholder 3"/>
          <p:cNvSpPr>
            <a:spLocks noGrp="1"/>
          </p:cNvSpPr>
          <p:nvPr>
            <p:ph type="hdr" sz="quarter"/>
          </p:nvPr>
        </p:nvSpPr>
        <p:spPr/>
        <p:txBody>
          <a:bodyPr/>
          <a:lstStyle/>
          <a:p>
            <a:pPr marL="0" marR="0" lvl="0" indent="0" algn="l" defTabSz="731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mazon Ember Regular" charset="0"/>
                <a:ea typeface="+mn-ea"/>
                <a:cs typeface="+mn-cs"/>
              </a:rPr>
              <a:t>AWS SKO Event 2019</a:t>
            </a:r>
          </a:p>
        </p:txBody>
      </p:sp>
      <p:sp>
        <p:nvSpPr>
          <p:cNvPr id="5" name="Footer Placeholder 4"/>
          <p:cNvSpPr>
            <a:spLocks noGrp="1"/>
          </p:cNvSpPr>
          <p:nvPr>
            <p:ph type="ftr" sz="quarter" idx="4"/>
          </p:nvPr>
        </p:nvSpPr>
        <p:spPr/>
        <p:txBody>
          <a:bodyPr/>
          <a:lstStyle/>
          <a:p>
            <a:pPr marL="0" marR="0" lvl="0" indent="0" algn="l" defTabSz="731520" rtl="0" eaLnBrk="1" fontAlgn="auto" latinLnBrk="0" hangingPunct="1">
              <a:lnSpc>
                <a:spcPct val="100000"/>
              </a:lnSpc>
              <a:spcBef>
                <a:spcPts val="0"/>
              </a:spcBef>
              <a:spcAft>
                <a:spcPts val="0"/>
              </a:spcAft>
              <a:buClrTx/>
              <a:buSzTx/>
              <a:buFontTx/>
              <a:buNone/>
              <a:tabLst/>
              <a:defRPr/>
            </a:pPr>
            <a:r>
              <a:rPr kumimoji="0" lang="en-US" altLang="x-none" sz="700" b="0" i="0" u="none" strike="noStrike" kern="1200" cap="none" spc="0" normalizeH="0" baseline="0" noProof="0">
                <a:ln>
                  <a:noFill/>
                </a:ln>
                <a:solidFill>
                  <a:srgbClr val="282828"/>
                </a:solidFill>
                <a:effectLst/>
                <a:uLnTx/>
                <a:uFillTx/>
                <a:latin typeface="Amazon Ember" charset="0"/>
                <a:ea typeface="Amazon Ember" charset="0"/>
                <a:cs typeface="Amazon Ember" charset="0"/>
              </a:rPr>
              <a:t>© 2018, Amazon Web Services, Inc. or its Affiliates. All rights reserved.</a:t>
            </a:r>
          </a:p>
        </p:txBody>
      </p:sp>
      <p:sp>
        <p:nvSpPr>
          <p:cNvPr id="6" name="Date Placeholder 5"/>
          <p:cNvSpPr>
            <a:spLocks noGrp="1"/>
          </p:cNvSpPr>
          <p:nvPr>
            <p:ph type="dt" idx="1"/>
          </p:nvPr>
        </p:nvSpPr>
        <p:spPr/>
        <p:txBody>
          <a:bodyPr/>
          <a:lstStyle/>
          <a:p>
            <a:pPr marL="0" marR="0" lvl="0" indent="0" algn="r" defTabSz="731520" rtl="0" eaLnBrk="1" fontAlgn="auto" latinLnBrk="0" hangingPunct="1">
              <a:lnSpc>
                <a:spcPct val="100000"/>
              </a:lnSpc>
              <a:spcBef>
                <a:spcPts val="0"/>
              </a:spcBef>
              <a:spcAft>
                <a:spcPts val="0"/>
              </a:spcAft>
              <a:buClrTx/>
              <a:buSzTx/>
              <a:buFontTx/>
              <a:buNone/>
              <a:tabLst/>
              <a:defRPr/>
            </a:pPr>
            <a:fld id="{E4738081-ED31-43D5-BFC3-EF4925DA9A61}" type="datetime8">
              <a:rPr kumimoji="0" lang="en-US" sz="1200" b="0" i="0" u="none" strike="noStrike" kern="1200" cap="none" spc="0" normalizeH="0" baseline="0" noProof="0" smtClean="0">
                <a:ln>
                  <a:noFill/>
                </a:ln>
                <a:solidFill>
                  <a:prstClr val="black"/>
                </a:solidFill>
                <a:effectLst/>
                <a:uLnTx/>
                <a:uFillTx/>
                <a:latin typeface="Amazon Ember Regular" charset="0"/>
                <a:ea typeface="+mn-ea"/>
                <a:cs typeface="+mn-cs"/>
              </a:rPr>
              <a:pPr marL="0" marR="0" lvl="0" indent="0" algn="r" defTabSz="731520" rtl="0" eaLnBrk="1" fontAlgn="auto" latinLnBrk="0" hangingPunct="1">
                <a:lnSpc>
                  <a:spcPct val="100000"/>
                </a:lnSpc>
                <a:spcBef>
                  <a:spcPts val="0"/>
                </a:spcBef>
                <a:spcAft>
                  <a:spcPts val="0"/>
                </a:spcAft>
                <a:buClrTx/>
                <a:buSzTx/>
                <a:buFontTx/>
                <a:buNone/>
                <a:tabLst/>
                <a:defRPr/>
              </a:pPr>
              <a:t>8/17/21 9:24 PM</a:t>
            </a:fld>
            <a:endParaRPr kumimoji="0" lang="en-US" sz="1200" b="0" i="0" u="none" strike="noStrike" kern="1200" cap="none" spc="0" normalizeH="0" baseline="0" noProof="0">
              <a:ln>
                <a:noFill/>
              </a:ln>
              <a:solidFill>
                <a:prstClr val="black"/>
              </a:solidFill>
              <a:effectLst/>
              <a:uLnTx/>
              <a:uFillTx/>
              <a:latin typeface="Amazon Ember Regular"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73152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mazon Ember Regular" charset="0"/>
                <a:ea typeface="+mn-ea"/>
                <a:cs typeface="+mn-cs"/>
              </a:rPr>
              <a:pPr marL="0" marR="0" lvl="0" indent="0" algn="r" defTabSz="73152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mazon Ember Regular" charset="0"/>
              <a:ea typeface="+mn-ea"/>
              <a:cs typeface="+mn-cs"/>
            </a:endParaRPr>
          </a:p>
        </p:txBody>
      </p:sp>
    </p:spTree>
    <p:extLst>
      <p:ext uri="{BB962C8B-B14F-4D97-AF65-F5344CB8AC3E}">
        <p14:creationId xmlns:p14="http://schemas.microsoft.com/office/powerpoint/2010/main" val="41613073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fontAlgn="ctr">
              <a:buFont typeface="Arial" panose="020B0604020202020204" pitchFamily="34" charset="0"/>
              <a:buChar char="•"/>
            </a:pPr>
            <a:r>
              <a:rPr lang="en-US" dirty="0"/>
              <a:t>Understanding the details of the current environment including where the data is, not just application data but operational and business data, how it is used and accessed is critical</a:t>
            </a:r>
          </a:p>
          <a:p>
            <a:pPr marL="342900" lvl="0" indent="-342900" fontAlgn="ctr">
              <a:buFont typeface="Arial" panose="020B0604020202020204" pitchFamily="34" charset="0"/>
              <a:buChar char="•"/>
            </a:pPr>
            <a:r>
              <a:rPr lang="en-US" dirty="0"/>
              <a:t>AWS and our partners offer a collection of tools to help you make better decisions for architecture, modernization, and migration planning by discovering the current environment, dependencies, and identifying where there may be gaps in knowledge that need to be addressed to plan the migration</a:t>
            </a:r>
          </a:p>
          <a:p>
            <a:pPr marL="342900" lvl="0" indent="-342900" fontAlgn="ctr">
              <a:buFont typeface="Arial" panose="020B0604020202020204" pitchFamily="34" charset="0"/>
              <a:buChar char="•"/>
            </a:pPr>
            <a:r>
              <a:rPr lang="en-US" dirty="0"/>
              <a:t>AWS with partners help evaluate the 7Rs of migration and classify workloads for Rehost, </a:t>
            </a:r>
            <a:r>
              <a:rPr lang="en-US" dirty="0" err="1"/>
              <a:t>Replatform</a:t>
            </a:r>
            <a:r>
              <a:rPr lang="en-US" dirty="0"/>
              <a:t>, Refactor, Relocate, Repurchase, Retire, and Retain</a:t>
            </a:r>
          </a:p>
          <a:p>
            <a:pPr marL="342900" lvl="0" indent="-342900" fontAlgn="ctr">
              <a:buFont typeface="Arial" panose="020B0604020202020204" pitchFamily="34" charset="0"/>
              <a:buChar char="•"/>
            </a:pPr>
            <a:r>
              <a:rPr lang="en-US" dirty="0"/>
              <a:t>In the planning stage we help customers move the first few applications into production while we plan to deliver the migration at scale</a:t>
            </a:r>
          </a:p>
        </p:txBody>
      </p:sp>
      <p:sp>
        <p:nvSpPr>
          <p:cNvPr id="4" name="Slide Number Placeholder 3"/>
          <p:cNvSpPr>
            <a:spLocks noGrp="1"/>
          </p:cNvSpPr>
          <p:nvPr>
            <p:ph type="sldNum" sz="quarter" idx="10"/>
          </p:nvPr>
        </p:nvSpPr>
        <p:spPr/>
        <p:txBody>
          <a:bodyPr/>
          <a:lstStyle/>
          <a:p>
            <a:pPr marL="0" marR="0" lvl="0" indent="0" algn="r" defTabSz="731520" rtl="0" eaLnBrk="1" fontAlgn="auto" latinLnBrk="0" hangingPunct="1">
              <a:lnSpc>
                <a:spcPct val="100000"/>
              </a:lnSpc>
              <a:spcBef>
                <a:spcPts val="0"/>
              </a:spcBef>
              <a:spcAft>
                <a:spcPts val="0"/>
              </a:spcAft>
              <a:buClrTx/>
              <a:buSzTx/>
              <a:buFontTx/>
              <a:buNone/>
              <a:tabLst/>
              <a:defRPr/>
            </a:pPr>
            <a:fld id="{69C3F2ED-74C5-7D4F-8560-0CC253E9A436}" type="slidenum">
              <a:rPr kumimoji="0" lang="en-US" sz="1200" b="0" i="0" u="none" strike="noStrike" kern="1200" cap="none" spc="0" normalizeH="0" baseline="0" noProof="0" smtClean="0">
                <a:ln>
                  <a:noFill/>
                </a:ln>
                <a:solidFill>
                  <a:prstClr val="black"/>
                </a:solidFill>
                <a:effectLst/>
                <a:uLnTx/>
                <a:uFillTx/>
                <a:latin typeface="Amazon Ember Regular" charset="0"/>
                <a:ea typeface="+mn-ea"/>
                <a:cs typeface="+mn-cs"/>
              </a:rPr>
              <a:pPr marL="0" marR="0" lvl="0" indent="0" algn="r" defTabSz="73152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mazon Ember Regular" charset="0"/>
              <a:ea typeface="+mn-ea"/>
              <a:cs typeface="+mn-cs"/>
            </a:endParaRPr>
          </a:p>
        </p:txBody>
      </p:sp>
    </p:spTree>
    <p:extLst>
      <p:ext uri="{BB962C8B-B14F-4D97-AF65-F5344CB8AC3E}">
        <p14:creationId xmlns:p14="http://schemas.microsoft.com/office/powerpoint/2010/main" val="25255135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9C3F2ED-74C5-7D4F-8560-0CC253E9A436}" type="slidenum">
              <a:rPr lang="en-US" smtClean="0"/>
              <a:pPr/>
              <a:t>5</a:t>
            </a:fld>
            <a:endParaRPr lang="en-US" dirty="0"/>
          </a:p>
        </p:txBody>
      </p:sp>
    </p:spTree>
    <p:extLst>
      <p:ext uri="{BB962C8B-B14F-4D97-AF65-F5344CB8AC3E}">
        <p14:creationId xmlns:p14="http://schemas.microsoft.com/office/powerpoint/2010/main" val="9973718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12" rtl="0" eaLnBrk="1" fontAlgn="auto" latinLnBrk="0" hangingPunct="1">
              <a:lnSpc>
                <a:spcPct val="90000"/>
              </a:lnSpc>
              <a:spcBef>
                <a:spcPts val="0"/>
              </a:spcBef>
              <a:spcAft>
                <a:spcPts val="40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MIGRATION STRATEGY]</a:t>
            </a:r>
            <a:r>
              <a:rPr kumimoji="0" lang="en-US" sz="1200" b="1" i="0" u="none" strike="noStrike" kern="1200" cap="none" spc="0" normalizeH="0" baseline="0" noProof="0" dirty="0">
                <a:ln>
                  <a:noFill/>
                </a:ln>
                <a:solidFill>
                  <a:prstClr val="black"/>
                </a:solidFill>
                <a:effectLst/>
                <a:uLnTx/>
                <a:uFillTx/>
                <a:latin typeface="+mn-lt"/>
                <a:ea typeface="+mn-ea"/>
                <a:cs typeface="+mn-cs"/>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9BBB59"/>
                </a:solidFill>
                <a:effectLst/>
                <a:uLnTx/>
                <a:uFillTx/>
                <a:latin typeface="+mn-lt"/>
                <a:ea typeface="+mn-ea"/>
                <a:cs typeface="+mn-cs"/>
              </a:rPr>
              <a:t>One critical aspect of developing your migration strategy is to collect application portfolio data and rationalize it into what we refer to as “The 7 R’s”: Retire, Retain, Relocate, Rehost, Repurchase, </a:t>
            </a:r>
            <a:r>
              <a:rPr kumimoji="0" lang="en-US" sz="1200" b="0" i="0" u="none" strike="noStrike" kern="1200" cap="none" spc="0" normalizeH="0" baseline="0" noProof="0" dirty="0" err="1">
                <a:ln>
                  <a:noFill/>
                </a:ln>
                <a:solidFill>
                  <a:srgbClr val="9BBB59"/>
                </a:solidFill>
                <a:effectLst/>
                <a:uLnTx/>
                <a:uFillTx/>
                <a:latin typeface="+mj-lt"/>
                <a:ea typeface="+mn-ea"/>
                <a:cs typeface="+mn-cs"/>
              </a:rPr>
              <a:t>Replatform</a:t>
            </a:r>
            <a:r>
              <a:rPr kumimoji="0" lang="en-US" sz="1200" b="0" i="0" u="none" strike="noStrike" kern="1200" cap="none" spc="0" normalizeH="0" baseline="0" noProof="0" dirty="0">
                <a:ln>
                  <a:noFill/>
                </a:ln>
                <a:solidFill>
                  <a:srgbClr val="9BBB59"/>
                </a:solidFill>
                <a:effectLst/>
                <a:uLnTx/>
                <a:uFillTx/>
                <a:latin typeface="+mj-lt"/>
                <a:ea typeface="+mn-ea"/>
                <a:cs typeface="+mn-cs"/>
              </a:rPr>
              <a:t> and Refactor</a:t>
            </a:r>
            <a:r>
              <a:rPr kumimoji="0" lang="en-US" sz="1200" b="0" i="0" u="none" strike="noStrike" kern="1200" cap="none" spc="0" normalizeH="0" baseline="0" noProof="0" dirty="0">
                <a:ln>
                  <a:noFill/>
                </a:ln>
                <a:solidFill>
                  <a:srgbClr val="9BBB59"/>
                </a:solidFill>
                <a:effectLst/>
                <a:uLnTx/>
                <a:uFillTx/>
                <a:latin typeface="+mn-lt"/>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9BBB59"/>
                </a:solidFill>
                <a:effectLst/>
                <a:uLnTx/>
                <a:uFillTx/>
                <a:latin typeface="+mn-lt"/>
                <a:ea typeface="+mn-ea"/>
                <a:cs typeface="+mn-cs"/>
              </a:rPr>
              <a:t>This is a method for categorizing what is in your environment, their interdependencies, each application’s technical complexity and business criticality, and how you’ll go about migrating each application or set of applications. </a:t>
            </a:r>
            <a:endParaRPr kumimoji="0" lang="en-US" sz="1100" b="0" i="0" u="none" strike="noStrike" kern="1200" cap="none" spc="0" normalizeH="0" baseline="0" noProof="0" dirty="0">
              <a:ln>
                <a:noFill/>
              </a:ln>
              <a:solidFill>
                <a:srgbClr val="9BBB59"/>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Assessing your application portfolio and determining the application migration pattern for all of you applications is a critical step to the success of your migration planning and execu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Early cloud adopter CIO’s from large enterprises have warned us that they desired to jump straight to a all-in “Refactoring” of all their applications to take full advantage of the clou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This can result in a lengthy design process before moving your first workloads to the cloud as rewrite applications. Based on their advice and witnessing customers have success, we advise you to take advantage of significant lift and shift opportunities to get your cloud migration move quickly, gain cloud experience, and see cost-savings quick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This jumpstarts your refactoring effort. As well, you can always refactor after you lift and shift and have gained more cloud experience. We also want to call out an emerging new “R”, especially for customers that may need to maintain large hybrid environments – Relocate. You can quickly relocate applications based on VMware and container technologies quickly to AWS with minimal effort and complex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nally, our customers tell us that having hundreds of examples like these are one of the reasons they find AWS the easiest platform the migrate to. We’re going to continue to harvest learnings from this experience so that we can accelerate customers through commonly encountered migration scenarios using prescriptive guidance and best practice.</a:t>
            </a:r>
            <a:endParaRPr lang="en-US" dirty="0"/>
          </a:p>
        </p:txBody>
      </p:sp>
      <p:sp>
        <p:nvSpPr>
          <p:cNvPr id="4" name="Header Placeholder 3"/>
          <p:cNvSpPr>
            <a:spLocks noGrp="1"/>
          </p:cNvSpPr>
          <p:nvPr>
            <p:ph type="hdr" sz="quarter"/>
          </p:nvPr>
        </p:nvSpPr>
        <p:spPr/>
        <p:txBody>
          <a:bodyPr/>
          <a:lstStyle/>
          <a:p>
            <a:r>
              <a:rPr lang="en-US"/>
              <a:t>AWS SKO Event 2019</a:t>
            </a:r>
            <a:endParaRPr lang="en-US" dirty="0"/>
          </a:p>
        </p:txBody>
      </p:sp>
      <p:sp>
        <p:nvSpPr>
          <p:cNvPr id="5" name="Footer Placeholder 4"/>
          <p:cNvSpPr>
            <a:spLocks noGrp="1"/>
          </p:cNvSpPr>
          <p:nvPr>
            <p:ph type="ftr" sz="quarter" idx="4"/>
          </p:nvPr>
        </p:nvSpPr>
        <p:spPr/>
        <p:txBody>
          <a:bodyPr/>
          <a:lstStyle/>
          <a:p>
            <a:r>
              <a:rPr lang="en-US" altLang="x-none" sz="700">
                <a:solidFill>
                  <a:srgbClr val="282828"/>
                </a:solidFill>
                <a:latin typeface="Amazon Ember" charset="0"/>
                <a:ea typeface="Amazon Ember" charset="0"/>
                <a:cs typeface="Amazon Ember" charset="0"/>
              </a:rPr>
              <a:t>© 2018, Amazon Web Services, Inc. or its Affiliates. All rights reserved.</a:t>
            </a:r>
            <a:endParaRPr lang="en-US" altLang="x-none" sz="700" dirty="0">
              <a:solidFill>
                <a:srgbClr val="282828"/>
              </a:solidFill>
              <a:latin typeface="Amazon Ember" charset="0"/>
              <a:ea typeface="Amazon Ember" charset="0"/>
              <a:cs typeface="Amazon Ember" charset="0"/>
            </a:endParaRPr>
          </a:p>
        </p:txBody>
      </p:sp>
      <p:sp>
        <p:nvSpPr>
          <p:cNvPr id="6" name="Date Placeholder 5"/>
          <p:cNvSpPr>
            <a:spLocks noGrp="1"/>
          </p:cNvSpPr>
          <p:nvPr>
            <p:ph type="dt" idx="1"/>
          </p:nvPr>
        </p:nvSpPr>
        <p:spPr/>
        <p:txBody>
          <a:bodyPr/>
          <a:lstStyle/>
          <a:p>
            <a:fld id="{CA8E1BB1-B036-4140-B110-296DC0701D04}" type="datetime8">
              <a:rPr lang="en-US" smtClean="0"/>
              <a:pPr/>
              <a:t>8/17/21 9:24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41980307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9C3F2ED-74C5-7D4F-8560-0CC253E9A436}" type="slidenum">
              <a:rPr lang="en-US" smtClean="0"/>
              <a:pPr/>
              <a:t>7</a:t>
            </a:fld>
            <a:endParaRPr lang="en-US" dirty="0"/>
          </a:p>
        </p:txBody>
      </p:sp>
    </p:spTree>
    <p:extLst>
      <p:ext uri="{BB962C8B-B14F-4D97-AF65-F5344CB8AC3E}">
        <p14:creationId xmlns:p14="http://schemas.microsoft.com/office/powerpoint/2010/main" val="9548410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4313" indent="-214313">
              <a:buFont typeface="Arial" panose="020B0604020202020204" pitchFamily="34" charset="0"/>
              <a:buChar char="•"/>
            </a:pPr>
            <a:r>
              <a:rPr lang="en-US" sz="1200" dirty="0"/>
              <a:t>Risk</a:t>
            </a:r>
          </a:p>
          <a:p>
            <a:pPr marL="957225" lvl="1" indent="-214313">
              <a:buFont typeface="Arial" panose="020B0604020202020204" pitchFamily="34" charset="0"/>
              <a:buChar char="•"/>
            </a:pPr>
            <a:r>
              <a:rPr lang="en-US" sz="1100" dirty="0"/>
              <a:t>What is the Business Impact if the application experiences downtime or functionality issues?</a:t>
            </a:r>
          </a:p>
          <a:p>
            <a:pPr marL="957225" lvl="1" indent="-214313">
              <a:buFont typeface="Arial" panose="020B0604020202020204" pitchFamily="34" charset="0"/>
              <a:buChar char="•"/>
            </a:pPr>
            <a:r>
              <a:rPr lang="en-US" sz="1100" dirty="0"/>
              <a:t>How many integrations and components does the application have?</a:t>
            </a:r>
          </a:p>
          <a:p>
            <a:pPr marL="214313" indent="-214313">
              <a:buFont typeface="Arial" panose="020B0604020202020204" pitchFamily="34" charset="0"/>
              <a:buChar char="•"/>
            </a:pPr>
            <a:r>
              <a:rPr lang="en-US" sz="1200" dirty="0"/>
              <a:t>Change Effort Required</a:t>
            </a:r>
          </a:p>
          <a:p>
            <a:pPr marL="957225" lvl="1" indent="-214313">
              <a:buFont typeface="Arial" panose="020B0604020202020204" pitchFamily="34" charset="0"/>
              <a:buChar char="•"/>
            </a:pPr>
            <a:r>
              <a:rPr lang="en-US" sz="1100" dirty="0"/>
              <a:t>Is the application running on outdated platforms?</a:t>
            </a:r>
          </a:p>
          <a:p>
            <a:pPr marL="957225" lvl="1" indent="-214313">
              <a:buFont typeface="Arial" panose="020B0604020202020204" pitchFamily="34" charset="0"/>
              <a:buChar char="•"/>
            </a:pPr>
            <a:r>
              <a:rPr lang="en-US" sz="1100" dirty="0"/>
              <a:t>How transformational will the application migration be?</a:t>
            </a:r>
          </a:p>
          <a:p>
            <a:pPr marL="214313" indent="-214313">
              <a:buFont typeface="Arial" panose="020B0604020202020204" pitchFamily="34" charset="0"/>
              <a:buChar char="•"/>
            </a:pPr>
            <a:r>
              <a:rPr lang="en-US" sz="1200" dirty="0"/>
              <a:t>Cost</a:t>
            </a:r>
          </a:p>
          <a:p>
            <a:pPr marL="957225" lvl="1" indent="-214313">
              <a:buFont typeface="Arial" panose="020B0604020202020204" pitchFamily="34" charset="0"/>
              <a:buChar char="•"/>
            </a:pPr>
            <a:r>
              <a:rPr lang="en-US" sz="1100" dirty="0"/>
              <a:t>What is the cost differential between current state and target?</a:t>
            </a:r>
          </a:p>
          <a:p>
            <a:pPr marL="957225" lvl="1" indent="-214313">
              <a:buFont typeface="Arial" panose="020B0604020202020204" pitchFamily="34" charset="0"/>
              <a:buChar char="•"/>
            </a:pPr>
            <a:r>
              <a:rPr lang="en-US" sz="1100" dirty="0"/>
              <a:t>Can the application environment leverage cloud technologies to reduce cost?</a:t>
            </a:r>
          </a:p>
          <a:p>
            <a:pPr marL="214313" indent="-214313">
              <a:buFont typeface="Arial" panose="020B0604020202020204" pitchFamily="34" charset="0"/>
              <a:buChar char="•"/>
            </a:pPr>
            <a:r>
              <a:rPr lang="en-US" sz="1200" dirty="0"/>
              <a:t>Agility	</a:t>
            </a:r>
          </a:p>
          <a:p>
            <a:pPr marL="957225" lvl="1" indent="-214313">
              <a:buFont typeface="Arial" panose="020B0604020202020204" pitchFamily="34" charset="0"/>
              <a:buChar char="•"/>
            </a:pPr>
            <a:r>
              <a:rPr lang="en-US" sz="1100" dirty="0"/>
              <a:t>Is this application under heavy development?</a:t>
            </a:r>
          </a:p>
          <a:p>
            <a:pPr marL="957225" lvl="1" indent="-214313">
              <a:buFont typeface="Arial" panose="020B0604020202020204" pitchFamily="34" charset="0"/>
              <a:buChar char="•"/>
            </a:pPr>
            <a:r>
              <a:rPr lang="en-US" sz="1100" dirty="0"/>
              <a:t>How fast do application changes need to be deployed?</a:t>
            </a:r>
          </a:p>
          <a:p>
            <a:pPr marL="214313" indent="-214313">
              <a:buFont typeface="Arial" panose="020B0604020202020204" pitchFamily="34" charset="0"/>
              <a:buChar char="•"/>
            </a:pPr>
            <a:r>
              <a:rPr lang="en-US" sz="1200" dirty="0"/>
              <a:t>Scale</a:t>
            </a:r>
          </a:p>
          <a:p>
            <a:pPr marL="957225" lvl="1" indent="-214313">
              <a:buFont typeface="Arial" panose="020B0604020202020204" pitchFamily="34" charset="0"/>
              <a:buChar char="•"/>
            </a:pPr>
            <a:r>
              <a:rPr lang="en-US" sz="1100" dirty="0"/>
              <a:t>Does this application have a highly variable workload?</a:t>
            </a:r>
          </a:p>
          <a:p>
            <a:pPr marL="957225" lvl="1" indent="-214313">
              <a:buFont typeface="Arial" panose="020B0604020202020204" pitchFamily="34" charset="0"/>
              <a:buChar char="•"/>
            </a:pPr>
            <a:r>
              <a:rPr lang="en-US" sz="1100" dirty="0"/>
              <a:t>How rapidly is this application consuming new infrastructure resources?</a:t>
            </a:r>
          </a:p>
          <a:p>
            <a:pPr marL="214313" indent="-214313">
              <a:buFont typeface="Arial" panose="020B0604020202020204" pitchFamily="34" charset="0"/>
              <a:buChar char="•"/>
            </a:pPr>
            <a:r>
              <a:rPr lang="en-US" sz="1200" dirty="0"/>
              <a:t>Accessibility</a:t>
            </a:r>
          </a:p>
          <a:p>
            <a:pPr marL="957225" lvl="1" indent="-214313">
              <a:buFont typeface="Arial" panose="020B0604020202020204" pitchFamily="34" charset="0"/>
              <a:buChar char="•"/>
            </a:pPr>
            <a:r>
              <a:rPr lang="en-US" sz="1100" dirty="0"/>
              <a:t>Who are the users and how do they reach the application?</a:t>
            </a:r>
          </a:p>
          <a:p>
            <a:pPr marL="957225" lvl="1" indent="-214313">
              <a:buFont typeface="Arial" panose="020B0604020202020204" pitchFamily="34" charset="0"/>
              <a:buChar char="•"/>
            </a:pPr>
            <a:r>
              <a:rPr lang="en-US" sz="1100" dirty="0"/>
              <a:t>Are there concerns around compliance and/or data security? </a:t>
            </a:r>
          </a:p>
          <a:p>
            <a:endParaRPr lang="en-US" dirty="0"/>
          </a:p>
        </p:txBody>
      </p:sp>
      <p:sp>
        <p:nvSpPr>
          <p:cNvPr id="4" name="Slide Number Placeholder 3"/>
          <p:cNvSpPr>
            <a:spLocks noGrp="1"/>
          </p:cNvSpPr>
          <p:nvPr>
            <p:ph type="sldNum" sz="quarter" idx="5"/>
          </p:nvPr>
        </p:nvSpPr>
        <p:spPr/>
        <p:txBody>
          <a:bodyPr/>
          <a:lstStyle/>
          <a:p>
            <a:fld id="{69C3F2ED-74C5-7D4F-8560-0CC253E9A436}" type="slidenum">
              <a:rPr lang="en-US" smtClean="0"/>
              <a:pPr/>
              <a:t>8</a:t>
            </a:fld>
            <a:endParaRPr lang="en-US" dirty="0"/>
          </a:p>
        </p:txBody>
      </p:sp>
    </p:spTree>
    <p:extLst>
      <p:ext uri="{BB962C8B-B14F-4D97-AF65-F5344CB8AC3E}">
        <p14:creationId xmlns:p14="http://schemas.microsoft.com/office/powerpoint/2010/main" val="6079563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9C3F2ED-74C5-7D4F-8560-0CC253E9A436}" type="slidenum">
              <a:rPr lang="en-US" smtClean="0"/>
              <a:pPr/>
              <a:t>9</a:t>
            </a:fld>
            <a:endParaRPr lang="en-US" dirty="0"/>
          </a:p>
        </p:txBody>
      </p:sp>
    </p:spTree>
    <p:extLst>
      <p:ext uri="{BB962C8B-B14F-4D97-AF65-F5344CB8AC3E}">
        <p14:creationId xmlns:p14="http://schemas.microsoft.com/office/powerpoint/2010/main" val="17045623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_TwoSpeaker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ext Placeholder 11"/>
          <p:cNvSpPr>
            <a:spLocks noGrp="1"/>
          </p:cNvSpPr>
          <p:nvPr>
            <p:ph type="body" sz="quarter" idx="10" hasCustomPrompt="1"/>
          </p:nvPr>
        </p:nvSpPr>
        <p:spPr>
          <a:xfrm>
            <a:off x="548640" y="5950356"/>
            <a:ext cx="5892800" cy="996597"/>
          </a:xfrm>
          <a:prstGeom prst="rect">
            <a:avLst/>
          </a:prstGeom>
        </p:spPr>
        <p:txBody>
          <a:bodyPr>
            <a:normAutofit/>
          </a:bodyPr>
          <a:lstStyle>
            <a:lvl1pPr marL="0" indent="0" algn="l">
              <a:buNone/>
              <a:defRPr sz="2600" baseline="0"/>
            </a:lvl1pPr>
          </a:lstStyle>
          <a:p>
            <a:pPr lvl="0"/>
            <a:r>
              <a:rPr lang="en-US" dirty="0"/>
              <a:t>Click to edit presenter, team</a:t>
            </a:r>
          </a:p>
          <a:p>
            <a:pPr lvl="0"/>
            <a:r>
              <a:rPr lang="en-US" dirty="0"/>
              <a:t>Click to edit date, location</a:t>
            </a:r>
          </a:p>
        </p:txBody>
      </p:sp>
      <p:sp>
        <p:nvSpPr>
          <p:cNvPr id="10" name="Text Placeholder 8"/>
          <p:cNvSpPr>
            <a:spLocks noGrp="1"/>
          </p:cNvSpPr>
          <p:nvPr>
            <p:ph type="body" sz="quarter" idx="12" hasCustomPrompt="1"/>
          </p:nvPr>
        </p:nvSpPr>
        <p:spPr>
          <a:xfrm>
            <a:off x="548640" y="3053166"/>
            <a:ext cx="11719981" cy="1191259"/>
          </a:xfrm>
          <a:prstGeom prst="rect">
            <a:avLst/>
          </a:prstGeom>
        </p:spPr>
        <p:txBody>
          <a:bodyPr>
            <a:noAutofit/>
          </a:bodyPr>
          <a:lstStyle>
            <a:lvl1pPr marL="0" indent="0" algn="l">
              <a:buNone/>
              <a:defRPr sz="6400" b="1" i="0" baseline="0">
                <a:latin typeface="Amazon Ember" panose="020B0603020204020204" pitchFamily="34" charset="0"/>
                <a:ea typeface="Amazon Ember" panose="020B0603020204020204" pitchFamily="34" charset="0"/>
                <a:cs typeface="Amazon Ember" panose="020B0603020204020204" pitchFamily="34" charset="0"/>
              </a:defRPr>
            </a:lvl1pPr>
          </a:lstStyle>
          <a:p>
            <a:pPr lvl="0"/>
            <a:r>
              <a:rPr lang="en-US" dirty="0"/>
              <a:t>Click to edit title</a:t>
            </a:r>
          </a:p>
        </p:txBody>
      </p:sp>
      <p:sp>
        <p:nvSpPr>
          <p:cNvPr id="12" name="Text Placeholder 11"/>
          <p:cNvSpPr>
            <a:spLocks noGrp="1"/>
          </p:cNvSpPr>
          <p:nvPr>
            <p:ph type="body" sz="quarter" idx="13" hasCustomPrompt="1"/>
          </p:nvPr>
        </p:nvSpPr>
        <p:spPr>
          <a:xfrm>
            <a:off x="548640" y="4253721"/>
            <a:ext cx="9666531" cy="1231243"/>
          </a:xfrm>
          <a:prstGeom prst="rect">
            <a:avLst/>
          </a:prstGeom>
        </p:spPr>
        <p:txBody>
          <a:bodyPr/>
          <a:lstStyle>
            <a:lvl1pPr marL="0" indent="0" algn="l">
              <a:buNone/>
              <a:defRPr sz="2900"/>
            </a:lvl1pPr>
          </a:lstStyle>
          <a:p>
            <a:pPr lvl="0"/>
            <a:r>
              <a:rPr lang="en-US" dirty="0"/>
              <a:t>Click to edit subtitle</a:t>
            </a:r>
          </a:p>
        </p:txBody>
      </p:sp>
      <p:sp>
        <p:nvSpPr>
          <p:cNvPr id="7" name="TextBox 6">
            <a:extLst>
              <a:ext uri="{FF2B5EF4-FFF2-40B4-BE49-F238E27FC236}">
                <a16:creationId xmlns:a16="http://schemas.microsoft.com/office/drawing/2014/main" id="{8FA84D03-8133-8347-8776-300EBD9F8B8C}"/>
              </a:ext>
            </a:extLst>
          </p:cNvPr>
          <p:cNvSpPr txBox="1"/>
          <p:nvPr userDrawn="1"/>
        </p:nvSpPr>
        <p:spPr>
          <a:xfrm>
            <a:off x="538863" y="7683901"/>
            <a:ext cx="7115490" cy="172355"/>
          </a:xfrm>
          <a:prstGeom prst="rect">
            <a:avLst/>
          </a:prstGeom>
          <a:noFill/>
        </p:spPr>
        <p:txBody>
          <a:bodyPr wrap="square" lIns="0" tIns="0" rIns="0" bIns="0" rtlCol="0">
            <a:spAutoFit/>
          </a:bodyPr>
          <a:lstStyle/>
          <a:p>
            <a:pPr marL="0" marR="0" indent="0" algn="l" defTabSz="731520" rtl="0" eaLnBrk="1" fontAlgn="auto" latinLnBrk="0" hangingPunct="1">
              <a:lnSpc>
                <a:spcPct val="100000"/>
              </a:lnSpc>
              <a:spcBef>
                <a:spcPts val="0"/>
              </a:spcBef>
              <a:spcAft>
                <a:spcPts val="0"/>
              </a:spcAft>
              <a:buClrTx/>
              <a:buSzTx/>
              <a:buFontTx/>
              <a:buNone/>
              <a:tabLst/>
              <a:defRPr/>
            </a:pPr>
            <a:r>
              <a:rPr lang="en-US" sz="1120" b="0" i="0" dirty="0">
                <a:solidFill>
                  <a:schemeClr val="tx1">
                    <a:lumMod val="50000"/>
                  </a:schemeClr>
                </a:solidFill>
                <a:latin typeface="Amazon Ember" panose="020B0603020204020204" pitchFamily="34" charset="0"/>
                <a:ea typeface="Amazon Ember" panose="020B0603020204020204" pitchFamily="34" charset="0"/>
                <a:cs typeface="Amazon Ember" panose="020B0603020204020204" pitchFamily="34" charset="0"/>
              </a:rPr>
              <a:t>© 2021, Amazon Web Services, Inc. or its Affiliates. </a:t>
            </a:r>
          </a:p>
        </p:txBody>
      </p:sp>
      <p:pic>
        <p:nvPicPr>
          <p:cNvPr id="4" name="Picture 3">
            <a:extLst>
              <a:ext uri="{FF2B5EF4-FFF2-40B4-BE49-F238E27FC236}">
                <a16:creationId xmlns:a16="http://schemas.microsoft.com/office/drawing/2014/main" id="{42A436D6-DC53-9F45-B35F-BB7A778D08D4}"/>
              </a:ext>
            </a:extLst>
          </p:cNvPr>
          <p:cNvPicPr>
            <a:picLocks noChangeAspect="1"/>
          </p:cNvPicPr>
          <p:nvPr userDrawn="1"/>
        </p:nvPicPr>
        <p:blipFill>
          <a:blip r:embed="rId3"/>
          <a:stretch>
            <a:fillRect/>
          </a:stretch>
        </p:blipFill>
        <p:spPr>
          <a:xfrm>
            <a:off x="332509" y="499973"/>
            <a:ext cx="1309153" cy="782674"/>
          </a:xfrm>
          <a:prstGeom prst="rect">
            <a:avLst/>
          </a:prstGeom>
        </p:spPr>
      </p:pic>
    </p:spTree>
    <p:extLst>
      <p:ext uri="{BB962C8B-B14F-4D97-AF65-F5344CB8AC3E}">
        <p14:creationId xmlns:p14="http://schemas.microsoft.com/office/powerpoint/2010/main" val="22170408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ull_Image_Center">
    <p:bg>
      <p:bgRef idx="1001">
        <a:schemeClr val="bg2"/>
      </p:bgRef>
    </p:bg>
    <p:spTree>
      <p:nvGrpSpPr>
        <p:cNvPr id="1" name=""/>
        <p:cNvGrpSpPr/>
        <p:nvPr/>
      </p:nvGrpSpPr>
      <p:grpSpPr>
        <a:xfrm>
          <a:off x="0" y="0"/>
          <a:ext cx="0" cy="0"/>
          <a:chOff x="0" y="0"/>
          <a:chExt cx="0" cy="0"/>
        </a:xfrm>
      </p:grpSpPr>
      <p:sp>
        <p:nvSpPr>
          <p:cNvPr id="11" name="Title 1"/>
          <p:cNvSpPr>
            <a:spLocks noGrp="1"/>
          </p:cNvSpPr>
          <p:nvPr>
            <p:ph type="title"/>
          </p:nvPr>
        </p:nvSpPr>
        <p:spPr>
          <a:xfrm>
            <a:off x="548640" y="183898"/>
            <a:ext cx="13510260" cy="873186"/>
          </a:xfrm>
        </p:spPr>
        <p:txBody>
          <a:bodyPr>
            <a:normAutofit/>
          </a:bodyPr>
          <a:lstStyle>
            <a:lvl1pPr>
              <a:defRPr sz="3800" b="1" i="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
        <p:nvSpPr>
          <p:cNvPr id="5" name="Picture Placeholder 4">
            <a:extLst>
              <a:ext uri="{FF2B5EF4-FFF2-40B4-BE49-F238E27FC236}">
                <a16:creationId xmlns:a16="http://schemas.microsoft.com/office/drawing/2014/main" id="{E78145AC-79A9-834A-BE03-ED99E1BFF7AC}"/>
              </a:ext>
            </a:extLst>
          </p:cNvPr>
          <p:cNvSpPr>
            <a:spLocks noGrp="1"/>
          </p:cNvSpPr>
          <p:nvPr>
            <p:ph type="pic" sz="quarter" idx="10"/>
          </p:nvPr>
        </p:nvSpPr>
        <p:spPr>
          <a:xfrm>
            <a:off x="548640" y="1645920"/>
            <a:ext cx="13514832" cy="5338152"/>
          </a:xfrm>
          <a:prstGeom prst="rect">
            <a:avLst/>
          </a:prstGeom>
        </p:spPr>
        <p:txBody>
          <a:bodyPr/>
          <a:lstStyle/>
          <a:p>
            <a:endParaRPr lang="en-US"/>
          </a:p>
        </p:txBody>
      </p:sp>
      <p:pic>
        <p:nvPicPr>
          <p:cNvPr id="6" name="Picture 5">
            <a:extLst>
              <a:ext uri="{FF2B5EF4-FFF2-40B4-BE49-F238E27FC236}">
                <a16:creationId xmlns:a16="http://schemas.microsoft.com/office/drawing/2014/main" id="{D33F1706-DA55-F041-B0DA-DB3403AB7D13}"/>
              </a:ext>
            </a:extLst>
          </p:cNvPr>
          <p:cNvPicPr>
            <a:picLocks noChangeAspect="1"/>
          </p:cNvPicPr>
          <p:nvPr userDrawn="1"/>
        </p:nvPicPr>
        <p:blipFill>
          <a:blip r:embed="rId2"/>
          <a:stretch>
            <a:fillRect/>
          </a:stretch>
        </p:blipFill>
        <p:spPr>
          <a:xfrm>
            <a:off x="13175672" y="7500157"/>
            <a:ext cx="734291" cy="438994"/>
          </a:xfrm>
          <a:prstGeom prst="rect">
            <a:avLst/>
          </a:prstGeom>
        </p:spPr>
      </p:pic>
    </p:spTree>
    <p:extLst>
      <p:ext uri="{BB962C8B-B14F-4D97-AF65-F5344CB8AC3E}">
        <p14:creationId xmlns:p14="http://schemas.microsoft.com/office/powerpoint/2010/main" val="3345301845"/>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ull_Bleed_Image">
    <p:bg>
      <p:bgRef idx="1001">
        <a:schemeClr val="bg2"/>
      </p:bgRef>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78145AC-79A9-834A-BE03-ED99E1BFF7AC}"/>
              </a:ext>
            </a:extLst>
          </p:cNvPr>
          <p:cNvSpPr>
            <a:spLocks noGrp="1"/>
          </p:cNvSpPr>
          <p:nvPr>
            <p:ph type="pic" sz="quarter" idx="10"/>
          </p:nvPr>
        </p:nvSpPr>
        <p:spPr>
          <a:xfrm>
            <a:off x="0" y="1"/>
            <a:ext cx="14630400" cy="8229598"/>
          </a:xfrm>
          <a:prstGeom prst="rect">
            <a:avLst/>
          </a:prstGeom>
        </p:spPr>
        <p:txBody>
          <a:bodyPr/>
          <a:lstStyle/>
          <a:p>
            <a:endParaRPr lang="en-US" dirty="0"/>
          </a:p>
        </p:txBody>
      </p:sp>
      <p:sp>
        <p:nvSpPr>
          <p:cNvPr id="11" name="Title 1"/>
          <p:cNvSpPr>
            <a:spLocks noGrp="1"/>
          </p:cNvSpPr>
          <p:nvPr>
            <p:ph type="title"/>
          </p:nvPr>
        </p:nvSpPr>
        <p:spPr>
          <a:xfrm>
            <a:off x="548640" y="183898"/>
            <a:ext cx="13510260" cy="873186"/>
          </a:xfrm>
        </p:spPr>
        <p:txBody>
          <a:bodyPr>
            <a:normAutofit/>
          </a:bodyPr>
          <a:lstStyle>
            <a:lvl1pPr>
              <a:defRPr sz="3800">
                <a:solidFill>
                  <a:schemeClr val="tx1"/>
                </a:solidFill>
              </a:defRPr>
            </a:lvl1pPr>
          </a:lstStyle>
          <a:p>
            <a:r>
              <a:rPr lang="en-US" dirty="0"/>
              <a:t>Click to edit Master title style</a:t>
            </a:r>
          </a:p>
        </p:txBody>
      </p:sp>
      <p:pic>
        <p:nvPicPr>
          <p:cNvPr id="6" name="Picture 5">
            <a:extLst>
              <a:ext uri="{FF2B5EF4-FFF2-40B4-BE49-F238E27FC236}">
                <a16:creationId xmlns:a16="http://schemas.microsoft.com/office/drawing/2014/main" id="{2859F82C-9A97-B448-8343-1C7CC115E672}"/>
              </a:ext>
            </a:extLst>
          </p:cNvPr>
          <p:cNvPicPr>
            <a:picLocks noChangeAspect="1"/>
          </p:cNvPicPr>
          <p:nvPr userDrawn="1"/>
        </p:nvPicPr>
        <p:blipFill>
          <a:blip r:embed="rId2"/>
          <a:stretch>
            <a:fillRect/>
          </a:stretch>
        </p:blipFill>
        <p:spPr>
          <a:xfrm>
            <a:off x="13175672" y="7500157"/>
            <a:ext cx="734291" cy="438994"/>
          </a:xfrm>
          <a:prstGeom prst="rect">
            <a:avLst/>
          </a:prstGeom>
        </p:spPr>
      </p:pic>
    </p:spTree>
    <p:extLst>
      <p:ext uri="{BB962C8B-B14F-4D97-AF65-F5344CB8AC3E}">
        <p14:creationId xmlns:p14="http://schemas.microsoft.com/office/powerpoint/2010/main" val="2243516696"/>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lor_Logo_Customer_Wall">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48640" y="183898"/>
            <a:ext cx="13510260" cy="872307"/>
          </a:xfrm>
        </p:spPr>
        <p:txBody>
          <a:bodyPr/>
          <a:lstStyle/>
          <a:p>
            <a:r>
              <a:rPr lang="en-US" dirty="0"/>
              <a:t>Click to edit Master title style</a:t>
            </a:r>
          </a:p>
        </p:txBody>
      </p:sp>
      <p:sp>
        <p:nvSpPr>
          <p:cNvPr id="4" name="Rectangle 3">
            <a:extLst>
              <a:ext uri="{FF2B5EF4-FFF2-40B4-BE49-F238E27FC236}">
                <a16:creationId xmlns:a16="http://schemas.microsoft.com/office/drawing/2014/main" id="{1A65E46D-C0D2-7642-AF47-40070CB7653A}"/>
              </a:ext>
            </a:extLst>
          </p:cNvPr>
          <p:cNvSpPr/>
          <p:nvPr userDrawn="1"/>
        </p:nvSpPr>
        <p:spPr>
          <a:xfrm>
            <a:off x="0" y="1645920"/>
            <a:ext cx="14630400" cy="532964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08" dirty="0"/>
          </a:p>
        </p:txBody>
      </p:sp>
      <p:sp>
        <p:nvSpPr>
          <p:cNvPr id="15" name="Picture Placeholder 2"/>
          <p:cNvSpPr>
            <a:spLocks noGrp="1"/>
          </p:cNvSpPr>
          <p:nvPr>
            <p:ph type="pic" sz="quarter" idx="16"/>
          </p:nvPr>
        </p:nvSpPr>
        <p:spPr>
          <a:xfrm>
            <a:off x="946674" y="2502419"/>
            <a:ext cx="2028989" cy="1518157"/>
          </a:xfrm>
          <a:prstGeom prst="rect">
            <a:avLst/>
          </a:prstGeom>
        </p:spPr>
        <p:txBody>
          <a:bodyPr>
            <a:normAutofit/>
          </a:bodyPr>
          <a:lstStyle>
            <a:lvl1pPr>
              <a:defRPr sz="2240">
                <a:solidFill>
                  <a:schemeClr val="bg1"/>
                </a:solidFill>
              </a:defRPr>
            </a:lvl1pPr>
          </a:lstStyle>
          <a:p>
            <a:r>
              <a:rPr lang="en-US" dirty="0"/>
              <a:t>Drag picture to placeholder or click icon to add</a:t>
            </a:r>
          </a:p>
        </p:txBody>
      </p:sp>
      <p:sp>
        <p:nvSpPr>
          <p:cNvPr id="16" name="Picture Placeholder 2"/>
          <p:cNvSpPr>
            <a:spLocks noGrp="1"/>
          </p:cNvSpPr>
          <p:nvPr>
            <p:ph type="pic" sz="quarter" idx="17"/>
          </p:nvPr>
        </p:nvSpPr>
        <p:spPr>
          <a:xfrm>
            <a:off x="4328298" y="2502419"/>
            <a:ext cx="2028989" cy="1518157"/>
          </a:xfrm>
          <a:prstGeom prst="rect">
            <a:avLst/>
          </a:prstGeom>
        </p:spPr>
        <p:txBody>
          <a:bodyPr>
            <a:normAutofit/>
          </a:bodyPr>
          <a:lstStyle>
            <a:lvl1pPr>
              <a:defRPr sz="2240">
                <a:solidFill>
                  <a:schemeClr val="bg1"/>
                </a:solidFill>
              </a:defRPr>
            </a:lvl1pPr>
          </a:lstStyle>
          <a:p>
            <a:r>
              <a:rPr lang="en-US"/>
              <a:t>Drag picture to placeholder or click icon to add</a:t>
            </a:r>
            <a:endParaRPr lang="en-US" dirty="0"/>
          </a:p>
        </p:txBody>
      </p:sp>
      <p:sp>
        <p:nvSpPr>
          <p:cNvPr id="17" name="Picture Placeholder 2"/>
          <p:cNvSpPr>
            <a:spLocks noGrp="1"/>
          </p:cNvSpPr>
          <p:nvPr>
            <p:ph type="pic" sz="quarter" idx="18"/>
          </p:nvPr>
        </p:nvSpPr>
        <p:spPr>
          <a:xfrm>
            <a:off x="7709922" y="2502419"/>
            <a:ext cx="2028989" cy="1518157"/>
          </a:xfrm>
          <a:prstGeom prst="rect">
            <a:avLst/>
          </a:prstGeom>
        </p:spPr>
        <p:txBody>
          <a:bodyPr>
            <a:normAutofit/>
          </a:bodyPr>
          <a:lstStyle>
            <a:lvl1pPr>
              <a:defRPr sz="2240">
                <a:solidFill>
                  <a:schemeClr val="bg1"/>
                </a:solidFill>
              </a:defRPr>
            </a:lvl1pPr>
          </a:lstStyle>
          <a:p>
            <a:r>
              <a:rPr lang="en-US"/>
              <a:t>Drag picture to placeholder or click icon to add</a:t>
            </a:r>
            <a:endParaRPr lang="en-US" dirty="0"/>
          </a:p>
        </p:txBody>
      </p:sp>
      <p:sp>
        <p:nvSpPr>
          <p:cNvPr id="18" name="Picture Placeholder 2"/>
          <p:cNvSpPr>
            <a:spLocks noGrp="1"/>
          </p:cNvSpPr>
          <p:nvPr>
            <p:ph type="pic" sz="quarter" idx="19"/>
          </p:nvPr>
        </p:nvSpPr>
        <p:spPr>
          <a:xfrm>
            <a:off x="11091547" y="2502419"/>
            <a:ext cx="2028989" cy="1518157"/>
          </a:xfrm>
          <a:prstGeom prst="rect">
            <a:avLst/>
          </a:prstGeom>
        </p:spPr>
        <p:txBody>
          <a:bodyPr>
            <a:normAutofit/>
          </a:bodyPr>
          <a:lstStyle>
            <a:lvl1pPr>
              <a:defRPr sz="2240">
                <a:solidFill>
                  <a:schemeClr val="bg1"/>
                </a:solidFill>
              </a:defRPr>
            </a:lvl1pPr>
          </a:lstStyle>
          <a:p>
            <a:r>
              <a:rPr lang="en-US"/>
              <a:t>Drag picture to placeholder or click icon to add</a:t>
            </a:r>
            <a:endParaRPr lang="en-US" dirty="0"/>
          </a:p>
        </p:txBody>
      </p:sp>
      <p:sp>
        <p:nvSpPr>
          <p:cNvPr id="19" name="Picture Placeholder 2">
            <a:extLst>
              <a:ext uri="{FF2B5EF4-FFF2-40B4-BE49-F238E27FC236}">
                <a16:creationId xmlns:a16="http://schemas.microsoft.com/office/drawing/2014/main" id="{F1543634-A736-BA4B-A10A-31EE0B13FC13}"/>
              </a:ext>
            </a:extLst>
          </p:cNvPr>
          <p:cNvSpPr>
            <a:spLocks noGrp="1"/>
          </p:cNvSpPr>
          <p:nvPr>
            <p:ph type="pic" sz="quarter" idx="20"/>
          </p:nvPr>
        </p:nvSpPr>
        <p:spPr>
          <a:xfrm>
            <a:off x="946674" y="4696978"/>
            <a:ext cx="2028989" cy="1518157"/>
          </a:xfrm>
          <a:prstGeom prst="rect">
            <a:avLst/>
          </a:prstGeom>
        </p:spPr>
        <p:txBody>
          <a:bodyPr>
            <a:normAutofit/>
          </a:bodyPr>
          <a:lstStyle>
            <a:lvl1pPr>
              <a:defRPr sz="2240">
                <a:solidFill>
                  <a:schemeClr val="bg1"/>
                </a:solidFill>
              </a:defRPr>
            </a:lvl1pPr>
          </a:lstStyle>
          <a:p>
            <a:r>
              <a:rPr lang="en-US"/>
              <a:t>Drag picture to placeholder or click icon to add</a:t>
            </a:r>
            <a:endParaRPr lang="en-US" dirty="0"/>
          </a:p>
        </p:txBody>
      </p:sp>
      <p:sp>
        <p:nvSpPr>
          <p:cNvPr id="20" name="Picture Placeholder 2">
            <a:extLst>
              <a:ext uri="{FF2B5EF4-FFF2-40B4-BE49-F238E27FC236}">
                <a16:creationId xmlns:a16="http://schemas.microsoft.com/office/drawing/2014/main" id="{31DBC551-9315-1F45-A672-93EB06007494}"/>
              </a:ext>
            </a:extLst>
          </p:cNvPr>
          <p:cNvSpPr>
            <a:spLocks noGrp="1"/>
          </p:cNvSpPr>
          <p:nvPr>
            <p:ph type="pic" sz="quarter" idx="21"/>
          </p:nvPr>
        </p:nvSpPr>
        <p:spPr>
          <a:xfrm>
            <a:off x="4328298" y="4696978"/>
            <a:ext cx="2028989" cy="1518157"/>
          </a:xfrm>
          <a:prstGeom prst="rect">
            <a:avLst/>
          </a:prstGeom>
        </p:spPr>
        <p:txBody>
          <a:bodyPr>
            <a:normAutofit/>
          </a:bodyPr>
          <a:lstStyle>
            <a:lvl1pPr>
              <a:defRPr sz="2240">
                <a:solidFill>
                  <a:schemeClr val="bg1"/>
                </a:solidFill>
              </a:defRPr>
            </a:lvl1pPr>
          </a:lstStyle>
          <a:p>
            <a:r>
              <a:rPr lang="en-US"/>
              <a:t>Drag picture to placeholder or click icon to add</a:t>
            </a:r>
            <a:endParaRPr lang="en-US" dirty="0"/>
          </a:p>
        </p:txBody>
      </p:sp>
      <p:sp>
        <p:nvSpPr>
          <p:cNvPr id="21" name="Picture Placeholder 2">
            <a:extLst>
              <a:ext uri="{FF2B5EF4-FFF2-40B4-BE49-F238E27FC236}">
                <a16:creationId xmlns:a16="http://schemas.microsoft.com/office/drawing/2014/main" id="{AB66963A-7841-B341-A47C-7BEFE1F8B8CA}"/>
              </a:ext>
            </a:extLst>
          </p:cNvPr>
          <p:cNvSpPr>
            <a:spLocks noGrp="1"/>
          </p:cNvSpPr>
          <p:nvPr>
            <p:ph type="pic" sz="quarter" idx="22"/>
          </p:nvPr>
        </p:nvSpPr>
        <p:spPr>
          <a:xfrm>
            <a:off x="7709922" y="4696978"/>
            <a:ext cx="2028989" cy="1518157"/>
          </a:xfrm>
          <a:prstGeom prst="rect">
            <a:avLst/>
          </a:prstGeom>
        </p:spPr>
        <p:txBody>
          <a:bodyPr>
            <a:normAutofit/>
          </a:bodyPr>
          <a:lstStyle>
            <a:lvl1pPr>
              <a:defRPr sz="2240">
                <a:solidFill>
                  <a:schemeClr val="bg1"/>
                </a:solidFill>
              </a:defRPr>
            </a:lvl1pPr>
          </a:lstStyle>
          <a:p>
            <a:r>
              <a:rPr lang="en-US"/>
              <a:t>Drag picture to placeholder or click icon to add</a:t>
            </a:r>
            <a:endParaRPr lang="en-US" dirty="0"/>
          </a:p>
        </p:txBody>
      </p:sp>
      <p:sp>
        <p:nvSpPr>
          <p:cNvPr id="22" name="Picture Placeholder 2">
            <a:extLst>
              <a:ext uri="{FF2B5EF4-FFF2-40B4-BE49-F238E27FC236}">
                <a16:creationId xmlns:a16="http://schemas.microsoft.com/office/drawing/2014/main" id="{7E808491-1004-3A44-87DD-41D21C9E39C3}"/>
              </a:ext>
            </a:extLst>
          </p:cNvPr>
          <p:cNvSpPr>
            <a:spLocks noGrp="1"/>
          </p:cNvSpPr>
          <p:nvPr>
            <p:ph type="pic" sz="quarter" idx="23"/>
          </p:nvPr>
        </p:nvSpPr>
        <p:spPr>
          <a:xfrm>
            <a:off x="11091547" y="4696978"/>
            <a:ext cx="2028989" cy="1518157"/>
          </a:xfrm>
          <a:prstGeom prst="rect">
            <a:avLst/>
          </a:prstGeom>
        </p:spPr>
        <p:txBody>
          <a:bodyPr>
            <a:normAutofit/>
          </a:bodyPr>
          <a:lstStyle>
            <a:lvl1pPr>
              <a:defRPr sz="2240">
                <a:solidFill>
                  <a:schemeClr val="bg1"/>
                </a:solidFill>
              </a:defRPr>
            </a:lvl1pPr>
          </a:lstStyle>
          <a:p>
            <a:r>
              <a:rPr lang="en-US" dirty="0"/>
              <a:t>Drag picture to placeholder or click icon to add</a:t>
            </a:r>
          </a:p>
        </p:txBody>
      </p:sp>
      <p:pic>
        <p:nvPicPr>
          <p:cNvPr id="13" name="Picture 12">
            <a:extLst>
              <a:ext uri="{FF2B5EF4-FFF2-40B4-BE49-F238E27FC236}">
                <a16:creationId xmlns:a16="http://schemas.microsoft.com/office/drawing/2014/main" id="{8A669F30-E3E4-5A44-93DC-EDD0B30E079B}"/>
              </a:ext>
            </a:extLst>
          </p:cNvPr>
          <p:cNvPicPr>
            <a:picLocks noChangeAspect="1"/>
          </p:cNvPicPr>
          <p:nvPr userDrawn="1"/>
        </p:nvPicPr>
        <p:blipFill>
          <a:blip r:embed="rId2"/>
          <a:stretch>
            <a:fillRect/>
          </a:stretch>
        </p:blipFill>
        <p:spPr>
          <a:xfrm>
            <a:off x="13175672" y="7500157"/>
            <a:ext cx="734291" cy="438994"/>
          </a:xfrm>
          <a:prstGeom prst="rect">
            <a:avLst/>
          </a:prstGeom>
        </p:spPr>
      </p:pic>
    </p:spTree>
    <p:extLst>
      <p:ext uri="{BB962C8B-B14F-4D97-AF65-F5344CB8AC3E}">
        <p14:creationId xmlns:p14="http://schemas.microsoft.com/office/powerpoint/2010/main" val="2302505678"/>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Logo_Customer_Wall">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48640" y="183898"/>
            <a:ext cx="13510260" cy="872307"/>
          </a:xfrm>
        </p:spPr>
        <p:txBody>
          <a:bodyPr/>
          <a:lstStyle>
            <a:lvl1pPr>
              <a:defRPr b="1" i="0">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
        <p:nvSpPr>
          <p:cNvPr id="9" name="Picture Placeholder 2"/>
          <p:cNvSpPr>
            <a:spLocks noGrp="1"/>
          </p:cNvSpPr>
          <p:nvPr>
            <p:ph type="pic" sz="quarter" idx="20"/>
          </p:nvPr>
        </p:nvSpPr>
        <p:spPr>
          <a:xfrm>
            <a:off x="543902" y="1873467"/>
            <a:ext cx="3078480" cy="1761067"/>
          </a:xfrm>
          <a:prstGeom prst="rect">
            <a:avLst/>
          </a:prstGeom>
        </p:spPr>
        <p:txBody>
          <a:bodyPr>
            <a:normAutofit/>
          </a:bodyPr>
          <a:lstStyle>
            <a:lvl1pPr>
              <a:defRPr sz="2200">
                <a:solidFill>
                  <a:srgbClr val="C2C2C1"/>
                </a:solidFill>
              </a:defRPr>
            </a:lvl1pPr>
          </a:lstStyle>
          <a:p>
            <a:r>
              <a:rPr lang="en-US" dirty="0"/>
              <a:t>Drag picture to placeholder or click icon to add</a:t>
            </a:r>
          </a:p>
        </p:txBody>
      </p:sp>
      <p:sp>
        <p:nvSpPr>
          <p:cNvPr id="10" name="Picture Placeholder 2"/>
          <p:cNvSpPr>
            <a:spLocks noGrp="1"/>
          </p:cNvSpPr>
          <p:nvPr>
            <p:ph type="pic" sz="quarter" idx="21"/>
          </p:nvPr>
        </p:nvSpPr>
        <p:spPr>
          <a:xfrm>
            <a:off x="5566893" y="1873467"/>
            <a:ext cx="3078480" cy="1761067"/>
          </a:xfrm>
          <a:prstGeom prst="rect">
            <a:avLst/>
          </a:prstGeom>
        </p:spPr>
        <p:txBody>
          <a:bodyPr>
            <a:normAutofit/>
          </a:bodyPr>
          <a:lstStyle>
            <a:lvl1pPr>
              <a:defRPr sz="2200">
                <a:solidFill>
                  <a:srgbClr val="C2C2C1"/>
                </a:solidFill>
              </a:defRPr>
            </a:lvl1pPr>
          </a:lstStyle>
          <a:p>
            <a:r>
              <a:rPr lang="en-US"/>
              <a:t>Drag picture to placeholder or click icon to add</a:t>
            </a:r>
            <a:endParaRPr lang="en-US" dirty="0"/>
          </a:p>
        </p:txBody>
      </p:sp>
      <p:sp>
        <p:nvSpPr>
          <p:cNvPr id="11" name="Picture Placeholder 2"/>
          <p:cNvSpPr>
            <a:spLocks noGrp="1"/>
          </p:cNvSpPr>
          <p:nvPr>
            <p:ph type="pic" sz="quarter" idx="22"/>
          </p:nvPr>
        </p:nvSpPr>
        <p:spPr>
          <a:xfrm>
            <a:off x="10599958" y="1873467"/>
            <a:ext cx="3078480" cy="1761067"/>
          </a:xfrm>
          <a:prstGeom prst="rect">
            <a:avLst/>
          </a:prstGeom>
        </p:spPr>
        <p:txBody>
          <a:bodyPr>
            <a:normAutofit/>
          </a:bodyPr>
          <a:lstStyle>
            <a:lvl1pPr>
              <a:defRPr sz="2200">
                <a:solidFill>
                  <a:srgbClr val="C2C2C1"/>
                </a:solidFill>
              </a:defRPr>
            </a:lvl1pPr>
          </a:lstStyle>
          <a:p>
            <a:r>
              <a:rPr lang="en-US"/>
              <a:t>Drag picture to placeholder or click icon to add</a:t>
            </a:r>
            <a:endParaRPr lang="en-US" dirty="0"/>
          </a:p>
        </p:txBody>
      </p:sp>
      <p:sp>
        <p:nvSpPr>
          <p:cNvPr id="12" name="Picture Placeholder 2"/>
          <p:cNvSpPr>
            <a:spLocks noGrp="1"/>
          </p:cNvSpPr>
          <p:nvPr>
            <p:ph type="pic" sz="quarter" idx="23"/>
          </p:nvPr>
        </p:nvSpPr>
        <p:spPr>
          <a:xfrm>
            <a:off x="543902" y="4451796"/>
            <a:ext cx="3078480" cy="1761067"/>
          </a:xfrm>
          <a:prstGeom prst="rect">
            <a:avLst/>
          </a:prstGeom>
        </p:spPr>
        <p:txBody>
          <a:bodyPr>
            <a:normAutofit/>
          </a:bodyPr>
          <a:lstStyle>
            <a:lvl1pPr>
              <a:defRPr sz="2200">
                <a:solidFill>
                  <a:srgbClr val="C2C2C1"/>
                </a:solidFill>
              </a:defRPr>
            </a:lvl1pPr>
          </a:lstStyle>
          <a:p>
            <a:r>
              <a:rPr lang="en-US"/>
              <a:t>Drag picture to placeholder or click icon to add</a:t>
            </a:r>
            <a:endParaRPr lang="en-US" dirty="0"/>
          </a:p>
        </p:txBody>
      </p:sp>
      <p:sp>
        <p:nvSpPr>
          <p:cNvPr id="13" name="Picture Placeholder 2"/>
          <p:cNvSpPr>
            <a:spLocks noGrp="1"/>
          </p:cNvSpPr>
          <p:nvPr>
            <p:ph type="pic" sz="quarter" idx="24"/>
          </p:nvPr>
        </p:nvSpPr>
        <p:spPr>
          <a:xfrm>
            <a:off x="5566893" y="4451796"/>
            <a:ext cx="3078480" cy="1761067"/>
          </a:xfrm>
          <a:prstGeom prst="rect">
            <a:avLst/>
          </a:prstGeom>
        </p:spPr>
        <p:txBody>
          <a:bodyPr>
            <a:normAutofit/>
          </a:bodyPr>
          <a:lstStyle>
            <a:lvl1pPr>
              <a:defRPr sz="2200">
                <a:solidFill>
                  <a:srgbClr val="C2C2C1"/>
                </a:solidFill>
              </a:defRPr>
            </a:lvl1pPr>
          </a:lstStyle>
          <a:p>
            <a:r>
              <a:rPr lang="en-US"/>
              <a:t>Drag picture to placeholder or click icon to add</a:t>
            </a:r>
            <a:endParaRPr lang="en-US" dirty="0"/>
          </a:p>
        </p:txBody>
      </p:sp>
      <p:sp>
        <p:nvSpPr>
          <p:cNvPr id="14" name="Picture Placeholder 2"/>
          <p:cNvSpPr>
            <a:spLocks noGrp="1"/>
          </p:cNvSpPr>
          <p:nvPr>
            <p:ph type="pic" sz="quarter" idx="25"/>
          </p:nvPr>
        </p:nvSpPr>
        <p:spPr>
          <a:xfrm>
            <a:off x="10599958" y="4451796"/>
            <a:ext cx="3078480" cy="1761067"/>
          </a:xfrm>
          <a:prstGeom prst="rect">
            <a:avLst/>
          </a:prstGeom>
        </p:spPr>
        <p:txBody>
          <a:bodyPr>
            <a:normAutofit/>
          </a:bodyPr>
          <a:lstStyle>
            <a:lvl1pPr>
              <a:defRPr sz="2200">
                <a:solidFill>
                  <a:srgbClr val="C2C2C1"/>
                </a:solidFill>
              </a:defRPr>
            </a:lvl1pPr>
          </a:lstStyle>
          <a:p>
            <a:r>
              <a:rPr lang="en-US"/>
              <a:t>Drag picture to placeholder or click icon to add</a:t>
            </a:r>
            <a:endParaRPr lang="en-US" dirty="0"/>
          </a:p>
        </p:txBody>
      </p:sp>
      <p:pic>
        <p:nvPicPr>
          <p:cNvPr id="16" name="Picture 15">
            <a:extLst>
              <a:ext uri="{FF2B5EF4-FFF2-40B4-BE49-F238E27FC236}">
                <a16:creationId xmlns:a16="http://schemas.microsoft.com/office/drawing/2014/main" id="{90E0D5B5-0A78-FA44-BAF5-911D1540DE67}"/>
              </a:ext>
            </a:extLst>
          </p:cNvPr>
          <p:cNvPicPr>
            <a:picLocks noChangeAspect="1"/>
          </p:cNvPicPr>
          <p:nvPr userDrawn="1"/>
        </p:nvPicPr>
        <p:blipFill>
          <a:blip r:embed="rId2"/>
          <a:stretch>
            <a:fillRect/>
          </a:stretch>
        </p:blipFill>
        <p:spPr>
          <a:xfrm>
            <a:off x="13175672" y="7500157"/>
            <a:ext cx="734291" cy="438994"/>
          </a:xfrm>
          <a:prstGeom prst="rect">
            <a:avLst/>
          </a:prstGeom>
        </p:spPr>
      </p:pic>
    </p:spTree>
    <p:extLst>
      <p:ext uri="{BB962C8B-B14F-4D97-AF65-F5344CB8AC3E}">
        <p14:creationId xmlns:p14="http://schemas.microsoft.com/office/powerpoint/2010/main" val="3273093039"/>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48640" y="183898"/>
            <a:ext cx="13510260" cy="873186"/>
          </a:xfrm>
        </p:spPr>
        <p:txBody>
          <a:bodyPr/>
          <a:lstStyle>
            <a:lvl1pPr>
              <a:defRPr b="1" i="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
        <p:nvSpPr>
          <p:cNvPr id="4" name="Table Placeholder 3">
            <a:extLst>
              <a:ext uri="{FF2B5EF4-FFF2-40B4-BE49-F238E27FC236}">
                <a16:creationId xmlns:a16="http://schemas.microsoft.com/office/drawing/2014/main" id="{D7DA888D-68DB-9B44-9614-56AAAAE93DF7}"/>
              </a:ext>
            </a:extLst>
          </p:cNvPr>
          <p:cNvSpPr>
            <a:spLocks noGrp="1"/>
          </p:cNvSpPr>
          <p:nvPr>
            <p:ph type="tbl" sz="quarter" idx="10"/>
          </p:nvPr>
        </p:nvSpPr>
        <p:spPr>
          <a:xfrm>
            <a:off x="548640" y="1645920"/>
            <a:ext cx="13510260" cy="5003800"/>
          </a:xfrm>
          <a:prstGeom prst="rect">
            <a:avLst/>
          </a:prstGeom>
        </p:spPr>
        <p:txBody>
          <a:bodyPr/>
          <a:lstStyle/>
          <a:p>
            <a:endParaRPr lang="en-US" dirty="0"/>
          </a:p>
        </p:txBody>
      </p:sp>
      <p:pic>
        <p:nvPicPr>
          <p:cNvPr id="6" name="Picture 5">
            <a:extLst>
              <a:ext uri="{FF2B5EF4-FFF2-40B4-BE49-F238E27FC236}">
                <a16:creationId xmlns:a16="http://schemas.microsoft.com/office/drawing/2014/main" id="{39C34558-F22C-894A-93C1-D4E6DB157892}"/>
              </a:ext>
            </a:extLst>
          </p:cNvPr>
          <p:cNvPicPr>
            <a:picLocks noChangeAspect="1"/>
          </p:cNvPicPr>
          <p:nvPr userDrawn="1"/>
        </p:nvPicPr>
        <p:blipFill>
          <a:blip r:embed="rId2"/>
          <a:stretch>
            <a:fillRect/>
          </a:stretch>
        </p:blipFill>
        <p:spPr>
          <a:xfrm>
            <a:off x="13175672" y="7500157"/>
            <a:ext cx="734291" cy="438994"/>
          </a:xfrm>
          <a:prstGeom prst="rect">
            <a:avLst/>
          </a:prstGeom>
        </p:spPr>
      </p:pic>
    </p:spTree>
    <p:extLst>
      <p:ext uri="{BB962C8B-B14F-4D97-AF65-F5344CB8AC3E}">
        <p14:creationId xmlns:p14="http://schemas.microsoft.com/office/powerpoint/2010/main" val="2636968817"/>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ar_Char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48639" y="183898"/>
            <a:ext cx="13509463" cy="873186"/>
          </a:xfrm>
        </p:spPr>
        <p:txBody>
          <a:bodyPr/>
          <a:lstStyle>
            <a:lvl1pPr>
              <a:defRPr b="1" i="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
        <p:nvSpPr>
          <p:cNvPr id="7" name="Chart Placeholder 5">
            <a:extLst>
              <a:ext uri="{FF2B5EF4-FFF2-40B4-BE49-F238E27FC236}">
                <a16:creationId xmlns:a16="http://schemas.microsoft.com/office/drawing/2014/main" id="{B3C77AD1-4897-A546-B977-5EB6406DD175}"/>
              </a:ext>
            </a:extLst>
          </p:cNvPr>
          <p:cNvSpPr>
            <a:spLocks noGrp="1"/>
          </p:cNvSpPr>
          <p:nvPr>
            <p:ph type="chart" sz="quarter" idx="10"/>
          </p:nvPr>
        </p:nvSpPr>
        <p:spPr>
          <a:xfrm>
            <a:off x="548640" y="1645920"/>
            <a:ext cx="13510260" cy="5445760"/>
          </a:xfrm>
          <a:prstGeom prst="rect">
            <a:avLst/>
          </a:prstGeom>
        </p:spPr>
        <p:txBody>
          <a:bodyPr/>
          <a:lstStyle/>
          <a:p>
            <a:endParaRPr lang="en-US" dirty="0"/>
          </a:p>
        </p:txBody>
      </p:sp>
      <p:pic>
        <p:nvPicPr>
          <p:cNvPr id="5" name="Picture 4">
            <a:extLst>
              <a:ext uri="{FF2B5EF4-FFF2-40B4-BE49-F238E27FC236}">
                <a16:creationId xmlns:a16="http://schemas.microsoft.com/office/drawing/2014/main" id="{4A8E0D8C-292C-C34E-B69A-A0E2964DDEC0}"/>
              </a:ext>
            </a:extLst>
          </p:cNvPr>
          <p:cNvPicPr>
            <a:picLocks noChangeAspect="1"/>
          </p:cNvPicPr>
          <p:nvPr userDrawn="1"/>
        </p:nvPicPr>
        <p:blipFill>
          <a:blip r:embed="rId2"/>
          <a:stretch>
            <a:fillRect/>
          </a:stretch>
        </p:blipFill>
        <p:spPr>
          <a:xfrm>
            <a:off x="13175672" y="7500157"/>
            <a:ext cx="734291" cy="438994"/>
          </a:xfrm>
          <a:prstGeom prst="rect">
            <a:avLst/>
          </a:prstGeom>
        </p:spPr>
      </p:pic>
    </p:spTree>
    <p:extLst>
      <p:ext uri="{BB962C8B-B14F-4D97-AF65-F5344CB8AC3E}">
        <p14:creationId xmlns:p14="http://schemas.microsoft.com/office/powerpoint/2010/main" val="1547361944"/>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e_Char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48639" y="183898"/>
            <a:ext cx="13509463" cy="872307"/>
          </a:xfrm>
        </p:spPr>
        <p:txBody>
          <a:bodyPr/>
          <a:lstStyle>
            <a:lvl1pPr>
              <a:defRPr b="1" i="0">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
        <p:nvSpPr>
          <p:cNvPr id="6" name="Chart Placeholder 5">
            <a:extLst>
              <a:ext uri="{FF2B5EF4-FFF2-40B4-BE49-F238E27FC236}">
                <a16:creationId xmlns:a16="http://schemas.microsoft.com/office/drawing/2014/main" id="{A878172D-692F-8A47-81EA-89C129774DB9}"/>
              </a:ext>
            </a:extLst>
          </p:cNvPr>
          <p:cNvSpPr>
            <a:spLocks noGrp="1"/>
          </p:cNvSpPr>
          <p:nvPr>
            <p:ph type="chart" sz="quarter" idx="10"/>
          </p:nvPr>
        </p:nvSpPr>
        <p:spPr>
          <a:xfrm>
            <a:off x="548640" y="1645920"/>
            <a:ext cx="13510260" cy="5445760"/>
          </a:xfrm>
          <a:prstGeom prst="rect">
            <a:avLst/>
          </a:prstGeom>
        </p:spPr>
        <p:txBody>
          <a:bodyPr/>
          <a:lstStyle/>
          <a:p>
            <a:endParaRPr lang="en-US" dirty="0"/>
          </a:p>
        </p:txBody>
      </p:sp>
      <p:pic>
        <p:nvPicPr>
          <p:cNvPr id="5" name="Picture 4">
            <a:extLst>
              <a:ext uri="{FF2B5EF4-FFF2-40B4-BE49-F238E27FC236}">
                <a16:creationId xmlns:a16="http://schemas.microsoft.com/office/drawing/2014/main" id="{F7CD564B-0C58-CE4B-9763-15101114E5A3}"/>
              </a:ext>
            </a:extLst>
          </p:cNvPr>
          <p:cNvPicPr>
            <a:picLocks noChangeAspect="1"/>
          </p:cNvPicPr>
          <p:nvPr userDrawn="1"/>
        </p:nvPicPr>
        <p:blipFill>
          <a:blip r:embed="rId2"/>
          <a:stretch>
            <a:fillRect/>
          </a:stretch>
        </p:blipFill>
        <p:spPr>
          <a:xfrm>
            <a:off x="13175672" y="7500157"/>
            <a:ext cx="734291" cy="438994"/>
          </a:xfrm>
          <a:prstGeom prst="rect">
            <a:avLst/>
          </a:prstGeom>
        </p:spPr>
      </p:pic>
    </p:spTree>
    <p:extLst>
      <p:ext uri="{BB962C8B-B14F-4D97-AF65-F5344CB8AC3E}">
        <p14:creationId xmlns:p14="http://schemas.microsoft.com/office/powerpoint/2010/main" val="467069072"/>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ne_Char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48639" y="183898"/>
            <a:ext cx="13509463" cy="872307"/>
          </a:xfrm>
        </p:spPr>
        <p:txBody>
          <a:bodyPr/>
          <a:lstStyle>
            <a:lvl1pPr>
              <a:defRPr b="1" i="0">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
        <p:nvSpPr>
          <p:cNvPr id="5" name="Chart Placeholder 5">
            <a:extLst>
              <a:ext uri="{FF2B5EF4-FFF2-40B4-BE49-F238E27FC236}">
                <a16:creationId xmlns:a16="http://schemas.microsoft.com/office/drawing/2014/main" id="{08142378-5C5C-8B40-AD27-B9BE74F6EA71}"/>
              </a:ext>
            </a:extLst>
          </p:cNvPr>
          <p:cNvSpPr>
            <a:spLocks noGrp="1"/>
          </p:cNvSpPr>
          <p:nvPr>
            <p:ph type="chart" sz="quarter" idx="10"/>
          </p:nvPr>
        </p:nvSpPr>
        <p:spPr>
          <a:xfrm>
            <a:off x="548640" y="1645920"/>
            <a:ext cx="13510260" cy="5445760"/>
          </a:xfrm>
          <a:prstGeom prst="rect">
            <a:avLst/>
          </a:prstGeom>
        </p:spPr>
        <p:txBody>
          <a:bodyPr/>
          <a:lstStyle/>
          <a:p>
            <a:endParaRPr lang="en-US" dirty="0"/>
          </a:p>
        </p:txBody>
      </p:sp>
      <p:pic>
        <p:nvPicPr>
          <p:cNvPr id="6" name="Picture 5">
            <a:extLst>
              <a:ext uri="{FF2B5EF4-FFF2-40B4-BE49-F238E27FC236}">
                <a16:creationId xmlns:a16="http://schemas.microsoft.com/office/drawing/2014/main" id="{C0A51859-D23F-2948-879F-F0234CB8CC2B}"/>
              </a:ext>
            </a:extLst>
          </p:cNvPr>
          <p:cNvPicPr>
            <a:picLocks noChangeAspect="1"/>
          </p:cNvPicPr>
          <p:nvPr userDrawn="1"/>
        </p:nvPicPr>
        <p:blipFill>
          <a:blip r:embed="rId2"/>
          <a:stretch>
            <a:fillRect/>
          </a:stretch>
        </p:blipFill>
        <p:spPr>
          <a:xfrm>
            <a:off x="13175672" y="7500157"/>
            <a:ext cx="734291" cy="438994"/>
          </a:xfrm>
          <a:prstGeom prst="rect">
            <a:avLst/>
          </a:prstGeom>
        </p:spPr>
      </p:pic>
    </p:spTree>
    <p:extLst>
      <p:ext uri="{BB962C8B-B14F-4D97-AF65-F5344CB8AC3E}">
        <p14:creationId xmlns:p14="http://schemas.microsoft.com/office/powerpoint/2010/main" val="3083304637"/>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Divider_Slide_and_Sub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8640" y="3108960"/>
            <a:ext cx="12435840" cy="1488168"/>
          </a:xfrm>
        </p:spPr>
        <p:txBody>
          <a:bodyPr anchor="ctr">
            <a:noAutofit/>
          </a:bodyPr>
          <a:lstStyle>
            <a:lvl1pPr algn="l">
              <a:defRPr sz="9600" b="1" cap="none">
                <a:solidFill>
                  <a:schemeClr val="tx1"/>
                </a:solidFill>
              </a:defRPr>
            </a:lvl1pPr>
          </a:lstStyle>
          <a:p>
            <a:r>
              <a:rPr lang="en-US" dirty="0"/>
              <a:t>Q&amp;A</a:t>
            </a:r>
          </a:p>
        </p:txBody>
      </p:sp>
      <p:sp>
        <p:nvSpPr>
          <p:cNvPr id="7" name="Text Placeholder 6">
            <a:extLst>
              <a:ext uri="{FF2B5EF4-FFF2-40B4-BE49-F238E27FC236}">
                <a16:creationId xmlns:a16="http://schemas.microsoft.com/office/drawing/2014/main" id="{A9C2E74A-1C76-BA45-B688-EBC1722762EA}"/>
              </a:ext>
            </a:extLst>
          </p:cNvPr>
          <p:cNvSpPr>
            <a:spLocks noGrp="1"/>
          </p:cNvSpPr>
          <p:nvPr>
            <p:ph type="body" sz="quarter" idx="10"/>
          </p:nvPr>
        </p:nvSpPr>
        <p:spPr>
          <a:xfrm>
            <a:off x="548640" y="4752341"/>
            <a:ext cx="8219440" cy="783078"/>
          </a:xfrm>
          <a:prstGeom prst="rect">
            <a:avLst/>
          </a:prstGeom>
        </p:spPr>
        <p:txBody>
          <a:bodyPr/>
          <a:lstStyle>
            <a:lvl1pPr>
              <a:defRPr sz="2900"/>
            </a:lvl1pPr>
            <a:lvl2pPr marL="731520" indent="0">
              <a:buNone/>
              <a:defRPr/>
            </a:lvl2pPr>
          </a:lstStyle>
          <a:p>
            <a:pPr lvl="0"/>
            <a:r>
              <a:rPr lang="en-US" dirty="0"/>
              <a:t>Edit Master text styles</a:t>
            </a:r>
          </a:p>
        </p:txBody>
      </p:sp>
      <p:sp>
        <p:nvSpPr>
          <p:cNvPr id="6" name="Rectangle 5">
            <a:extLst>
              <a:ext uri="{FF2B5EF4-FFF2-40B4-BE49-F238E27FC236}">
                <a16:creationId xmlns:a16="http://schemas.microsoft.com/office/drawing/2014/main" id="{AE001E81-DAB2-7148-93C7-7A6C802E53E0}"/>
              </a:ext>
            </a:extLst>
          </p:cNvPr>
          <p:cNvSpPr/>
          <p:nvPr userDrawn="1"/>
        </p:nvSpPr>
        <p:spPr>
          <a:xfrm>
            <a:off x="12046688" y="7315200"/>
            <a:ext cx="2115879" cy="77152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a:extLst>
              <a:ext uri="{FF2B5EF4-FFF2-40B4-BE49-F238E27FC236}">
                <a16:creationId xmlns:a16="http://schemas.microsoft.com/office/drawing/2014/main" id="{CC628876-6631-354E-892A-B83A9F5CFEAF}"/>
              </a:ext>
            </a:extLst>
          </p:cNvPr>
          <p:cNvPicPr>
            <a:picLocks noChangeAspect="1"/>
          </p:cNvPicPr>
          <p:nvPr userDrawn="1"/>
        </p:nvPicPr>
        <p:blipFill>
          <a:blip r:embed="rId3"/>
          <a:stretch>
            <a:fillRect/>
          </a:stretch>
        </p:blipFill>
        <p:spPr>
          <a:xfrm>
            <a:off x="13175672" y="7500157"/>
            <a:ext cx="734291" cy="438994"/>
          </a:xfrm>
          <a:prstGeom prst="rect">
            <a:avLst/>
          </a:prstGeom>
        </p:spPr>
      </p:pic>
    </p:spTree>
    <p:extLst>
      <p:ext uri="{BB962C8B-B14F-4D97-AF65-F5344CB8AC3E}">
        <p14:creationId xmlns:p14="http://schemas.microsoft.com/office/powerpoint/2010/main" val="3414820308"/>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Divider_Slide_and_Sub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8640" y="3108960"/>
            <a:ext cx="12435840" cy="1488168"/>
          </a:xfrm>
        </p:spPr>
        <p:txBody>
          <a:bodyPr anchor="ctr">
            <a:noAutofit/>
          </a:bodyPr>
          <a:lstStyle>
            <a:lvl1pPr algn="l">
              <a:defRPr sz="6400" b="1" i="0" cap="none">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Thank you!</a:t>
            </a:r>
          </a:p>
        </p:txBody>
      </p:sp>
      <p:sp>
        <p:nvSpPr>
          <p:cNvPr id="7" name="Text Placeholder 6">
            <a:extLst>
              <a:ext uri="{FF2B5EF4-FFF2-40B4-BE49-F238E27FC236}">
                <a16:creationId xmlns:a16="http://schemas.microsoft.com/office/drawing/2014/main" id="{A9C2E74A-1C76-BA45-B688-EBC1722762EA}"/>
              </a:ext>
            </a:extLst>
          </p:cNvPr>
          <p:cNvSpPr>
            <a:spLocks noGrp="1"/>
          </p:cNvSpPr>
          <p:nvPr>
            <p:ph type="body" sz="quarter" idx="10"/>
          </p:nvPr>
        </p:nvSpPr>
        <p:spPr>
          <a:xfrm>
            <a:off x="548640" y="4752341"/>
            <a:ext cx="8219440" cy="783078"/>
          </a:xfrm>
          <a:prstGeom prst="rect">
            <a:avLst/>
          </a:prstGeom>
        </p:spPr>
        <p:txBody>
          <a:bodyPr/>
          <a:lstStyle>
            <a:lvl1pPr>
              <a:defRPr sz="2900"/>
            </a:lvl1pPr>
            <a:lvl2pPr marL="731520" indent="0">
              <a:buNone/>
              <a:defRPr/>
            </a:lvl2pPr>
          </a:lstStyle>
          <a:p>
            <a:pPr lvl="0"/>
            <a:r>
              <a:rPr lang="en-US" dirty="0"/>
              <a:t>Edit Master text styles</a:t>
            </a:r>
          </a:p>
        </p:txBody>
      </p:sp>
      <p:pic>
        <p:nvPicPr>
          <p:cNvPr id="6" name="Picture 5">
            <a:extLst>
              <a:ext uri="{FF2B5EF4-FFF2-40B4-BE49-F238E27FC236}">
                <a16:creationId xmlns:a16="http://schemas.microsoft.com/office/drawing/2014/main" id="{DCB6D975-9868-CD41-B712-DCB6AD5BE9BD}"/>
              </a:ext>
            </a:extLst>
          </p:cNvPr>
          <p:cNvPicPr>
            <a:picLocks noChangeAspect="1"/>
          </p:cNvPicPr>
          <p:nvPr userDrawn="1"/>
        </p:nvPicPr>
        <p:blipFill>
          <a:blip r:embed="rId3"/>
          <a:stretch>
            <a:fillRect/>
          </a:stretch>
        </p:blipFill>
        <p:spPr>
          <a:xfrm>
            <a:off x="332509" y="499973"/>
            <a:ext cx="1309153" cy="782674"/>
          </a:xfrm>
          <a:prstGeom prst="rect">
            <a:avLst/>
          </a:prstGeom>
        </p:spPr>
      </p:pic>
    </p:spTree>
    <p:extLst>
      <p:ext uri="{BB962C8B-B14F-4D97-AF65-F5344CB8AC3E}">
        <p14:creationId xmlns:p14="http://schemas.microsoft.com/office/powerpoint/2010/main" val="3192394863"/>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_of_Contents">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20CA0-5CE7-1A4B-ACE6-C7A15B82CC8C}"/>
              </a:ext>
            </a:extLst>
          </p:cNvPr>
          <p:cNvSpPr>
            <a:spLocks noGrp="1"/>
          </p:cNvSpPr>
          <p:nvPr>
            <p:ph type="title"/>
          </p:nvPr>
        </p:nvSpPr>
        <p:spPr>
          <a:xfrm>
            <a:off x="548640" y="183898"/>
            <a:ext cx="13510260" cy="993392"/>
          </a:xfrm>
        </p:spPr>
        <p:txBody>
          <a:bodyPr/>
          <a:lstStyle>
            <a:lvl1pPr>
              <a:defRPr b="1" i="0">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7710D4E-8635-D746-9FE7-1EE20F49E45F}"/>
              </a:ext>
            </a:extLst>
          </p:cNvPr>
          <p:cNvSpPr>
            <a:spLocks noGrp="1"/>
          </p:cNvSpPr>
          <p:nvPr>
            <p:ph type="body" sz="quarter" idx="10"/>
          </p:nvPr>
        </p:nvSpPr>
        <p:spPr>
          <a:xfrm>
            <a:off x="548640" y="1645920"/>
            <a:ext cx="13510260" cy="4686301"/>
          </a:xfrm>
          <a:prstGeom prst="rect">
            <a:avLst/>
          </a:prstGeom>
        </p:spPr>
        <p:txBody>
          <a:bodyPr/>
          <a:lstStyle>
            <a:lvl5pPr>
              <a:defRPr sz="19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52B45CD1-7685-0E42-9DCC-79A5F689B98A}"/>
              </a:ext>
            </a:extLst>
          </p:cNvPr>
          <p:cNvPicPr>
            <a:picLocks noChangeAspect="1"/>
          </p:cNvPicPr>
          <p:nvPr userDrawn="1"/>
        </p:nvPicPr>
        <p:blipFill>
          <a:blip r:embed="rId2"/>
          <a:stretch>
            <a:fillRect/>
          </a:stretch>
        </p:blipFill>
        <p:spPr>
          <a:xfrm>
            <a:off x="13175672" y="7500157"/>
            <a:ext cx="734291" cy="438994"/>
          </a:xfrm>
          <a:prstGeom prst="rect">
            <a:avLst/>
          </a:prstGeom>
        </p:spPr>
      </p:pic>
    </p:spTree>
    <p:extLst>
      <p:ext uri="{BB962C8B-B14F-4D97-AF65-F5344CB8AC3E}">
        <p14:creationId xmlns:p14="http://schemas.microsoft.com/office/powerpoint/2010/main" val="1493486515"/>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lank_Pag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647E4-E7F7-9646-880C-2CDC95018CBE}"/>
              </a:ext>
            </a:extLst>
          </p:cNvPr>
          <p:cNvSpPr>
            <a:spLocks noGrp="1"/>
          </p:cNvSpPr>
          <p:nvPr>
            <p:ph type="title"/>
          </p:nvPr>
        </p:nvSpPr>
        <p:spPr>
          <a:xfrm>
            <a:off x="548639" y="183898"/>
            <a:ext cx="13514832" cy="904122"/>
          </a:xfrm>
        </p:spPr>
        <p:txBody>
          <a:bodyPr/>
          <a:lstStyle>
            <a:lvl1pPr>
              <a:defRPr>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
        <p:nvSpPr>
          <p:cNvPr id="4" name="TextBox 3">
            <a:extLst>
              <a:ext uri="{FF2B5EF4-FFF2-40B4-BE49-F238E27FC236}">
                <a16:creationId xmlns:a16="http://schemas.microsoft.com/office/drawing/2014/main" id="{C680CA43-5C49-A347-BAC4-268F3B7F1BC4}"/>
              </a:ext>
            </a:extLst>
          </p:cNvPr>
          <p:cNvSpPr txBox="1"/>
          <p:nvPr userDrawn="1"/>
        </p:nvSpPr>
        <p:spPr>
          <a:xfrm>
            <a:off x="538863" y="7683901"/>
            <a:ext cx="7115490" cy="172355"/>
          </a:xfrm>
          <a:prstGeom prst="rect">
            <a:avLst/>
          </a:prstGeom>
          <a:noFill/>
        </p:spPr>
        <p:txBody>
          <a:bodyPr wrap="square" lIns="0" tIns="0" rIns="0" bIns="0" rtlCol="0">
            <a:spAutoFit/>
          </a:bodyPr>
          <a:lstStyle/>
          <a:p>
            <a:pPr marL="0" marR="0" indent="0" algn="l" defTabSz="731520" rtl="0" eaLnBrk="1" fontAlgn="auto" latinLnBrk="0" hangingPunct="1">
              <a:lnSpc>
                <a:spcPct val="100000"/>
              </a:lnSpc>
              <a:spcBef>
                <a:spcPts val="0"/>
              </a:spcBef>
              <a:spcAft>
                <a:spcPts val="0"/>
              </a:spcAft>
              <a:buClrTx/>
              <a:buSzTx/>
              <a:buFontTx/>
              <a:buNone/>
              <a:tabLst/>
              <a:defRPr/>
            </a:pPr>
            <a:r>
              <a:rPr lang="en-US" sz="1120" b="0" i="0" dirty="0">
                <a:solidFill>
                  <a:schemeClr val="tx1">
                    <a:lumMod val="50000"/>
                  </a:schemeClr>
                </a:solidFill>
                <a:latin typeface="Amazon Ember" panose="020B0603020204020204" pitchFamily="34" charset="0"/>
                <a:ea typeface="Amazon Ember" panose="020B0603020204020204" pitchFamily="34" charset="0"/>
                <a:cs typeface="Amazon Ember" panose="020B0603020204020204" pitchFamily="34" charset="0"/>
              </a:rPr>
              <a:t>© 2021, Amazon Web Services, Inc. or its Affiliates. </a:t>
            </a:r>
          </a:p>
        </p:txBody>
      </p:sp>
      <p:pic>
        <p:nvPicPr>
          <p:cNvPr id="5" name="Picture 4">
            <a:extLst>
              <a:ext uri="{FF2B5EF4-FFF2-40B4-BE49-F238E27FC236}">
                <a16:creationId xmlns:a16="http://schemas.microsoft.com/office/drawing/2014/main" id="{68C26300-AFAB-6E41-AB5E-03FBD096BC25}"/>
              </a:ext>
            </a:extLst>
          </p:cNvPr>
          <p:cNvPicPr>
            <a:picLocks noChangeAspect="1"/>
          </p:cNvPicPr>
          <p:nvPr userDrawn="1"/>
        </p:nvPicPr>
        <p:blipFill>
          <a:blip r:embed="rId2"/>
          <a:stretch>
            <a:fillRect/>
          </a:stretch>
        </p:blipFill>
        <p:spPr>
          <a:xfrm>
            <a:off x="13175672" y="7500157"/>
            <a:ext cx="734291" cy="438994"/>
          </a:xfrm>
          <a:prstGeom prst="rect">
            <a:avLst/>
          </a:prstGeom>
        </p:spPr>
      </p:pic>
    </p:spTree>
    <p:extLst>
      <p:ext uri="{BB962C8B-B14F-4D97-AF65-F5344CB8AC3E}">
        <p14:creationId xmlns:p14="http://schemas.microsoft.com/office/powerpoint/2010/main" val="2381838818"/>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44590139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8863" y="183898"/>
            <a:ext cx="13128486" cy="873186"/>
          </a:xfrm>
        </p:spPr>
        <p:txBody>
          <a:bodyPr/>
          <a:lstStyle>
            <a:lvl1pPr>
              <a:defRPr>
                <a:solidFill>
                  <a:srgbClr val="414042"/>
                </a:solidFill>
              </a:defRPr>
            </a:lvl1pPr>
          </a:lstStyle>
          <a:p>
            <a:r>
              <a:rPr lang="en-US" dirty="0"/>
              <a:t>Click to edit Master title style</a:t>
            </a:r>
          </a:p>
        </p:txBody>
      </p:sp>
      <p:sp>
        <p:nvSpPr>
          <p:cNvPr id="3" name="Content Placeholder 2"/>
          <p:cNvSpPr>
            <a:spLocks noGrp="1"/>
          </p:cNvSpPr>
          <p:nvPr>
            <p:ph idx="1"/>
          </p:nvPr>
        </p:nvSpPr>
        <p:spPr/>
        <p:txBody>
          <a:bodyPr/>
          <a:lstStyle>
            <a:lvl1pPr marL="0" indent="0">
              <a:buNone/>
              <a:defRPr>
                <a:solidFill>
                  <a:srgbClr val="414042"/>
                </a:solidFill>
              </a:defRPr>
            </a:lvl1pPr>
            <a:lvl2pPr marL="1188720" indent="-457200">
              <a:buFont typeface="Arial"/>
              <a:buChar char="•"/>
              <a:defRPr>
                <a:solidFill>
                  <a:srgbClr val="414042"/>
                </a:solidFill>
              </a:defRPr>
            </a:lvl2pPr>
            <a:lvl3pPr marL="1828800" indent="-365760">
              <a:buFont typeface="Arial"/>
              <a:buChar char="•"/>
              <a:defRPr>
                <a:solidFill>
                  <a:srgbClr val="414042"/>
                </a:solidFill>
              </a:defRPr>
            </a:lvl3pPr>
            <a:lvl4pPr>
              <a:defRPr>
                <a:solidFill>
                  <a:srgbClr val="414042"/>
                </a:solidFill>
              </a:defRPr>
            </a:lvl4pPr>
            <a:lvl5pPr>
              <a:defRPr>
                <a:solidFill>
                  <a:srgbClr val="41404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3"/>
          <p:cNvSpPr>
            <a:spLocks noGrp="1"/>
          </p:cNvSpPr>
          <p:nvPr>
            <p:ph type="sldNum" sz="quarter" idx="4"/>
          </p:nvPr>
        </p:nvSpPr>
        <p:spPr>
          <a:xfrm>
            <a:off x="10332720" y="7627622"/>
            <a:ext cx="3291840" cy="439419"/>
          </a:xfrm>
          <a:prstGeom prst="rect">
            <a:avLst/>
          </a:prstGeom>
        </p:spPr>
        <p:txBody>
          <a:bodyPr vert="horz" lIns="91440" tIns="45720" rIns="91440" bIns="45720" rtlCol="0" anchor="ctr"/>
          <a:lstStyle>
            <a:lvl1pPr algn="r">
              <a:defRPr sz="1920">
                <a:solidFill>
                  <a:schemeClr val="tx1">
                    <a:tint val="75000"/>
                  </a:schemeClr>
                </a:solidFill>
              </a:defRPr>
            </a:lvl1pPr>
          </a:lstStyle>
          <a:p>
            <a:fld id="{4BB6F85B-3AE5-489C-874A-088B2419DA10}" type="slidenum">
              <a:rPr lang="en-US" smtClean="0"/>
              <a:t>‹#›</a:t>
            </a:fld>
            <a:endParaRPr lang="en-US"/>
          </a:p>
        </p:txBody>
      </p:sp>
    </p:spTree>
    <p:extLst>
      <p:ext uri="{BB962C8B-B14F-4D97-AF65-F5344CB8AC3E}">
        <p14:creationId xmlns:p14="http://schemas.microsoft.com/office/powerpoint/2010/main" val="38641277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_Slide_and_Sub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8640" y="3108960"/>
            <a:ext cx="12435840" cy="1488168"/>
          </a:xfrm>
        </p:spPr>
        <p:txBody>
          <a:bodyPr anchor="ctr">
            <a:noAutofit/>
          </a:bodyPr>
          <a:lstStyle>
            <a:lvl1pPr algn="l">
              <a:defRPr sz="6400" b="1" i="0" cap="none">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A9C2E74A-1C76-BA45-B688-EBC1722762EA}"/>
              </a:ext>
            </a:extLst>
          </p:cNvPr>
          <p:cNvSpPr>
            <a:spLocks noGrp="1"/>
          </p:cNvSpPr>
          <p:nvPr>
            <p:ph type="body" sz="quarter" idx="10"/>
          </p:nvPr>
        </p:nvSpPr>
        <p:spPr>
          <a:xfrm>
            <a:off x="548640" y="4752341"/>
            <a:ext cx="8219440" cy="783078"/>
          </a:xfrm>
          <a:prstGeom prst="rect">
            <a:avLst/>
          </a:prstGeom>
        </p:spPr>
        <p:txBody>
          <a:bodyPr/>
          <a:lstStyle>
            <a:lvl1pPr>
              <a:defRPr sz="2900"/>
            </a:lvl1pPr>
            <a:lvl2pPr marL="731520" indent="0">
              <a:buNone/>
              <a:defRPr/>
            </a:lvl2pPr>
          </a:lstStyle>
          <a:p>
            <a:pPr lvl="0"/>
            <a:r>
              <a:rPr lang="en-US" dirty="0"/>
              <a:t>Edit Master text styles</a:t>
            </a:r>
          </a:p>
        </p:txBody>
      </p:sp>
      <p:sp>
        <p:nvSpPr>
          <p:cNvPr id="3" name="Rectangle 2">
            <a:extLst>
              <a:ext uri="{FF2B5EF4-FFF2-40B4-BE49-F238E27FC236}">
                <a16:creationId xmlns:a16="http://schemas.microsoft.com/office/drawing/2014/main" id="{F788FD9F-3503-974A-B64B-6D7DCD6DD487}"/>
              </a:ext>
            </a:extLst>
          </p:cNvPr>
          <p:cNvSpPr/>
          <p:nvPr userDrawn="1"/>
        </p:nvSpPr>
        <p:spPr>
          <a:xfrm>
            <a:off x="12046688" y="7315200"/>
            <a:ext cx="2115879" cy="77152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0FD32093-8361-4B4F-9E33-822FB45541A3}"/>
              </a:ext>
            </a:extLst>
          </p:cNvPr>
          <p:cNvPicPr>
            <a:picLocks noChangeAspect="1"/>
          </p:cNvPicPr>
          <p:nvPr userDrawn="1"/>
        </p:nvPicPr>
        <p:blipFill>
          <a:blip r:embed="rId3"/>
          <a:stretch>
            <a:fillRect/>
          </a:stretch>
        </p:blipFill>
        <p:spPr>
          <a:xfrm>
            <a:off x="13175672" y="7500157"/>
            <a:ext cx="734291" cy="438994"/>
          </a:xfrm>
          <a:prstGeom prst="rect">
            <a:avLst/>
          </a:prstGeom>
        </p:spPr>
      </p:pic>
    </p:spTree>
    <p:extLst>
      <p:ext uri="{BB962C8B-B14F-4D97-AF65-F5344CB8AC3E}">
        <p14:creationId xmlns:p14="http://schemas.microsoft.com/office/powerpoint/2010/main" val="2124837561"/>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_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8640" y="3108960"/>
            <a:ext cx="12435840" cy="1488168"/>
          </a:xfrm>
        </p:spPr>
        <p:txBody>
          <a:bodyPr anchor="ctr">
            <a:noAutofit/>
          </a:bodyPr>
          <a:lstStyle>
            <a:lvl1pPr algn="l">
              <a:defRPr sz="6400" b="1" i="0" cap="none">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
        <p:nvSpPr>
          <p:cNvPr id="3" name="Rectangle 2">
            <a:extLst>
              <a:ext uri="{FF2B5EF4-FFF2-40B4-BE49-F238E27FC236}">
                <a16:creationId xmlns:a16="http://schemas.microsoft.com/office/drawing/2014/main" id="{180F87E6-F2A1-2546-862B-38DFED17C4D9}"/>
              </a:ext>
            </a:extLst>
          </p:cNvPr>
          <p:cNvSpPr/>
          <p:nvPr userDrawn="1"/>
        </p:nvSpPr>
        <p:spPr>
          <a:xfrm>
            <a:off x="12046688" y="7315200"/>
            <a:ext cx="2115879" cy="77152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BF7F22B8-A362-5242-8A47-C97196E785D2}"/>
              </a:ext>
            </a:extLst>
          </p:cNvPr>
          <p:cNvPicPr>
            <a:picLocks noChangeAspect="1"/>
          </p:cNvPicPr>
          <p:nvPr userDrawn="1"/>
        </p:nvPicPr>
        <p:blipFill>
          <a:blip r:embed="rId3"/>
          <a:stretch>
            <a:fillRect/>
          </a:stretch>
        </p:blipFill>
        <p:spPr>
          <a:xfrm>
            <a:off x="13175672" y="7500157"/>
            <a:ext cx="734291" cy="438994"/>
          </a:xfrm>
          <a:prstGeom prst="rect">
            <a:avLst/>
          </a:prstGeom>
        </p:spPr>
      </p:pic>
    </p:spTree>
    <p:extLst>
      <p:ext uri="{BB962C8B-B14F-4D97-AF65-F5344CB8AC3E}">
        <p14:creationId xmlns:p14="http://schemas.microsoft.com/office/powerpoint/2010/main" val="4029020389"/>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_Bulleted_Lis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48640" y="183898"/>
            <a:ext cx="13511460" cy="873186"/>
          </a:xfrm>
        </p:spPr>
        <p:txBody>
          <a:bodyPr/>
          <a:lstStyle/>
          <a:p>
            <a:r>
              <a:rPr lang="en-US" dirty="0"/>
              <a:t>Click to edit Master title style</a:t>
            </a:r>
          </a:p>
        </p:txBody>
      </p:sp>
      <p:sp>
        <p:nvSpPr>
          <p:cNvPr id="3" name="Content Placeholder 2"/>
          <p:cNvSpPr>
            <a:spLocks noGrp="1"/>
          </p:cNvSpPr>
          <p:nvPr>
            <p:ph sz="half" idx="1"/>
          </p:nvPr>
        </p:nvSpPr>
        <p:spPr>
          <a:xfrm>
            <a:off x="548640" y="1645920"/>
            <a:ext cx="13510260" cy="5431155"/>
          </a:xfrm>
          <a:prstGeom prst="rect">
            <a:avLst/>
          </a:prstGeom>
        </p:spPr>
        <p:txBody>
          <a:bodyPr>
            <a:normAutofit/>
          </a:bodyPr>
          <a:lstStyle>
            <a:lvl1pPr>
              <a:defRPr sz="3200"/>
            </a:lvl1pPr>
            <a:lvl2pPr>
              <a:defRPr sz="2900"/>
            </a:lvl2pPr>
            <a:lvl3pPr>
              <a:defRPr sz="2600"/>
            </a:lvl3pPr>
            <a:lvl4pPr marL="2194560" indent="0">
              <a:buNone/>
              <a:defRPr sz="2600"/>
            </a:lvl4pPr>
            <a:lvl5pPr>
              <a:defRPr sz="2560"/>
            </a:lvl5pPr>
            <a:lvl6pPr>
              <a:defRPr sz="2880"/>
            </a:lvl6pPr>
            <a:lvl7pPr>
              <a:defRPr sz="2880"/>
            </a:lvl7pPr>
            <a:lvl8pPr>
              <a:defRPr sz="2880"/>
            </a:lvl8pPr>
            <a:lvl9pPr>
              <a:defRPr sz="288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5" name="Picture 4">
            <a:extLst>
              <a:ext uri="{FF2B5EF4-FFF2-40B4-BE49-F238E27FC236}">
                <a16:creationId xmlns:a16="http://schemas.microsoft.com/office/drawing/2014/main" id="{C76C20F5-3D0B-774F-9CFD-297B7E6DADEF}"/>
              </a:ext>
            </a:extLst>
          </p:cNvPr>
          <p:cNvPicPr>
            <a:picLocks noChangeAspect="1"/>
          </p:cNvPicPr>
          <p:nvPr userDrawn="1"/>
        </p:nvPicPr>
        <p:blipFill>
          <a:blip r:embed="rId2"/>
          <a:stretch>
            <a:fillRect/>
          </a:stretch>
        </p:blipFill>
        <p:spPr>
          <a:xfrm>
            <a:off x="13175672" y="7500157"/>
            <a:ext cx="734291" cy="438994"/>
          </a:xfrm>
          <a:prstGeom prst="rect">
            <a:avLst/>
          </a:prstGeom>
        </p:spPr>
      </p:pic>
    </p:spTree>
    <p:extLst>
      <p:ext uri="{BB962C8B-B14F-4D97-AF65-F5344CB8AC3E}">
        <p14:creationId xmlns:p14="http://schemas.microsoft.com/office/powerpoint/2010/main" val="826396584"/>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_Bulleted_Sections">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48640" y="183898"/>
            <a:ext cx="13510260" cy="873186"/>
          </a:xfrm>
        </p:spPr>
        <p:txBody>
          <a:bodyPr>
            <a:normAutofit/>
          </a:bodyPr>
          <a:lstStyle>
            <a:lvl1pPr>
              <a:defRPr sz="380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E6C5D45-2516-944B-852E-9416AD28710B}"/>
              </a:ext>
            </a:extLst>
          </p:cNvPr>
          <p:cNvSpPr>
            <a:spLocks noGrp="1"/>
          </p:cNvSpPr>
          <p:nvPr>
            <p:ph type="body" sz="quarter" idx="10"/>
          </p:nvPr>
        </p:nvSpPr>
        <p:spPr>
          <a:xfrm>
            <a:off x="548639" y="1645920"/>
            <a:ext cx="6400800" cy="5089616"/>
          </a:xfrm>
          <a:prstGeom prst="rect">
            <a:avLst/>
          </a:prstGeom>
        </p:spPr>
        <p:txBody>
          <a:bodyPr/>
          <a:lstStyle>
            <a:lvl5pPr>
              <a:defRPr sz="19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0680DD99-A52C-8C44-9396-106AF36BB473}"/>
              </a:ext>
            </a:extLst>
          </p:cNvPr>
          <p:cNvSpPr>
            <a:spLocks noGrp="1"/>
          </p:cNvSpPr>
          <p:nvPr>
            <p:ph type="body" sz="quarter" idx="11"/>
          </p:nvPr>
        </p:nvSpPr>
        <p:spPr>
          <a:xfrm>
            <a:off x="7658100" y="1645920"/>
            <a:ext cx="6400800" cy="5089616"/>
          </a:xfrm>
          <a:prstGeom prst="rect">
            <a:avLst/>
          </a:prstGeom>
        </p:spPr>
        <p:txBody>
          <a:bodyPr/>
          <a:lstStyle>
            <a:lvl5pPr>
              <a:defRPr sz="19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863FFA02-DEB2-1749-BDAD-4612E64F8033}"/>
              </a:ext>
            </a:extLst>
          </p:cNvPr>
          <p:cNvPicPr>
            <a:picLocks noChangeAspect="1"/>
          </p:cNvPicPr>
          <p:nvPr userDrawn="1"/>
        </p:nvPicPr>
        <p:blipFill>
          <a:blip r:embed="rId2"/>
          <a:stretch>
            <a:fillRect/>
          </a:stretch>
        </p:blipFill>
        <p:spPr>
          <a:xfrm>
            <a:off x="13175672" y="7500157"/>
            <a:ext cx="734291" cy="438994"/>
          </a:xfrm>
          <a:prstGeom prst="rect">
            <a:avLst/>
          </a:prstGeom>
        </p:spPr>
      </p:pic>
    </p:spTree>
    <p:extLst>
      <p:ext uri="{BB962C8B-B14F-4D97-AF65-F5344CB8AC3E}">
        <p14:creationId xmlns:p14="http://schemas.microsoft.com/office/powerpoint/2010/main" val="3833519293"/>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_and_Imag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48640" y="183898"/>
            <a:ext cx="13510260" cy="873186"/>
          </a:xfrm>
        </p:spPr>
        <p:txBody>
          <a:bodyPr>
            <a:normAutofit/>
          </a:bodyPr>
          <a:lstStyle>
            <a:lvl1pPr>
              <a:defRPr sz="3800" b="1" i="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
        <p:nvSpPr>
          <p:cNvPr id="8" name="Picture Placeholder 7">
            <a:extLst>
              <a:ext uri="{FF2B5EF4-FFF2-40B4-BE49-F238E27FC236}">
                <a16:creationId xmlns:a16="http://schemas.microsoft.com/office/drawing/2014/main" id="{758B8829-AB11-E54F-AFFF-11D6AD397DEB}"/>
              </a:ext>
            </a:extLst>
          </p:cNvPr>
          <p:cNvSpPr>
            <a:spLocks noGrp="1"/>
          </p:cNvSpPr>
          <p:nvPr>
            <p:ph type="pic" sz="quarter" idx="11"/>
          </p:nvPr>
        </p:nvSpPr>
        <p:spPr>
          <a:xfrm>
            <a:off x="7658100" y="1645920"/>
            <a:ext cx="6400800" cy="5088346"/>
          </a:xfrm>
          <a:prstGeom prst="rect">
            <a:avLst/>
          </a:prstGeom>
        </p:spPr>
        <p:txBody>
          <a:bodyPr/>
          <a:lstStyle/>
          <a:p>
            <a:endParaRPr lang="en-US"/>
          </a:p>
        </p:txBody>
      </p:sp>
      <p:sp>
        <p:nvSpPr>
          <p:cNvPr id="10" name="Text Placeholder 9">
            <a:extLst>
              <a:ext uri="{FF2B5EF4-FFF2-40B4-BE49-F238E27FC236}">
                <a16:creationId xmlns:a16="http://schemas.microsoft.com/office/drawing/2014/main" id="{3305C376-814F-9B49-99E8-6F17D4026FAD}"/>
              </a:ext>
            </a:extLst>
          </p:cNvPr>
          <p:cNvSpPr>
            <a:spLocks noGrp="1"/>
          </p:cNvSpPr>
          <p:nvPr>
            <p:ph type="body" sz="quarter" idx="12" hasCustomPrompt="1"/>
          </p:nvPr>
        </p:nvSpPr>
        <p:spPr>
          <a:xfrm>
            <a:off x="548639" y="1645920"/>
            <a:ext cx="6400800" cy="5087619"/>
          </a:xfrm>
          <a:prstGeom prst="rect">
            <a:avLst/>
          </a:prstGeom>
        </p:spPr>
        <p:txBody>
          <a:bodyPr/>
          <a:lstStyle>
            <a:lvl1pPr marL="0" marR="0" indent="0" algn="l" defTabSz="731520" rtl="0" eaLnBrk="1" fontAlgn="auto" latinLnBrk="0" hangingPunct="1">
              <a:lnSpc>
                <a:spcPct val="100000"/>
              </a:lnSpc>
              <a:spcBef>
                <a:spcPct val="20000"/>
              </a:spcBef>
              <a:spcAft>
                <a:spcPts val="0"/>
              </a:spcAft>
              <a:buClrTx/>
              <a:buSzTx/>
              <a:buFontTx/>
              <a:buNone/>
              <a:tabLst/>
              <a:defRPr sz="1900" b="1">
                <a:latin typeface="+mn-lt"/>
              </a:defRPr>
            </a:lvl1pPr>
          </a:lstStyle>
          <a:p>
            <a:pPr marL="0" marR="0" lvl="0" indent="0" algn="l" defTabSz="731520" rtl="0" eaLnBrk="1" fontAlgn="auto" latinLnBrk="0" hangingPunct="1">
              <a:lnSpc>
                <a:spcPct val="100000"/>
              </a:lnSpc>
              <a:spcBef>
                <a:spcPct val="20000"/>
              </a:spcBef>
              <a:spcAft>
                <a:spcPts val="0"/>
              </a:spcAft>
              <a:buClrTx/>
              <a:buSzTx/>
              <a:buFontTx/>
              <a:buNone/>
              <a:tabLst/>
              <a:defRPr/>
            </a:pPr>
            <a:r>
              <a:rPr kumimoji="0" lang="en-US" sz="1920" b="1" i="0" u="none" strike="noStrike" kern="1200" cap="none" spc="0" normalizeH="0" baseline="0" noProof="0" dirty="0">
                <a:ln>
                  <a:noFill/>
                </a:ln>
                <a:solidFill>
                  <a:srgbClr val="FFFFFF"/>
                </a:solidFill>
                <a:effectLst/>
                <a:uLnTx/>
                <a:uFillTx/>
                <a:latin typeface="Amazon Ember Regular" charset="0"/>
                <a:ea typeface="+mn-ea"/>
                <a:cs typeface="Amazon Ember Regular" charset="0"/>
              </a:rPr>
              <a:t>Lorem ipsum dolor sit </a:t>
            </a:r>
            <a:r>
              <a:rPr kumimoji="0" lang="en-US" sz="1920" b="1" i="0" u="none" strike="noStrike" kern="1200" cap="none" spc="0" normalizeH="0" baseline="0" noProof="0" dirty="0" err="1">
                <a:ln>
                  <a:noFill/>
                </a:ln>
                <a:solidFill>
                  <a:srgbClr val="FFFFFF"/>
                </a:solidFill>
                <a:effectLst/>
                <a:uLnTx/>
                <a:uFillTx/>
                <a:latin typeface="Amazon Ember Regular" charset="0"/>
                <a:ea typeface="+mn-ea"/>
                <a:cs typeface="Amazon Ember Regular" charset="0"/>
              </a:rPr>
              <a:t>amet</a:t>
            </a:r>
            <a:r>
              <a:rPr kumimoji="0" lang="en-US" sz="1920" b="0" i="0" u="none" strike="noStrike" kern="1200" cap="none" spc="0" normalizeH="0" baseline="0" noProof="0" dirty="0">
                <a:ln>
                  <a:noFill/>
                </a:ln>
                <a:solidFill>
                  <a:srgbClr val="FFFFFF"/>
                </a:solidFill>
                <a:effectLst/>
                <a:uLnTx/>
                <a:uFillTx/>
                <a:latin typeface="Amazon Ember Regular" charset="0"/>
                <a:ea typeface="+mn-ea"/>
                <a:cs typeface="Amazon Ember Regular"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consectetuer</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adipiscing</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li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sed</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diam</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nonummy</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nibh</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uismod</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tincidun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u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laoree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dolore magna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aliquam</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ra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volutpa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p>
          <a:p>
            <a:pPr marL="0" marR="0" lvl="0" indent="0" algn="l" defTabSz="731520" rtl="0" eaLnBrk="1" fontAlgn="auto" latinLnBrk="0" hangingPunct="1">
              <a:lnSpc>
                <a:spcPct val="100000"/>
              </a:lnSpc>
              <a:spcBef>
                <a:spcPct val="2000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mazon Ember Regular" charset="0"/>
              <a:ea typeface="+mn-ea"/>
              <a:cs typeface="Amazon Ember Regular" charset="0"/>
            </a:endParaRPr>
          </a:p>
          <a:p>
            <a:pPr marL="0" marR="0" lvl="0" indent="0" algn="l" defTabSz="731520" rtl="0" eaLnBrk="1" fontAlgn="auto" latinLnBrk="0" hangingPunct="1">
              <a:lnSpc>
                <a:spcPct val="100000"/>
              </a:lnSpc>
              <a:spcBef>
                <a:spcPct val="20000"/>
              </a:spcBef>
              <a:spcAft>
                <a:spcPts val="0"/>
              </a:spcAft>
              <a:buClrTx/>
              <a:buSzTx/>
              <a:buFontTx/>
              <a:buNone/>
              <a:tabLst/>
              <a:defRPr/>
            </a:pPr>
            <a:r>
              <a:rPr kumimoji="0" lang="en-US" sz="1920" b="1" i="0" u="none" strike="noStrike" kern="1200" cap="none" spc="0" normalizeH="0" baseline="0" noProof="0" dirty="0">
                <a:ln>
                  <a:noFill/>
                </a:ln>
                <a:solidFill>
                  <a:srgbClr val="FFFFFF"/>
                </a:solidFill>
                <a:effectLst/>
                <a:uLnTx/>
                <a:uFillTx/>
                <a:latin typeface="Amazon Ember Regular" charset="0"/>
                <a:ea typeface="+mn-ea"/>
                <a:cs typeface="Amazon Ember Regular" charset="0"/>
              </a:rPr>
              <a:t>Lorem ipsum dolor sit </a:t>
            </a:r>
            <a:r>
              <a:rPr kumimoji="0" lang="en-US" sz="1920" b="1" i="0" u="none" strike="noStrike" kern="1200" cap="none" spc="0" normalizeH="0" baseline="0" noProof="0" dirty="0" err="1">
                <a:ln>
                  <a:noFill/>
                </a:ln>
                <a:solidFill>
                  <a:srgbClr val="FFFFFF"/>
                </a:solidFill>
                <a:effectLst/>
                <a:uLnTx/>
                <a:uFillTx/>
                <a:latin typeface="Amazon Ember Regular" charset="0"/>
                <a:ea typeface="+mn-ea"/>
                <a:cs typeface="Amazon Ember Regular" charset="0"/>
              </a:rPr>
              <a:t>amet</a:t>
            </a:r>
            <a:r>
              <a:rPr kumimoji="0" lang="en-US" sz="1920" b="0" i="0" u="none" strike="noStrike" kern="1200" cap="none" spc="0" normalizeH="0" baseline="0" noProof="0" dirty="0">
                <a:ln>
                  <a:noFill/>
                </a:ln>
                <a:solidFill>
                  <a:srgbClr val="FFFFFF"/>
                </a:solidFill>
                <a:effectLst/>
                <a:uLnTx/>
                <a:uFillTx/>
                <a:latin typeface="Amazon Ember Regular" charset="0"/>
                <a:ea typeface="+mn-ea"/>
                <a:cs typeface="Amazon Ember Regular"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consectetuer</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adipiscing</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li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sed</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diam</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nonummy</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nibh</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uismod</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tincidun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u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laoree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dolore magna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aliquam</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ra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volutpa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p>
          <a:p>
            <a:pPr marL="0" marR="0" lvl="0" indent="0" algn="l" defTabSz="731520" rtl="0" eaLnBrk="1" fontAlgn="auto" latinLnBrk="0" hangingPunct="1">
              <a:lnSpc>
                <a:spcPct val="100000"/>
              </a:lnSpc>
              <a:spcBef>
                <a:spcPct val="2000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mazon Ember Regular" charset="0"/>
              <a:ea typeface="+mn-ea"/>
              <a:cs typeface="Amazon Ember Regular" charset="0"/>
            </a:endParaRPr>
          </a:p>
          <a:p>
            <a:pPr marL="0" marR="0" lvl="0" indent="0" algn="l" defTabSz="731520" rtl="0" eaLnBrk="1" fontAlgn="auto" latinLnBrk="0" hangingPunct="1">
              <a:lnSpc>
                <a:spcPct val="100000"/>
              </a:lnSpc>
              <a:spcBef>
                <a:spcPct val="20000"/>
              </a:spcBef>
              <a:spcAft>
                <a:spcPts val="0"/>
              </a:spcAft>
              <a:buClrTx/>
              <a:buSzTx/>
              <a:buFontTx/>
              <a:buNone/>
              <a:tabLst/>
              <a:defRPr/>
            </a:pPr>
            <a:r>
              <a:rPr kumimoji="0" lang="en-US" sz="1920" b="1" i="0" u="none" strike="noStrike" kern="1200" cap="none" spc="0" normalizeH="0" baseline="0" noProof="0" dirty="0">
                <a:ln>
                  <a:noFill/>
                </a:ln>
                <a:solidFill>
                  <a:srgbClr val="FFFFFF"/>
                </a:solidFill>
                <a:effectLst/>
                <a:uLnTx/>
                <a:uFillTx/>
                <a:latin typeface="Amazon Ember Regular" charset="0"/>
                <a:ea typeface="+mn-ea"/>
                <a:cs typeface="Amazon Ember Regular" charset="0"/>
              </a:rPr>
              <a:t>Lorem ipsum dolor sit </a:t>
            </a:r>
            <a:r>
              <a:rPr kumimoji="0" lang="en-US" sz="1920" b="1" i="0" u="none" strike="noStrike" kern="1200" cap="none" spc="0" normalizeH="0" baseline="0" noProof="0" dirty="0" err="1">
                <a:ln>
                  <a:noFill/>
                </a:ln>
                <a:solidFill>
                  <a:srgbClr val="FFFFFF"/>
                </a:solidFill>
                <a:effectLst/>
                <a:uLnTx/>
                <a:uFillTx/>
                <a:latin typeface="Amazon Ember Regular" charset="0"/>
                <a:ea typeface="+mn-ea"/>
                <a:cs typeface="Amazon Ember Regular" charset="0"/>
              </a:rPr>
              <a:t>amet</a:t>
            </a:r>
            <a:r>
              <a:rPr kumimoji="0" lang="en-US" sz="1920" b="0" i="0" u="none" strike="noStrike" kern="1200" cap="none" spc="0" normalizeH="0" baseline="0" noProof="0" dirty="0">
                <a:ln>
                  <a:noFill/>
                </a:ln>
                <a:solidFill>
                  <a:srgbClr val="FFFFFF"/>
                </a:solidFill>
                <a:effectLst/>
                <a:uLnTx/>
                <a:uFillTx/>
                <a:latin typeface="Amazon Ember Regular" charset="0"/>
                <a:ea typeface="+mn-ea"/>
                <a:cs typeface="Amazon Ember Regular"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consectetuer</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adipiscing</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li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sed</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diam</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nonummy</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nibh</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uismod</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tincidun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u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laoree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dolore magna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aliquam</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ra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92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volutpat</a:t>
            </a:r>
            <a:r>
              <a:rPr kumimoji="0" lang="en-US" sz="192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p>
          <a:p>
            <a:pPr marL="0" marR="0" lvl="0" indent="0" algn="l" defTabSz="731520" rtl="0" eaLnBrk="1" fontAlgn="auto" latinLnBrk="0" hangingPunct="1">
              <a:lnSpc>
                <a:spcPct val="100000"/>
              </a:lnSpc>
              <a:spcBef>
                <a:spcPct val="2000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mazon Ember Regular" charset="0"/>
              <a:ea typeface="+mn-ea"/>
              <a:cs typeface="Amazon Ember Regular" charset="0"/>
            </a:endParaRPr>
          </a:p>
        </p:txBody>
      </p:sp>
      <p:pic>
        <p:nvPicPr>
          <p:cNvPr id="6" name="Picture 5">
            <a:extLst>
              <a:ext uri="{FF2B5EF4-FFF2-40B4-BE49-F238E27FC236}">
                <a16:creationId xmlns:a16="http://schemas.microsoft.com/office/drawing/2014/main" id="{C6DDC4CE-069A-6C41-8C3F-0037B3BED4B7}"/>
              </a:ext>
            </a:extLst>
          </p:cNvPr>
          <p:cNvPicPr>
            <a:picLocks noChangeAspect="1"/>
          </p:cNvPicPr>
          <p:nvPr userDrawn="1"/>
        </p:nvPicPr>
        <p:blipFill>
          <a:blip r:embed="rId2"/>
          <a:stretch>
            <a:fillRect/>
          </a:stretch>
        </p:blipFill>
        <p:spPr>
          <a:xfrm>
            <a:off x="13175672" y="7500157"/>
            <a:ext cx="734291" cy="438994"/>
          </a:xfrm>
          <a:prstGeom prst="rect">
            <a:avLst/>
          </a:prstGeom>
        </p:spPr>
      </p:pic>
    </p:spTree>
    <p:extLst>
      <p:ext uri="{BB962C8B-B14F-4D97-AF65-F5344CB8AC3E}">
        <p14:creationId xmlns:p14="http://schemas.microsoft.com/office/powerpoint/2010/main" val="1841750186"/>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_Collage">
    <p:bg>
      <p:bgRef idx="1001">
        <a:schemeClr val="bg2"/>
      </p:bgRef>
    </p:bg>
    <p:spTree>
      <p:nvGrpSpPr>
        <p:cNvPr id="1" name=""/>
        <p:cNvGrpSpPr/>
        <p:nvPr/>
      </p:nvGrpSpPr>
      <p:grpSpPr>
        <a:xfrm>
          <a:off x="0" y="0"/>
          <a:ext cx="0" cy="0"/>
          <a:chOff x="0" y="0"/>
          <a:chExt cx="0" cy="0"/>
        </a:xfrm>
      </p:grpSpPr>
      <p:sp>
        <p:nvSpPr>
          <p:cNvPr id="11" name="Title 1"/>
          <p:cNvSpPr>
            <a:spLocks noGrp="1"/>
          </p:cNvSpPr>
          <p:nvPr>
            <p:ph type="title"/>
          </p:nvPr>
        </p:nvSpPr>
        <p:spPr>
          <a:xfrm>
            <a:off x="548640" y="183898"/>
            <a:ext cx="13510260" cy="873186"/>
          </a:xfrm>
        </p:spPr>
        <p:txBody>
          <a:bodyPr>
            <a:normAutofit/>
          </a:bodyPr>
          <a:lstStyle>
            <a:lvl1pPr>
              <a:defRPr sz="3800" b="1" i="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1pPr>
          </a:lstStyle>
          <a:p>
            <a:r>
              <a:rPr lang="en-US" dirty="0"/>
              <a:t>Click to edit Master title style</a:t>
            </a:r>
          </a:p>
        </p:txBody>
      </p:sp>
      <p:sp>
        <p:nvSpPr>
          <p:cNvPr id="5" name="Picture Placeholder 4">
            <a:extLst>
              <a:ext uri="{FF2B5EF4-FFF2-40B4-BE49-F238E27FC236}">
                <a16:creationId xmlns:a16="http://schemas.microsoft.com/office/drawing/2014/main" id="{E78145AC-79A9-834A-BE03-ED99E1BFF7AC}"/>
              </a:ext>
            </a:extLst>
          </p:cNvPr>
          <p:cNvSpPr>
            <a:spLocks noGrp="1"/>
          </p:cNvSpPr>
          <p:nvPr>
            <p:ph type="pic" sz="quarter" idx="10"/>
          </p:nvPr>
        </p:nvSpPr>
        <p:spPr>
          <a:xfrm>
            <a:off x="548639" y="1645920"/>
            <a:ext cx="4572000" cy="5028635"/>
          </a:xfrm>
          <a:prstGeom prst="rect">
            <a:avLst/>
          </a:prstGeom>
        </p:spPr>
        <p:txBody>
          <a:bodyPr/>
          <a:lstStyle/>
          <a:p>
            <a:endParaRPr lang="en-US" dirty="0"/>
          </a:p>
        </p:txBody>
      </p:sp>
      <p:sp>
        <p:nvSpPr>
          <p:cNvPr id="9" name="Picture Placeholder 4">
            <a:extLst>
              <a:ext uri="{FF2B5EF4-FFF2-40B4-BE49-F238E27FC236}">
                <a16:creationId xmlns:a16="http://schemas.microsoft.com/office/drawing/2014/main" id="{D5A50D07-5C25-B541-89CC-C515FB54B1B4}"/>
              </a:ext>
            </a:extLst>
          </p:cNvPr>
          <p:cNvSpPr>
            <a:spLocks noGrp="1"/>
          </p:cNvSpPr>
          <p:nvPr>
            <p:ph type="pic" sz="quarter" idx="11"/>
          </p:nvPr>
        </p:nvSpPr>
        <p:spPr>
          <a:xfrm>
            <a:off x="9509760" y="1645920"/>
            <a:ext cx="4572000" cy="5028635"/>
          </a:xfrm>
          <a:prstGeom prst="rect">
            <a:avLst/>
          </a:prstGeom>
        </p:spPr>
        <p:txBody>
          <a:bodyPr/>
          <a:lstStyle/>
          <a:p>
            <a:endParaRPr lang="en-US"/>
          </a:p>
        </p:txBody>
      </p:sp>
      <p:sp>
        <p:nvSpPr>
          <p:cNvPr id="10" name="Picture Placeholder 4">
            <a:extLst>
              <a:ext uri="{FF2B5EF4-FFF2-40B4-BE49-F238E27FC236}">
                <a16:creationId xmlns:a16="http://schemas.microsoft.com/office/drawing/2014/main" id="{0FF44110-D1F4-664B-9593-798283322862}"/>
              </a:ext>
            </a:extLst>
          </p:cNvPr>
          <p:cNvSpPr>
            <a:spLocks noGrp="1"/>
          </p:cNvSpPr>
          <p:nvPr>
            <p:ph type="pic" sz="quarter" idx="12"/>
          </p:nvPr>
        </p:nvSpPr>
        <p:spPr>
          <a:xfrm>
            <a:off x="5486400" y="1645920"/>
            <a:ext cx="3657600" cy="2686296"/>
          </a:xfrm>
          <a:prstGeom prst="rect">
            <a:avLst/>
          </a:prstGeom>
        </p:spPr>
        <p:txBody>
          <a:bodyPr/>
          <a:lstStyle/>
          <a:p>
            <a:endParaRPr lang="en-US"/>
          </a:p>
        </p:txBody>
      </p:sp>
      <p:sp>
        <p:nvSpPr>
          <p:cNvPr id="12" name="Picture Placeholder 4">
            <a:extLst>
              <a:ext uri="{FF2B5EF4-FFF2-40B4-BE49-F238E27FC236}">
                <a16:creationId xmlns:a16="http://schemas.microsoft.com/office/drawing/2014/main" id="{886DFCC3-A169-A648-A099-3583B633E69B}"/>
              </a:ext>
            </a:extLst>
          </p:cNvPr>
          <p:cNvSpPr>
            <a:spLocks noGrp="1"/>
          </p:cNvSpPr>
          <p:nvPr>
            <p:ph type="pic" sz="quarter" idx="13"/>
          </p:nvPr>
        </p:nvSpPr>
        <p:spPr>
          <a:xfrm>
            <a:off x="5486400" y="4767345"/>
            <a:ext cx="3657600" cy="1892899"/>
          </a:xfrm>
          <a:prstGeom prst="rect">
            <a:avLst/>
          </a:prstGeom>
        </p:spPr>
        <p:txBody>
          <a:bodyPr/>
          <a:lstStyle/>
          <a:p>
            <a:endParaRPr lang="en-US"/>
          </a:p>
        </p:txBody>
      </p:sp>
      <p:pic>
        <p:nvPicPr>
          <p:cNvPr id="8" name="Picture 7">
            <a:extLst>
              <a:ext uri="{FF2B5EF4-FFF2-40B4-BE49-F238E27FC236}">
                <a16:creationId xmlns:a16="http://schemas.microsoft.com/office/drawing/2014/main" id="{1B70BEE5-924F-5D41-B768-FE2CCE4425ED}"/>
              </a:ext>
            </a:extLst>
          </p:cNvPr>
          <p:cNvPicPr>
            <a:picLocks noChangeAspect="1"/>
          </p:cNvPicPr>
          <p:nvPr userDrawn="1"/>
        </p:nvPicPr>
        <p:blipFill>
          <a:blip r:embed="rId2"/>
          <a:stretch>
            <a:fillRect/>
          </a:stretch>
        </p:blipFill>
        <p:spPr>
          <a:xfrm>
            <a:off x="13175672" y="7500157"/>
            <a:ext cx="734291" cy="438994"/>
          </a:xfrm>
          <a:prstGeom prst="rect">
            <a:avLst/>
          </a:prstGeom>
        </p:spPr>
      </p:pic>
    </p:spTree>
    <p:extLst>
      <p:ext uri="{BB962C8B-B14F-4D97-AF65-F5344CB8AC3E}">
        <p14:creationId xmlns:p14="http://schemas.microsoft.com/office/powerpoint/2010/main" val="2901287801"/>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_Image">
    <p:bg>
      <p:bgRef idx="1001">
        <a:schemeClr val="bg2"/>
      </p:bgRef>
    </p:bg>
    <p:spTree>
      <p:nvGrpSpPr>
        <p:cNvPr id="1" name=""/>
        <p:cNvGrpSpPr/>
        <p:nvPr/>
      </p:nvGrpSpPr>
      <p:grpSpPr>
        <a:xfrm>
          <a:off x="0" y="0"/>
          <a:ext cx="0" cy="0"/>
          <a:chOff x="0" y="0"/>
          <a:chExt cx="0" cy="0"/>
        </a:xfrm>
      </p:grpSpPr>
      <p:sp>
        <p:nvSpPr>
          <p:cNvPr id="11" name="Title 1"/>
          <p:cNvSpPr>
            <a:spLocks noGrp="1"/>
          </p:cNvSpPr>
          <p:nvPr>
            <p:ph type="title"/>
          </p:nvPr>
        </p:nvSpPr>
        <p:spPr>
          <a:xfrm>
            <a:off x="538862" y="183898"/>
            <a:ext cx="13520037" cy="873186"/>
          </a:xfrm>
        </p:spPr>
        <p:txBody>
          <a:bodyPr>
            <a:normAutofit/>
          </a:bodyPr>
          <a:lstStyle>
            <a:lvl1pPr>
              <a:defRPr sz="3800">
                <a:solidFill>
                  <a:schemeClr val="tx1"/>
                </a:solidFill>
              </a:defRPr>
            </a:lvl1pPr>
          </a:lstStyle>
          <a:p>
            <a:r>
              <a:rPr lang="en-US" dirty="0"/>
              <a:t>Click to edit Master title style</a:t>
            </a:r>
          </a:p>
        </p:txBody>
      </p:sp>
      <p:sp>
        <p:nvSpPr>
          <p:cNvPr id="5" name="Picture Placeholder 4">
            <a:extLst>
              <a:ext uri="{FF2B5EF4-FFF2-40B4-BE49-F238E27FC236}">
                <a16:creationId xmlns:a16="http://schemas.microsoft.com/office/drawing/2014/main" id="{E78145AC-79A9-834A-BE03-ED99E1BFF7AC}"/>
              </a:ext>
            </a:extLst>
          </p:cNvPr>
          <p:cNvSpPr>
            <a:spLocks noGrp="1"/>
          </p:cNvSpPr>
          <p:nvPr>
            <p:ph type="pic" sz="quarter" idx="10"/>
          </p:nvPr>
        </p:nvSpPr>
        <p:spPr>
          <a:xfrm>
            <a:off x="548640" y="1645920"/>
            <a:ext cx="8330183" cy="5028635"/>
          </a:xfrm>
          <a:prstGeom prst="rect">
            <a:avLst/>
          </a:prstGeom>
        </p:spPr>
        <p:txBody>
          <a:bodyPr/>
          <a:lstStyle/>
          <a:p>
            <a:endParaRPr lang="en-US" dirty="0"/>
          </a:p>
        </p:txBody>
      </p:sp>
      <p:sp>
        <p:nvSpPr>
          <p:cNvPr id="9" name="Picture Placeholder 4">
            <a:extLst>
              <a:ext uri="{FF2B5EF4-FFF2-40B4-BE49-F238E27FC236}">
                <a16:creationId xmlns:a16="http://schemas.microsoft.com/office/drawing/2014/main" id="{D5A50D07-5C25-B541-89CC-C515FB54B1B4}"/>
              </a:ext>
            </a:extLst>
          </p:cNvPr>
          <p:cNvSpPr>
            <a:spLocks noGrp="1"/>
          </p:cNvSpPr>
          <p:nvPr>
            <p:ph type="pic" sz="quarter" idx="11"/>
          </p:nvPr>
        </p:nvSpPr>
        <p:spPr>
          <a:xfrm>
            <a:off x="9326880" y="1645920"/>
            <a:ext cx="4754880" cy="5028635"/>
          </a:xfrm>
          <a:prstGeom prst="rect">
            <a:avLst/>
          </a:prstGeom>
        </p:spPr>
        <p:txBody>
          <a:bodyPr/>
          <a:lstStyle/>
          <a:p>
            <a:endParaRPr lang="en-US"/>
          </a:p>
        </p:txBody>
      </p:sp>
      <p:pic>
        <p:nvPicPr>
          <p:cNvPr id="7" name="Picture 6">
            <a:extLst>
              <a:ext uri="{FF2B5EF4-FFF2-40B4-BE49-F238E27FC236}">
                <a16:creationId xmlns:a16="http://schemas.microsoft.com/office/drawing/2014/main" id="{D06C709F-FB99-6A4A-A5F3-261599715EB8}"/>
              </a:ext>
            </a:extLst>
          </p:cNvPr>
          <p:cNvPicPr>
            <a:picLocks noChangeAspect="1"/>
          </p:cNvPicPr>
          <p:nvPr userDrawn="1"/>
        </p:nvPicPr>
        <p:blipFill>
          <a:blip r:embed="rId2"/>
          <a:stretch>
            <a:fillRect/>
          </a:stretch>
        </p:blipFill>
        <p:spPr>
          <a:xfrm>
            <a:off x="13175672" y="7500157"/>
            <a:ext cx="734291" cy="438994"/>
          </a:xfrm>
          <a:prstGeom prst="rect">
            <a:avLst/>
          </a:prstGeom>
        </p:spPr>
      </p:pic>
    </p:spTree>
    <p:extLst>
      <p:ext uri="{BB962C8B-B14F-4D97-AF65-F5344CB8AC3E}">
        <p14:creationId xmlns:p14="http://schemas.microsoft.com/office/powerpoint/2010/main" val="45102675"/>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8639" y="183898"/>
            <a:ext cx="13514832" cy="1371600"/>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p:cNvSpPr>
            <a:spLocks noGrp="1"/>
          </p:cNvSpPr>
          <p:nvPr>
            <p:ph type="body" idx="1"/>
          </p:nvPr>
        </p:nvSpPr>
        <p:spPr>
          <a:xfrm>
            <a:off x="548639" y="1645920"/>
            <a:ext cx="13514832" cy="5686282"/>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a:xfrm>
            <a:off x="538863" y="7683901"/>
            <a:ext cx="7115490" cy="172355"/>
          </a:xfrm>
          <a:prstGeom prst="rect">
            <a:avLst/>
          </a:prstGeom>
          <a:noFill/>
        </p:spPr>
        <p:txBody>
          <a:bodyPr wrap="square" lIns="0" tIns="0" rIns="0" bIns="0" rtlCol="0">
            <a:spAutoFit/>
          </a:bodyPr>
          <a:lstStyle/>
          <a:p>
            <a:pPr marL="0" marR="0" indent="0" algn="l" defTabSz="731520" rtl="0" eaLnBrk="1" fontAlgn="auto" latinLnBrk="0" hangingPunct="1">
              <a:lnSpc>
                <a:spcPct val="100000"/>
              </a:lnSpc>
              <a:spcBef>
                <a:spcPts val="0"/>
              </a:spcBef>
              <a:spcAft>
                <a:spcPts val="0"/>
              </a:spcAft>
              <a:buClrTx/>
              <a:buSzTx/>
              <a:buFontTx/>
              <a:buNone/>
              <a:tabLst/>
              <a:defRPr/>
            </a:pPr>
            <a:r>
              <a:rPr lang="en-US" sz="1120" b="0" i="0" dirty="0">
                <a:solidFill>
                  <a:schemeClr val="tx1">
                    <a:lumMod val="50000"/>
                  </a:schemeClr>
                </a:solidFill>
                <a:latin typeface="Amazon Ember" panose="020B0603020204020204" pitchFamily="34" charset="0"/>
                <a:ea typeface="Amazon Ember" panose="020B0603020204020204" pitchFamily="34" charset="0"/>
                <a:cs typeface="Amazon Ember" panose="020B0603020204020204" pitchFamily="34" charset="0"/>
              </a:rPr>
              <a:t>© 2021, Amazon Web Services, Inc. or its Affiliates. </a:t>
            </a:r>
          </a:p>
        </p:txBody>
      </p:sp>
    </p:spTree>
    <p:extLst>
      <p:ext uri="{BB962C8B-B14F-4D97-AF65-F5344CB8AC3E}">
        <p14:creationId xmlns:p14="http://schemas.microsoft.com/office/powerpoint/2010/main" val="14311777"/>
      </p:ext>
    </p:extLst>
  </p:cSld>
  <p:clrMap bg1="dk1" tx1="lt1" bg2="dk2" tx2="lt2" accent1="accent1" accent2="accent2" accent3="accent3" accent4="accent4" accent5="accent5" accent6="accent6" hlink="hlink" folHlink="folHlink"/>
  <p:sldLayoutIdLst>
    <p:sldLayoutId id="2147483711" r:id="rId1"/>
    <p:sldLayoutId id="2147483696" r:id="rId2"/>
    <p:sldLayoutId id="2147483677" r:id="rId3"/>
    <p:sldLayoutId id="2147483700" r:id="rId4"/>
    <p:sldLayoutId id="2147483689" r:id="rId5"/>
    <p:sldLayoutId id="2147483678" r:id="rId6"/>
    <p:sldLayoutId id="2147483707" r:id="rId7"/>
    <p:sldLayoutId id="2147483679" r:id="rId8"/>
    <p:sldLayoutId id="2147483703" r:id="rId9"/>
    <p:sldLayoutId id="2147483704" r:id="rId10"/>
    <p:sldLayoutId id="2147483705" r:id="rId11"/>
    <p:sldLayoutId id="2147483690" r:id="rId12"/>
    <p:sldLayoutId id="2147483691" r:id="rId13"/>
    <p:sldLayoutId id="2147483692" r:id="rId14"/>
    <p:sldLayoutId id="2147483702" r:id="rId15"/>
    <p:sldLayoutId id="2147483680" r:id="rId16"/>
    <p:sldLayoutId id="2147483701" r:id="rId17"/>
    <p:sldLayoutId id="2147483712" r:id="rId18"/>
    <p:sldLayoutId id="2147483714" r:id="rId19"/>
    <p:sldLayoutId id="2147483706" r:id="rId20"/>
    <p:sldLayoutId id="2147483715" r:id="rId21"/>
    <p:sldLayoutId id="2147483716" r:id="rId22"/>
  </p:sldLayoutIdLst>
  <p:txStyles>
    <p:titleStyle>
      <a:lvl1pPr algn="l" defTabSz="731520" rtl="0" eaLnBrk="1" latinLnBrk="0" hangingPunct="1">
        <a:spcBef>
          <a:spcPct val="0"/>
        </a:spcBef>
        <a:buNone/>
        <a:defRPr sz="3800" b="1" i="0" kern="120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1pPr>
    </p:titleStyle>
    <p:bodyStyle>
      <a:lvl1pPr marL="0" indent="0" algn="l" defTabSz="731520" rtl="0" eaLnBrk="1" latinLnBrk="0" hangingPunct="1">
        <a:spcBef>
          <a:spcPct val="20000"/>
        </a:spcBef>
        <a:buFontTx/>
        <a:buNone/>
        <a:defRPr sz="2900" b="0" i="0" kern="1200">
          <a:solidFill>
            <a:schemeClr val="tx1"/>
          </a:solidFill>
          <a:latin typeface="Amazon Ember Regular" charset="0"/>
          <a:ea typeface="+mn-ea"/>
          <a:cs typeface="Amazon Ember Regular" charset="0"/>
        </a:defRPr>
      </a:lvl1pPr>
      <a:lvl2pPr marL="1188720" indent="-457200" algn="l" defTabSz="731520" rtl="0" eaLnBrk="1" latinLnBrk="0" hangingPunct="1">
        <a:spcBef>
          <a:spcPct val="20000"/>
        </a:spcBef>
        <a:buFont typeface="Arial"/>
        <a:buChar char="•"/>
        <a:defRPr sz="2900" b="0" i="0" kern="1200">
          <a:solidFill>
            <a:schemeClr val="tx1"/>
          </a:solidFill>
          <a:latin typeface="Amazon Ember Regular" charset="0"/>
          <a:ea typeface="+mn-ea"/>
          <a:cs typeface="Amazon Ember Regular" charset="0"/>
        </a:defRPr>
      </a:lvl2pPr>
      <a:lvl3pPr marL="1828800" indent="-365760" algn="l" defTabSz="731520" rtl="0" eaLnBrk="1" latinLnBrk="0" hangingPunct="1">
        <a:spcBef>
          <a:spcPct val="20000"/>
        </a:spcBef>
        <a:buFont typeface="Arial"/>
        <a:buChar char="•"/>
        <a:defRPr sz="2600" b="0" i="0" kern="1200">
          <a:solidFill>
            <a:schemeClr val="tx1"/>
          </a:solidFill>
          <a:latin typeface="Amazon Ember Regular" charset="0"/>
          <a:ea typeface="+mn-ea"/>
          <a:cs typeface="Amazon Ember Regular" charset="0"/>
        </a:defRPr>
      </a:lvl3pPr>
      <a:lvl4pPr marL="2560320" indent="-365760" algn="l" defTabSz="731520" rtl="0" eaLnBrk="1" latinLnBrk="0" hangingPunct="1">
        <a:spcBef>
          <a:spcPct val="20000"/>
        </a:spcBef>
        <a:buFont typeface="Arial"/>
        <a:buChar char="–"/>
        <a:defRPr sz="2200" b="0" i="0" kern="1200">
          <a:solidFill>
            <a:schemeClr val="tx1"/>
          </a:solidFill>
          <a:latin typeface="Amazon Ember Regular" charset="0"/>
          <a:ea typeface="+mn-ea"/>
          <a:cs typeface="Amazon Ember Regular" charset="0"/>
        </a:defRPr>
      </a:lvl4pPr>
      <a:lvl5pPr marL="3291840" indent="-365760" algn="l" defTabSz="731520" rtl="0" eaLnBrk="1" latinLnBrk="0" hangingPunct="1">
        <a:spcBef>
          <a:spcPct val="20000"/>
        </a:spcBef>
        <a:buFont typeface="Arial"/>
        <a:buChar char="»"/>
        <a:defRPr sz="1900" b="0" i="0" kern="1200">
          <a:solidFill>
            <a:schemeClr val="tx1"/>
          </a:solidFill>
          <a:latin typeface="Amazon Ember Regular" charset="0"/>
          <a:ea typeface="+mn-ea"/>
          <a:cs typeface="Amazon Ember Regular" charset="0"/>
        </a:defRPr>
      </a:lvl5pPr>
      <a:lvl6pPr marL="4023360" indent="-365760" algn="l" defTabSz="731520" rtl="0" eaLnBrk="1" latinLnBrk="0" hangingPunct="1">
        <a:spcBef>
          <a:spcPct val="20000"/>
        </a:spcBef>
        <a:buFont typeface="Arial"/>
        <a:buChar char="•"/>
        <a:defRPr sz="3200" kern="1200">
          <a:solidFill>
            <a:schemeClr val="tx1"/>
          </a:solidFill>
          <a:latin typeface="+mn-lt"/>
          <a:ea typeface="+mn-ea"/>
          <a:cs typeface="+mn-cs"/>
        </a:defRPr>
      </a:lvl6pPr>
      <a:lvl7pPr marL="4754880" indent="-365760" algn="l" defTabSz="731520" rtl="0" eaLnBrk="1" latinLnBrk="0" hangingPunct="1">
        <a:spcBef>
          <a:spcPct val="20000"/>
        </a:spcBef>
        <a:buFont typeface="Arial"/>
        <a:buChar char="•"/>
        <a:defRPr sz="3200" kern="1200">
          <a:solidFill>
            <a:schemeClr val="tx1"/>
          </a:solidFill>
          <a:latin typeface="+mn-lt"/>
          <a:ea typeface="+mn-ea"/>
          <a:cs typeface="+mn-cs"/>
        </a:defRPr>
      </a:lvl7pPr>
      <a:lvl8pPr marL="5486400" indent="-365760" algn="l" defTabSz="731520" rtl="0" eaLnBrk="1" latinLnBrk="0" hangingPunct="1">
        <a:spcBef>
          <a:spcPct val="20000"/>
        </a:spcBef>
        <a:buFont typeface="Arial"/>
        <a:buChar char="•"/>
        <a:defRPr sz="3200" kern="1200">
          <a:solidFill>
            <a:schemeClr val="tx1"/>
          </a:solidFill>
          <a:latin typeface="+mn-lt"/>
          <a:ea typeface="+mn-ea"/>
          <a:cs typeface="+mn-cs"/>
        </a:defRPr>
      </a:lvl8pPr>
      <a:lvl9pPr marL="6217920" indent="-365760" algn="l" defTabSz="731520" rtl="0" eaLnBrk="1" latinLnBrk="0" hangingPunct="1">
        <a:spcBef>
          <a:spcPct val="20000"/>
        </a:spcBef>
        <a:buFont typeface="Arial"/>
        <a:buChar char="•"/>
        <a:defRPr sz="3200" kern="1200">
          <a:solidFill>
            <a:schemeClr val="tx1"/>
          </a:solidFill>
          <a:latin typeface="+mn-lt"/>
          <a:ea typeface="+mn-ea"/>
          <a:cs typeface="+mn-cs"/>
        </a:defRPr>
      </a:lvl9pPr>
    </p:bodyStyle>
    <p:otherStyle>
      <a:defPPr>
        <a:defRPr lang="en-US"/>
      </a:defPPr>
      <a:lvl1pPr marL="0" algn="l" defTabSz="731520" rtl="0" eaLnBrk="1" latinLnBrk="0" hangingPunct="1">
        <a:defRPr sz="2880" kern="1200">
          <a:solidFill>
            <a:schemeClr val="tx1"/>
          </a:solidFill>
          <a:latin typeface="+mn-lt"/>
          <a:ea typeface="+mn-ea"/>
          <a:cs typeface="+mn-cs"/>
        </a:defRPr>
      </a:lvl1pPr>
      <a:lvl2pPr marL="731520" algn="l" defTabSz="731520" rtl="0" eaLnBrk="1" latinLnBrk="0" hangingPunct="1">
        <a:defRPr sz="2880" kern="1200">
          <a:solidFill>
            <a:schemeClr val="tx1"/>
          </a:solidFill>
          <a:latin typeface="+mn-lt"/>
          <a:ea typeface="+mn-ea"/>
          <a:cs typeface="+mn-cs"/>
        </a:defRPr>
      </a:lvl2pPr>
      <a:lvl3pPr marL="1463040" algn="l" defTabSz="731520" rtl="0" eaLnBrk="1" latinLnBrk="0" hangingPunct="1">
        <a:defRPr sz="2880" kern="1200">
          <a:solidFill>
            <a:schemeClr val="tx1"/>
          </a:solidFill>
          <a:latin typeface="+mn-lt"/>
          <a:ea typeface="+mn-ea"/>
          <a:cs typeface="+mn-cs"/>
        </a:defRPr>
      </a:lvl3pPr>
      <a:lvl4pPr marL="2194560" algn="l" defTabSz="731520" rtl="0" eaLnBrk="1" latinLnBrk="0" hangingPunct="1">
        <a:defRPr sz="2880" kern="1200">
          <a:solidFill>
            <a:schemeClr val="tx1"/>
          </a:solidFill>
          <a:latin typeface="+mn-lt"/>
          <a:ea typeface="+mn-ea"/>
          <a:cs typeface="+mn-cs"/>
        </a:defRPr>
      </a:lvl4pPr>
      <a:lvl5pPr marL="2926080" algn="l" defTabSz="731520" rtl="0" eaLnBrk="1" latinLnBrk="0" hangingPunct="1">
        <a:defRPr sz="2880" kern="1200">
          <a:solidFill>
            <a:schemeClr val="tx1"/>
          </a:solidFill>
          <a:latin typeface="+mn-lt"/>
          <a:ea typeface="+mn-ea"/>
          <a:cs typeface="+mn-cs"/>
        </a:defRPr>
      </a:lvl5pPr>
      <a:lvl6pPr marL="3657600" algn="l" defTabSz="731520" rtl="0" eaLnBrk="1" latinLnBrk="0" hangingPunct="1">
        <a:defRPr sz="2880" kern="1200">
          <a:solidFill>
            <a:schemeClr val="tx1"/>
          </a:solidFill>
          <a:latin typeface="+mn-lt"/>
          <a:ea typeface="+mn-ea"/>
          <a:cs typeface="+mn-cs"/>
        </a:defRPr>
      </a:lvl6pPr>
      <a:lvl7pPr marL="4389120" algn="l" defTabSz="731520" rtl="0" eaLnBrk="1" latinLnBrk="0" hangingPunct="1">
        <a:defRPr sz="2880" kern="1200">
          <a:solidFill>
            <a:schemeClr val="tx1"/>
          </a:solidFill>
          <a:latin typeface="+mn-lt"/>
          <a:ea typeface="+mn-ea"/>
          <a:cs typeface="+mn-cs"/>
        </a:defRPr>
      </a:lvl7pPr>
      <a:lvl8pPr marL="5120640" algn="l" defTabSz="731520" rtl="0" eaLnBrk="1" latinLnBrk="0" hangingPunct="1">
        <a:defRPr sz="2880" kern="1200">
          <a:solidFill>
            <a:schemeClr val="tx1"/>
          </a:solidFill>
          <a:latin typeface="+mn-lt"/>
          <a:ea typeface="+mn-ea"/>
          <a:cs typeface="+mn-cs"/>
        </a:defRPr>
      </a:lvl8pPr>
      <a:lvl9pPr marL="5852160" algn="l" defTabSz="731520" rtl="0" eaLnBrk="1" latinLnBrk="0" hangingPunct="1">
        <a:defRPr sz="288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 userDrawn="1">
          <p15:clr>
            <a:srgbClr val="F26B43"/>
          </p15:clr>
        </p15:guide>
        <p15:guide id="2" pos="8856" userDrawn="1">
          <p15:clr>
            <a:srgbClr val="F26B43"/>
          </p15:clr>
        </p15:guide>
        <p15:guide id="3" orient="horz" pos="103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20.tiff"/></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22.xml"/><Relationship Id="rId4" Type="http://schemas.openxmlformats.org/officeDocument/2006/relationships/image" Target="../media/image21.tif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0.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21.xml"/><Relationship Id="rId6" Type="http://schemas.openxmlformats.org/officeDocument/2006/relationships/image" Target="../media/image11.tiff"/><Relationship Id="rId11" Type="http://schemas.openxmlformats.org/officeDocument/2006/relationships/image" Target="../media/image16.tiff"/><Relationship Id="rId5" Type="http://schemas.openxmlformats.org/officeDocument/2006/relationships/image" Target="../media/image10.png"/><Relationship Id="rId10" Type="http://schemas.openxmlformats.org/officeDocument/2006/relationships/image" Target="../media/image15.tiff"/><Relationship Id="rId4" Type="http://schemas.openxmlformats.org/officeDocument/2006/relationships/image" Target="../media/image9.png"/><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7.xml"/><Relationship Id="rId3" Type="http://schemas.openxmlformats.org/officeDocument/2006/relationships/tags" Target="../tags/tag3.xml"/><Relationship Id="rId7" Type="http://schemas.openxmlformats.org/officeDocument/2006/relationships/slideLayout" Target="../slideLayouts/slideLayout2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A8BA0C-6B58-4AEA-AD86-1E2B61410A7B}"/>
              </a:ext>
            </a:extLst>
          </p:cNvPr>
          <p:cNvSpPr>
            <a:spLocks noGrp="1"/>
          </p:cNvSpPr>
          <p:nvPr>
            <p:ph type="body" sz="quarter" idx="12"/>
          </p:nvPr>
        </p:nvSpPr>
        <p:spPr>
          <a:xfrm>
            <a:off x="548640" y="2590831"/>
            <a:ext cx="13128171" cy="2075298"/>
          </a:xfrm>
        </p:spPr>
        <p:txBody>
          <a:bodyPr/>
          <a:lstStyle/>
          <a:p>
            <a:r>
              <a:rPr lang="en-US" sz="5800" dirty="0"/>
              <a:t>Portfolio Assessment Overview</a:t>
            </a:r>
          </a:p>
        </p:txBody>
      </p:sp>
      <p:sp>
        <p:nvSpPr>
          <p:cNvPr id="2" name="Text Placeholder 1">
            <a:extLst>
              <a:ext uri="{FF2B5EF4-FFF2-40B4-BE49-F238E27FC236}">
                <a16:creationId xmlns:a16="http://schemas.microsoft.com/office/drawing/2014/main" id="{38CED3E9-679C-452E-A05D-FB817A69D487}"/>
              </a:ext>
            </a:extLst>
          </p:cNvPr>
          <p:cNvSpPr>
            <a:spLocks noGrp="1"/>
          </p:cNvSpPr>
          <p:nvPr>
            <p:ph type="body" sz="quarter" idx="13"/>
          </p:nvPr>
        </p:nvSpPr>
        <p:spPr>
          <a:xfrm>
            <a:off x="548640" y="5638769"/>
            <a:ext cx="8998316" cy="1231243"/>
          </a:xfrm>
        </p:spPr>
        <p:txBody>
          <a:bodyPr/>
          <a:lstStyle/>
          <a:p>
            <a:r>
              <a:rPr lang="en-US" sz="2000" dirty="0"/>
              <a:t>&lt;</a:t>
            </a:r>
            <a:r>
              <a:rPr lang="en-US" sz="2000" dirty="0" err="1"/>
              <a:t>Presenter_Name</a:t>
            </a:r>
            <a:r>
              <a:rPr lang="en-US" sz="2000" dirty="0"/>
              <a:t>&gt;</a:t>
            </a:r>
          </a:p>
          <a:p>
            <a:r>
              <a:rPr lang="en-US" sz="2000" dirty="0"/>
              <a:t>&lt;date&gt;</a:t>
            </a:r>
          </a:p>
        </p:txBody>
      </p:sp>
    </p:spTree>
    <p:extLst>
      <p:ext uri="{BB962C8B-B14F-4D97-AF65-F5344CB8AC3E}">
        <p14:creationId xmlns:p14="http://schemas.microsoft.com/office/powerpoint/2010/main" val="3827389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CA251E-98DD-2142-8A91-73820853396F}"/>
              </a:ext>
            </a:extLst>
          </p:cNvPr>
          <p:cNvSpPr>
            <a:spLocks noGrp="1"/>
          </p:cNvSpPr>
          <p:nvPr>
            <p:ph type="title"/>
          </p:nvPr>
        </p:nvSpPr>
        <p:spPr/>
        <p:txBody>
          <a:bodyPr/>
          <a:lstStyle/>
          <a:p>
            <a:r>
              <a:rPr lang="en-US" dirty="0">
                <a:solidFill>
                  <a:schemeClr val="tx1"/>
                </a:solidFill>
              </a:rPr>
              <a:t>Typical Activity Cadence</a:t>
            </a:r>
          </a:p>
        </p:txBody>
      </p:sp>
      <p:pic>
        <p:nvPicPr>
          <p:cNvPr id="4" name="Picture 3">
            <a:extLst>
              <a:ext uri="{FF2B5EF4-FFF2-40B4-BE49-F238E27FC236}">
                <a16:creationId xmlns:a16="http://schemas.microsoft.com/office/drawing/2014/main" id="{13C038C3-0095-5C4E-BAF4-D495E4B95F21}"/>
              </a:ext>
            </a:extLst>
          </p:cNvPr>
          <p:cNvPicPr>
            <a:picLocks noChangeAspect="1"/>
          </p:cNvPicPr>
          <p:nvPr/>
        </p:nvPicPr>
        <p:blipFill rotWithShape="1">
          <a:blip r:embed="rId3"/>
          <a:srcRect l="11024" r="14231"/>
          <a:stretch/>
        </p:blipFill>
        <p:spPr>
          <a:xfrm>
            <a:off x="13654112" y="6811"/>
            <a:ext cx="966264" cy="896112"/>
          </a:xfrm>
          <a:prstGeom prst="rect">
            <a:avLst/>
          </a:prstGeom>
        </p:spPr>
      </p:pic>
      <p:pic>
        <p:nvPicPr>
          <p:cNvPr id="5" name="Picture 4">
            <a:extLst>
              <a:ext uri="{FF2B5EF4-FFF2-40B4-BE49-F238E27FC236}">
                <a16:creationId xmlns:a16="http://schemas.microsoft.com/office/drawing/2014/main" id="{569380B2-159D-2843-B6FA-5860105FE532}"/>
              </a:ext>
            </a:extLst>
          </p:cNvPr>
          <p:cNvPicPr>
            <a:picLocks noChangeAspect="1"/>
          </p:cNvPicPr>
          <p:nvPr/>
        </p:nvPicPr>
        <p:blipFill>
          <a:blip r:embed="rId4"/>
          <a:stretch>
            <a:fillRect/>
          </a:stretch>
        </p:blipFill>
        <p:spPr>
          <a:xfrm>
            <a:off x="-11430" y="1896782"/>
            <a:ext cx="14630400" cy="4801795"/>
          </a:xfrm>
          <a:prstGeom prst="rect">
            <a:avLst/>
          </a:prstGeom>
        </p:spPr>
      </p:pic>
    </p:spTree>
    <p:extLst>
      <p:ext uri="{BB962C8B-B14F-4D97-AF65-F5344CB8AC3E}">
        <p14:creationId xmlns:p14="http://schemas.microsoft.com/office/powerpoint/2010/main" val="29441395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D630D-E5DF-464C-9BC4-28B1CD8BD42D}"/>
              </a:ext>
            </a:extLst>
          </p:cNvPr>
          <p:cNvSpPr>
            <a:spLocks noGrp="1"/>
          </p:cNvSpPr>
          <p:nvPr>
            <p:ph type="title"/>
          </p:nvPr>
        </p:nvSpPr>
        <p:spPr/>
        <p:txBody>
          <a:bodyPr/>
          <a:lstStyle/>
          <a:p>
            <a:r>
              <a:rPr lang="en-US" dirty="0">
                <a:solidFill>
                  <a:schemeClr val="tx1"/>
                </a:solidFill>
              </a:rPr>
              <a:t>Portfolio Assessment Delivery Kit (DK)</a:t>
            </a:r>
          </a:p>
        </p:txBody>
      </p:sp>
      <p:pic>
        <p:nvPicPr>
          <p:cNvPr id="9" name="Picture 8">
            <a:extLst>
              <a:ext uri="{FF2B5EF4-FFF2-40B4-BE49-F238E27FC236}">
                <a16:creationId xmlns:a16="http://schemas.microsoft.com/office/drawing/2014/main" id="{F6BBD768-EC72-984E-BF2C-9F35E2C0F885}"/>
              </a:ext>
            </a:extLst>
          </p:cNvPr>
          <p:cNvPicPr>
            <a:picLocks noChangeAspect="1"/>
          </p:cNvPicPr>
          <p:nvPr/>
        </p:nvPicPr>
        <p:blipFill rotWithShape="1">
          <a:blip r:embed="rId3"/>
          <a:srcRect l="11024" r="14231"/>
          <a:stretch/>
        </p:blipFill>
        <p:spPr>
          <a:xfrm>
            <a:off x="13654112" y="6811"/>
            <a:ext cx="966264" cy="896112"/>
          </a:xfrm>
          <a:prstGeom prst="rect">
            <a:avLst/>
          </a:prstGeom>
        </p:spPr>
      </p:pic>
      <p:pic>
        <p:nvPicPr>
          <p:cNvPr id="3" name="Picture 2">
            <a:extLst>
              <a:ext uri="{FF2B5EF4-FFF2-40B4-BE49-F238E27FC236}">
                <a16:creationId xmlns:a16="http://schemas.microsoft.com/office/drawing/2014/main" id="{E9DDE4BB-CE3A-2C4F-AEF4-8308698FE2FF}"/>
              </a:ext>
            </a:extLst>
          </p:cNvPr>
          <p:cNvPicPr>
            <a:picLocks noChangeAspect="1"/>
          </p:cNvPicPr>
          <p:nvPr/>
        </p:nvPicPr>
        <p:blipFill>
          <a:blip r:embed="rId4"/>
          <a:stretch>
            <a:fillRect/>
          </a:stretch>
        </p:blipFill>
        <p:spPr>
          <a:xfrm>
            <a:off x="-10024" y="902923"/>
            <a:ext cx="14630400" cy="6722716"/>
          </a:xfrm>
          <a:prstGeom prst="rect">
            <a:avLst/>
          </a:prstGeom>
        </p:spPr>
      </p:pic>
    </p:spTree>
    <p:extLst>
      <p:ext uri="{BB962C8B-B14F-4D97-AF65-F5344CB8AC3E}">
        <p14:creationId xmlns:p14="http://schemas.microsoft.com/office/powerpoint/2010/main" val="37252794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3FE52E96-5AB1-6346-82A0-2549DF6030AE}"/>
              </a:ext>
            </a:extLst>
          </p:cNvPr>
          <p:cNvSpPr txBox="1">
            <a:spLocks/>
          </p:cNvSpPr>
          <p:nvPr/>
        </p:nvSpPr>
        <p:spPr>
          <a:xfrm>
            <a:off x="548640" y="3108960"/>
            <a:ext cx="12435840" cy="1488168"/>
          </a:xfrm>
          <a:prstGeom prst="rect">
            <a:avLst/>
          </a:prstGeom>
        </p:spPr>
        <p:txBody>
          <a:bodyPr vert="horz" lIns="182880" tIns="146304" rIns="182880" bIns="146304" rtlCol="0" anchor="t">
            <a:noAutofit/>
          </a:bodyPr>
          <a:lstStyle>
            <a:lvl1pPr algn="l" defTabSz="731520" rtl="0" eaLnBrk="1" latinLnBrk="0" hangingPunct="1">
              <a:spcBef>
                <a:spcPct val="0"/>
              </a:spcBef>
              <a:buNone/>
              <a:defRPr sz="3800" b="1" i="0" kern="1200">
                <a:solidFill>
                  <a:schemeClr val="tx1"/>
                </a:solidFill>
                <a:latin typeface="Amazon Ember" panose="020B0603020204020204" pitchFamily="34" charset="0"/>
                <a:ea typeface="Amazon Ember" panose="020B0603020204020204" pitchFamily="34" charset="0"/>
                <a:cs typeface="Amazon Ember" panose="020B0603020204020204" pitchFamily="34" charset="0"/>
              </a:defRPr>
            </a:lvl1pPr>
          </a:lstStyle>
          <a:p>
            <a:r>
              <a:rPr lang="en-US" sz="6400"/>
              <a:t>Thank you</a:t>
            </a:r>
            <a:endParaRPr lang="en-US" sz="6400" dirty="0"/>
          </a:p>
        </p:txBody>
      </p:sp>
    </p:spTree>
    <p:extLst>
      <p:ext uri="{BB962C8B-B14F-4D97-AF65-F5344CB8AC3E}">
        <p14:creationId xmlns:p14="http://schemas.microsoft.com/office/powerpoint/2010/main" val="23618198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DC774-62ED-534D-80FC-1309BD1D146F}"/>
              </a:ext>
            </a:extLst>
          </p:cNvPr>
          <p:cNvSpPr>
            <a:spLocks noGrp="1"/>
          </p:cNvSpPr>
          <p:nvPr>
            <p:ph type="title"/>
          </p:nvPr>
        </p:nvSpPr>
        <p:spPr>
          <a:xfrm>
            <a:off x="548640" y="279339"/>
            <a:ext cx="13511460" cy="873186"/>
          </a:xfrm>
        </p:spPr>
        <p:txBody>
          <a:bodyPr anchor="ctr"/>
          <a:lstStyle/>
          <a:p>
            <a:r>
              <a:rPr lang="en-US" dirty="0"/>
              <a:t>Agenda</a:t>
            </a:r>
          </a:p>
        </p:txBody>
      </p:sp>
      <p:sp>
        <p:nvSpPr>
          <p:cNvPr id="3" name="Content Placeholder 2">
            <a:extLst>
              <a:ext uri="{FF2B5EF4-FFF2-40B4-BE49-F238E27FC236}">
                <a16:creationId xmlns:a16="http://schemas.microsoft.com/office/drawing/2014/main" id="{A4B095AE-6C42-AB41-999E-4B567166969D}"/>
              </a:ext>
            </a:extLst>
          </p:cNvPr>
          <p:cNvSpPr>
            <a:spLocks noGrp="1"/>
          </p:cNvSpPr>
          <p:nvPr>
            <p:ph sz="half" idx="1"/>
          </p:nvPr>
        </p:nvSpPr>
        <p:spPr>
          <a:xfrm>
            <a:off x="548640" y="1859797"/>
            <a:ext cx="13510260" cy="5217278"/>
          </a:xfrm>
        </p:spPr>
        <p:txBody>
          <a:bodyPr>
            <a:normAutofit lnSpcReduction="10000"/>
          </a:bodyPr>
          <a:lstStyle/>
          <a:p>
            <a:pPr marL="457200" indent="-457200">
              <a:buFont typeface="Arial" panose="020B0604020202020204" pitchFamily="34" charset="0"/>
              <a:buChar char="•"/>
            </a:pPr>
            <a:r>
              <a:rPr lang="en-US" dirty="0"/>
              <a:t>Customer Migration Journey</a:t>
            </a:r>
          </a:p>
          <a:p>
            <a:pPr marL="457200" indent="-457200">
              <a:buFont typeface="Arial" panose="020B0604020202020204" pitchFamily="34" charset="0"/>
              <a:buChar char="•"/>
            </a:pPr>
            <a:r>
              <a:rPr lang="en-US" dirty="0"/>
              <a:t>Portfolio Assessment Overview</a:t>
            </a:r>
          </a:p>
          <a:p>
            <a:pPr marL="457200" indent="-457200">
              <a:buFont typeface="Arial" panose="020B0604020202020204" pitchFamily="34" charset="0"/>
              <a:buChar char="•"/>
            </a:pPr>
            <a:r>
              <a:rPr lang="en-US" dirty="0"/>
              <a:t>Discovery Questions</a:t>
            </a:r>
          </a:p>
          <a:p>
            <a:pPr marL="457200" indent="-457200">
              <a:buFont typeface="Arial" panose="020B0604020202020204" pitchFamily="34" charset="0"/>
              <a:buChar char="•"/>
            </a:pPr>
            <a:r>
              <a:rPr lang="en-US" dirty="0"/>
              <a:t>The 7 R’s for Migration</a:t>
            </a:r>
          </a:p>
          <a:p>
            <a:pPr marL="457200" indent="-457200">
              <a:buFont typeface="Arial" panose="020B0604020202020204" pitchFamily="34" charset="0"/>
              <a:buChar char="•"/>
            </a:pPr>
            <a:r>
              <a:rPr lang="en-US" dirty="0"/>
              <a:t>Migration Strategy Disposition Tree</a:t>
            </a:r>
          </a:p>
          <a:p>
            <a:pPr marL="457200" indent="-457200">
              <a:buFont typeface="Arial" panose="020B0604020202020204" pitchFamily="34" charset="0"/>
              <a:buChar char="•"/>
            </a:pPr>
            <a:r>
              <a:rPr lang="en-US" dirty="0"/>
              <a:t>Application Prioritization</a:t>
            </a:r>
          </a:p>
          <a:p>
            <a:pPr marL="457200" indent="-457200">
              <a:buFont typeface="Arial" panose="020B0604020202020204" pitchFamily="34" charset="0"/>
              <a:buChar char="•"/>
            </a:pPr>
            <a:r>
              <a:rPr lang="en-US" dirty="0"/>
              <a:t>Migration Waves and Dependency Groups</a:t>
            </a:r>
          </a:p>
          <a:p>
            <a:pPr marL="457200" indent="-457200">
              <a:buFont typeface="Arial" panose="020B0604020202020204" pitchFamily="34" charset="0"/>
              <a:buChar char="•"/>
            </a:pPr>
            <a:r>
              <a:rPr lang="en-US" dirty="0"/>
              <a:t>Typical Roadmap and Delivery Kits</a:t>
            </a:r>
          </a:p>
          <a:p>
            <a:pPr marL="457200" indent="-457200">
              <a:buFont typeface="Arial" panose="020B0604020202020204" pitchFamily="34" charset="0"/>
              <a:buChar char="•"/>
            </a:pPr>
            <a:r>
              <a:rPr lang="en-US" dirty="0"/>
              <a:t>Q&amp;A</a:t>
            </a:r>
          </a:p>
          <a:p>
            <a:pPr marL="457200" indent="-457200">
              <a:buFont typeface="Arial" panose="020B0604020202020204" pitchFamily="34" charset="0"/>
              <a:buChar char="•"/>
            </a:pPr>
            <a:endParaRPr lang="en-US" dirty="0"/>
          </a:p>
        </p:txBody>
      </p:sp>
    </p:spTree>
    <p:extLst>
      <p:ext uri="{BB962C8B-B14F-4D97-AF65-F5344CB8AC3E}">
        <p14:creationId xmlns:p14="http://schemas.microsoft.com/office/powerpoint/2010/main" val="16978039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D3AB7-913A-43D9-9C6D-C32E8303D485}"/>
              </a:ext>
            </a:extLst>
          </p:cNvPr>
          <p:cNvSpPr>
            <a:spLocks noGrp="1"/>
          </p:cNvSpPr>
          <p:nvPr>
            <p:ph type="title"/>
          </p:nvPr>
        </p:nvSpPr>
        <p:spPr/>
        <p:txBody>
          <a:bodyPr/>
          <a:lstStyle/>
          <a:p>
            <a:r>
              <a:rPr lang="en-US" dirty="0">
                <a:latin typeface="+mj-lt"/>
              </a:rPr>
              <a:t>Customer journey</a:t>
            </a:r>
          </a:p>
        </p:txBody>
      </p:sp>
      <p:sp>
        <p:nvSpPr>
          <p:cNvPr id="15" name="Pentagon 4">
            <a:extLst>
              <a:ext uri="{FF2B5EF4-FFF2-40B4-BE49-F238E27FC236}">
                <a16:creationId xmlns:a16="http://schemas.microsoft.com/office/drawing/2014/main" id="{BF12EB5C-2AD3-4A52-B82F-E0AD7FE49C15}"/>
              </a:ext>
            </a:extLst>
          </p:cNvPr>
          <p:cNvSpPr/>
          <p:nvPr/>
        </p:nvSpPr>
        <p:spPr>
          <a:xfrm>
            <a:off x="579863" y="1410143"/>
            <a:ext cx="3477096" cy="562890"/>
          </a:xfrm>
          <a:prstGeom prst="homePlate">
            <a:avLst/>
          </a:prstGeom>
          <a:solidFill>
            <a:srgbClr val="FD9900"/>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wrap="none" rtlCol="0" anchor="ctr"/>
          <a:lstStyle/>
          <a:p>
            <a:pPr algn="ctr" defTabSz="1173456">
              <a:lnSpc>
                <a:spcPct val="90000"/>
              </a:lnSpc>
              <a:spcAft>
                <a:spcPct val="35000"/>
              </a:spcAft>
              <a:defRPr/>
            </a:pPr>
            <a:r>
              <a:rPr lang="en-US" sz="2600" b="1" dirty="0">
                <a:solidFill>
                  <a:schemeClr val="bg1"/>
                </a:solidFill>
                <a:latin typeface="+mj-lt"/>
                <a:ea typeface="Amazon Ember" charset="0"/>
                <a:cs typeface="Amazon Ember" charset="0"/>
              </a:rPr>
              <a:t>Assess</a:t>
            </a:r>
          </a:p>
        </p:txBody>
      </p:sp>
      <p:sp>
        <p:nvSpPr>
          <p:cNvPr id="17" name="Chevron 6">
            <a:extLst>
              <a:ext uri="{FF2B5EF4-FFF2-40B4-BE49-F238E27FC236}">
                <a16:creationId xmlns:a16="http://schemas.microsoft.com/office/drawing/2014/main" id="{86759D38-630D-42BE-8C20-775090BDB2E3}"/>
              </a:ext>
            </a:extLst>
          </p:cNvPr>
          <p:cNvSpPr/>
          <p:nvPr/>
        </p:nvSpPr>
        <p:spPr>
          <a:xfrm>
            <a:off x="9780872" y="1410144"/>
            <a:ext cx="4317207" cy="562890"/>
          </a:xfrm>
          <a:prstGeom prst="chevron">
            <a:avLst/>
          </a:prstGeom>
          <a:solidFill>
            <a:srgbClr val="FEC500"/>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wrap="none" rtlCol="0" anchor="ctr"/>
          <a:lstStyle/>
          <a:p>
            <a:pPr algn="ctr" defTabSz="1173456">
              <a:lnSpc>
                <a:spcPct val="90000"/>
              </a:lnSpc>
              <a:spcAft>
                <a:spcPct val="35000"/>
              </a:spcAft>
              <a:defRPr/>
            </a:pPr>
            <a:r>
              <a:rPr lang="en-US" sz="2600" b="1" dirty="0">
                <a:solidFill>
                  <a:schemeClr val="bg1"/>
                </a:solidFill>
                <a:latin typeface="+mj-lt"/>
                <a:ea typeface="Amazon Ember" charset="0"/>
                <a:cs typeface="Amazon Ember" charset="0"/>
              </a:rPr>
              <a:t>Migrate &amp; Modernize</a:t>
            </a:r>
          </a:p>
        </p:txBody>
      </p:sp>
      <p:grpSp>
        <p:nvGrpSpPr>
          <p:cNvPr id="139" name="Group 138">
            <a:extLst>
              <a:ext uri="{FF2B5EF4-FFF2-40B4-BE49-F238E27FC236}">
                <a16:creationId xmlns:a16="http://schemas.microsoft.com/office/drawing/2014/main" id="{EB4EBD22-0B33-4BC4-AAE3-C01B78A08F66}"/>
              </a:ext>
            </a:extLst>
          </p:cNvPr>
          <p:cNvGrpSpPr/>
          <p:nvPr/>
        </p:nvGrpSpPr>
        <p:grpSpPr>
          <a:xfrm rot="16200000">
            <a:off x="6729780" y="3165101"/>
            <a:ext cx="423260" cy="6153264"/>
            <a:chOff x="4469627" y="5613868"/>
            <a:chExt cx="423260" cy="1654721"/>
          </a:xfrm>
        </p:grpSpPr>
        <p:cxnSp>
          <p:nvCxnSpPr>
            <p:cNvPr id="138" name="Straight Arrow Connector 137">
              <a:extLst>
                <a:ext uri="{FF2B5EF4-FFF2-40B4-BE49-F238E27FC236}">
                  <a16:creationId xmlns:a16="http://schemas.microsoft.com/office/drawing/2014/main" id="{47959AF6-AE3A-4030-B6E6-6F1334D95404}"/>
                </a:ext>
              </a:extLst>
            </p:cNvPr>
            <p:cNvCxnSpPr/>
            <p:nvPr/>
          </p:nvCxnSpPr>
          <p:spPr>
            <a:xfrm flipH="1">
              <a:off x="4469627" y="6424557"/>
              <a:ext cx="423260" cy="0"/>
            </a:xfrm>
            <a:prstGeom prst="straightConnector1">
              <a:avLst/>
            </a:prstGeom>
            <a:ln w="19050">
              <a:solidFill>
                <a:srgbClr val="A166FF"/>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A4AF1DC6-3522-48D2-BB17-6DC43AF388B3}"/>
                </a:ext>
              </a:extLst>
            </p:cNvPr>
            <p:cNvCxnSpPr/>
            <p:nvPr/>
          </p:nvCxnSpPr>
          <p:spPr>
            <a:xfrm>
              <a:off x="4892887" y="5613868"/>
              <a:ext cx="0" cy="1654721"/>
            </a:xfrm>
            <a:prstGeom prst="line">
              <a:avLst/>
            </a:prstGeom>
            <a:ln w="19050">
              <a:solidFill>
                <a:srgbClr val="A166FF"/>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0" name="TextBox 139">
            <a:extLst>
              <a:ext uri="{FF2B5EF4-FFF2-40B4-BE49-F238E27FC236}">
                <a16:creationId xmlns:a16="http://schemas.microsoft.com/office/drawing/2014/main" id="{7C39CC32-AFD3-412B-A678-E3536D93A5BB}"/>
              </a:ext>
            </a:extLst>
          </p:cNvPr>
          <p:cNvSpPr txBox="1"/>
          <p:nvPr/>
        </p:nvSpPr>
        <p:spPr>
          <a:xfrm>
            <a:off x="4753150" y="6571180"/>
            <a:ext cx="4376519" cy="369332"/>
          </a:xfrm>
          <a:prstGeom prst="rect">
            <a:avLst/>
          </a:prstGeom>
          <a:noFill/>
        </p:spPr>
        <p:txBody>
          <a:bodyPr wrap="none" rtlCol="0">
            <a:spAutoFit/>
          </a:bodyPr>
          <a:lstStyle/>
          <a:p>
            <a:pPr algn="ctr" defTabSz="731504">
              <a:lnSpc>
                <a:spcPct val="90000"/>
              </a:lnSpc>
              <a:spcAft>
                <a:spcPts val="1800"/>
              </a:spcAft>
              <a:defRPr/>
            </a:pPr>
            <a:r>
              <a:rPr lang="en-US" sz="2000" dirty="0"/>
              <a:t>Build readiness through experiences</a:t>
            </a:r>
          </a:p>
        </p:txBody>
      </p:sp>
      <p:grpSp>
        <p:nvGrpSpPr>
          <p:cNvPr id="508" name="Group 507">
            <a:extLst>
              <a:ext uri="{FF2B5EF4-FFF2-40B4-BE49-F238E27FC236}">
                <a16:creationId xmlns:a16="http://schemas.microsoft.com/office/drawing/2014/main" id="{EC9D09AA-B7A7-4ED0-8C43-3AB1EEEEB06F}"/>
              </a:ext>
            </a:extLst>
          </p:cNvPr>
          <p:cNvGrpSpPr/>
          <p:nvPr/>
        </p:nvGrpSpPr>
        <p:grpSpPr>
          <a:xfrm rot="16200000">
            <a:off x="11724722" y="4396281"/>
            <a:ext cx="423260" cy="3690906"/>
            <a:chOff x="4469627" y="5613868"/>
            <a:chExt cx="423260" cy="1654721"/>
          </a:xfrm>
        </p:grpSpPr>
        <p:cxnSp>
          <p:nvCxnSpPr>
            <p:cNvPr id="509" name="Straight Connector 508">
              <a:extLst>
                <a:ext uri="{FF2B5EF4-FFF2-40B4-BE49-F238E27FC236}">
                  <a16:creationId xmlns:a16="http://schemas.microsoft.com/office/drawing/2014/main" id="{D651B5BB-B8E1-49B5-BB22-1B65F9F0DB5A}"/>
                </a:ext>
              </a:extLst>
            </p:cNvPr>
            <p:cNvCxnSpPr/>
            <p:nvPr/>
          </p:nvCxnSpPr>
          <p:spPr>
            <a:xfrm>
              <a:off x="4892887" y="5613868"/>
              <a:ext cx="0" cy="1654721"/>
            </a:xfrm>
            <a:prstGeom prst="line">
              <a:avLst/>
            </a:prstGeom>
            <a:ln w="19050">
              <a:solidFill>
                <a:srgbClr val="FEC5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0" name="Straight Arrow Connector 509">
              <a:extLst>
                <a:ext uri="{FF2B5EF4-FFF2-40B4-BE49-F238E27FC236}">
                  <a16:creationId xmlns:a16="http://schemas.microsoft.com/office/drawing/2014/main" id="{9B2A3BEB-FA65-4B7A-992E-9605720599BF}"/>
                </a:ext>
              </a:extLst>
            </p:cNvPr>
            <p:cNvCxnSpPr/>
            <p:nvPr/>
          </p:nvCxnSpPr>
          <p:spPr>
            <a:xfrm flipH="1">
              <a:off x="4469627" y="6441229"/>
              <a:ext cx="423260" cy="0"/>
            </a:xfrm>
            <a:prstGeom prst="straightConnector1">
              <a:avLst/>
            </a:prstGeom>
            <a:ln w="19050">
              <a:solidFill>
                <a:srgbClr val="FEC500"/>
              </a:solidFill>
              <a:headEnd type="none"/>
              <a:tailEnd type="arrow" w="lg" len="med"/>
            </a:ln>
          </p:spPr>
          <p:style>
            <a:lnRef idx="1">
              <a:schemeClr val="accent1"/>
            </a:lnRef>
            <a:fillRef idx="0">
              <a:schemeClr val="accent1"/>
            </a:fillRef>
            <a:effectRef idx="0">
              <a:schemeClr val="accent1"/>
            </a:effectRef>
            <a:fontRef idx="minor">
              <a:schemeClr val="tx1"/>
            </a:fontRef>
          </p:style>
        </p:cxnSp>
      </p:grpSp>
      <p:sp>
        <p:nvSpPr>
          <p:cNvPr id="511" name="TextBox 510">
            <a:extLst>
              <a:ext uri="{FF2B5EF4-FFF2-40B4-BE49-F238E27FC236}">
                <a16:creationId xmlns:a16="http://schemas.microsoft.com/office/drawing/2014/main" id="{47258480-7639-4DD2-820C-B5D941F3EB4A}"/>
              </a:ext>
            </a:extLst>
          </p:cNvPr>
          <p:cNvSpPr txBox="1"/>
          <p:nvPr/>
        </p:nvSpPr>
        <p:spPr>
          <a:xfrm>
            <a:off x="9780873" y="6571180"/>
            <a:ext cx="4317207" cy="369332"/>
          </a:xfrm>
          <a:prstGeom prst="rect">
            <a:avLst/>
          </a:prstGeom>
          <a:noFill/>
        </p:spPr>
        <p:txBody>
          <a:bodyPr wrap="none" rtlCol="0">
            <a:spAutoFit/>
          </a:bodyPr>
          <a:lstStyle/>
          <a:p>
            <a:pPr algn="ctr" defTabSz="731504">
              <a:lnSpc>
                <a:spcPct val="90000"/>
              </a:lnSpc>
              <a:spcAft>
                <a:spcPts val="1800"/>
              </a:spcAft>
              <a:defRPr/>
            </a:pPr>
            <a:r>
              <a:rPr lang="en-US" sz="2000" dirty="0"/>
              <a:t>Accelerate transformation at scale</a:t>
            </a:r>
          </a:p>
        </p:txBody>
      </p:sp>
      <p:sp>
        <p:nvSpPr>
          <p:cNvPr id="515" name="TextBox 514">
            <a:extLst>
              <a:ext uri="{FF2B5EF4-FFF2-40B4-BE49-F238E27FC236}">
                <a16:creationId xmlns:a16="http://schemas.microsoft.com/office/drawing/2014/main" id="{420606C1-88BA-43DB-AB9D-B4E609DCFC59}"/>
              </a:ext>
            </a:extLst>
          </p:cNvPr>
          <p:cNvSpPr txBox="1"/>
          <p:nvPr/>
        </p:nvSpPr>
        <p:spPr>
          <a:xfrm>
            <a:off x="645451" y="3034709"/>
            <a:ext cx="1600517" cy="292388"/>
          </a:xfrm>
          <a:prstGeom prst="rect">
            <a:avLst/>
          </a:prstGeom>
          <a:noFill/>
        </p:spPr>
        <p:txBody>
          <a:bodyPr wrap="square" rtlCol="0">
            <a:spAutoFit/>
          </a:bodyPr>
          <a:lstStyle/>
          <a:p>
            <a:pPr algn="ctr" defTabSz="1097258">
              <a:defRPr/>
            </a:pPr>
            <a:r>
              <a:rPr lang="en-US" sz="1300" dirty="0">
                <a:solidFill>
                  <a:srgbClr val="FFFFFF"/>
                </a:solidFill>
                <a:latin typeface="Amazon Ember" panose="02000000000000000000" pitchFamily="2" charset="0"/>
                <a:ea typeface="Amazon Ember" panose="02000000000000000000" pitchFamily="2" charset="0"/>
              </a:rPr>
              <a:t>Rapid discovery</a:t>
            </a:r>
          </a:p>
        </p:txBody>
      </p:sp>
      <p:sp>
        <p:nvSpPr>
          <p:cNvPr id="516" name="TextBox 515">
            <a:extLst>
              <a:ext uri="{FF2B5EF4-FFF2-40B4-BE49-F238E27FC236}">
                <a16:creationId xmlns:a16="http://schemas.microsoft.com/office/drawing/2014/main" id="{5A04D37E-46E9-4B98-B81E-960D1B4BB0CD}"/>
              </a:ext>
            </a:extLst>
          </p:cNvPr>
          <p:cNvSpPr txBox="1"/>
          <p:nvPr/>
        </p:nvSpPr>
        <p:spPr>
          <a:xfrm>
            <a:off x="2195665" y="3062742"/>
            <a:ext cx="1600517" cy="292388"/>
          </a:xfrm>
          <a:prstGeom prst="rect">
            <a:avLst/>
          </a:prstGeom>
          <a:noFill/>
        </p:spPr>
        <p:txBody>
          <a:bodyPr wrap="square" rtlCol="0">
            <a:spAutoFit/>
          </a:bodyPr>
          <a:lstStyle/>
          <a:p>
            <a:pPr algn="ctr" defTabSz="1097258">
              <a:defRPr/>
            </a:pPr>
            <a:r>
              <a:rPr lang="en-US" sz="1300" dirty="0">
                <a:solidFill>
                  <a:srgbClr val="FFFFFF"/>
                </a:solidFill>
                <a:latin typeface="Amazon Ember" panose="02000000000000000000" pitchFamily="2" charset="0"/>
                <a:ea typeface="Amazon Ember" panose="02000000000000000000" pitchFamily="2" charset="0"/>
              </a:rPr>
              <a:t>TCO report</a:t>
            </a:r>
          </a:p>
        </p:txBody>
      </p:sp>
      <p:grpSp>
        <p:nvGrpSpPr>
          <p:cNvPr id="536" name="Group 535">
            <a:extLst>
              <a:ext uri="{FF2B5EF4-FFF2-40B4-BE49-F238E27FC236}">
                <a16:creationId xmlns:a16="http://schemas.microsoft.com/office/drawing/2014/main" id="{F9F7A2C9-9D96-4195-B968-41F3A417975A}"/>
              </a:ext>
            </a:extLst>
          </p:cNvPr>
          <p:cNvGrpSpPr/>
          <p:nvPr/>
        </p:nvGrpSpPr>
        <p:grpSpPr>
          <a:xfrm>
            <a:off x="1124866" y="2319879"/>
            <a:ext cx="626958" cy="627894"/>
            <a:chOff x="902624" y="3935240"/>
            <a:chExt cx="626958" cy="627894"/>
          </a:xfrm>
        </p:grpSpPr>
        <p:grpSp>
          <p:nvGrpSpPr>
            <p:cNvPr id="523" name="Group 522">
              <a:extLst>
                <a:ext uri="{FF2B5EF4-FFF2-40B4-BE49-F238E27FC236}">
                  <a16:creationId xmlns:a16="http://schemas.microsoft.com/office/drawing/2014/main" id="{94E8E26A-0598-43A6-B472-91F26953FEBE}"/>
                </a:ext>
              </a:extLst>
            </p:cNvPr>
            <p:cNvGrpSpPr/>
            <p:nvPr/>
          </p:nvGrpSpPr>
          <p:grpSpPr>
            <a:xfrm>
              <a:off x="1037650" y="4067643"/>
              <a:ext cx="415547" cy="415514"/>
              <a:chOff x="973057" y="3594891"/>
              <a:chExt cx="346289" cy="346262"/>
            </a:xfrm>
          </p:grpSpPr>
          <p:sp>
            <p:nvSpPr>
              <p:cNvPr id="524" name="Oval 523">
                <a:extLst>
                  <a:ext uri="{FF2B5EF4-FFF2-40B4-BE49-F238E27FC236}">
                    <a16:creationId xmlns:a16="http://schemas.microsoft.com/office/drawing/2014/main" id="{3ED8C8DE-4B2F-4463-9917-E0AB08143F47}"/>
                  </a:ext>
                </a:extLst>
              </p:cNvPr>
              <p:cNvSpPr/>
              <p:nvPr/>
            </p:nvSpPr>
            <p:spPr>
              <a:xfrm>
                <a:off x="1250745" y="3872552"/>
                <a:ext cx="68601" cy="686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58">
                  <a:defRPr/>
                </a:pPr>
                <a:endParaRPr lang="en-US" sz="2520" dirty="0">
                  <a:solidFill>
                    <a:srgbClr val="FFFFFF"/>
                  </a:solidFill>
                  <a:latin typeface="Calibri" panose="020F0502020204030204"/>
                </a:endParaRPr>
              </a:p>
            </p:txBody>
          </p:sp>
          <p:sp>
            <p:nvSpPr>
              <p:cNvPr id="525" name="Oval 524">
                <a:extLst>
                  <a:ext uri="{FF2B5EF4-FFF2-40B4-BE49-F238E27FC236}">
                    <a16:creationId xmlns:a16="http://schemas.microsoft.com/office/drawing/2014/main" id="{9271FFE6-3198-412F-9638-11982DBDAA4F}"/>
                  </a:ext>
                </a:extLst>
              </p:cNvPr>
              <p:cNvSpPr/>
              <p:nvPr/>
            </p:nvSpPr>
            <p:spPr>
              <a:xfrm>
                <a:off x="973057" y="3594891"/>
                <a:ext cx="282934" cy="282934"/>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58">
                  <a:defRPr/>
                </a:pPr>
                <a:endParaRPr lang="en-US" sz="2520">
                  <a:solidFill>
                    <a:srgbClr val="FFFFFF"/>
                  </a:solidFill>
                  <a:latin typeface="Calibri" panose="020F0502020204030204"/>
                </a:endParaRPr>
              </a:p>
            </p:txBody>
          </p:sp>
        </p:grpSp>
        <p:pic>
          <p:nvPicPr>
            <p:cNvPr id="533" name="Picture 532">
              <a:extLst>
                <a:ext uri="{FF2B5EF4-FFF2-40B4-BE49-F238E27FC236}">
                  <a16:creationId xmlns:a16="http://schemas.microsoft.com/office/drawing/2014/main" id="{930CA3A3-04C5-4E0F-860D-2D189E039D28}"/>
                </a:ext>
              </a:extLst>
            </p:cNvPr>
            <p:cNvPicPr>
              <a:picLocks noChangeAspect="1"/>
            </p:cNvPicPr>
            <p:nvPr/>
          </p:nvPicPr>
          <p:blipFill>
            <a:blip r:embed="rId3">
              <a:lum bright="70000" contrast="-70000"/>
              <a:extLst>
                <a:ext uri="{28A0092B-C50C-407E-A947-70E740481C1C}">
                  <a14:useLocalDpi xmlns:a14="http://schemas.microsoft.com/office/drawing/2010/main"/>
                </a:ext>
              </a:extLst>
            </a:blip>
            <a:stretch>
              <a:fillRect/>
            </a:stretch>
          </p:blipFill>
          <p:spPr>
            <a:xfrm>
              <a:off x="902624" y="3935240"/>
              <a:ext cx="626958" cy="627894"/>
            </a:xfrm>
            <a:prstGeom prst="rect">
              <a:avLst/>
            </a:prstGeom>
          </p:spPr>
        </p:pic>
      </p:grpSp>
      <p:grpSp>
        <p:nvGrpSpPr>
          <p:cNvPr id="537" name="Group 536">
            <a:extLst>
              <a:ext uri="{FF2B5EF4-FFF2-40B4-BE49-F238E27FC236}">
                <a16:creationId xmlns:a16="http://schemas.microsoft.com/office/drawing/2014/main" id="{A46832A4-7EF5-4E37-A423-88280AFD67D6}"/>
              </a:ext>
            </a:extLst>
          </p:cNvPr>
          <p:cNvGrpSpPr/>
          <p:nvPr/>
        </p:nvGrpSpPr>
        <p:grpSpPr>
          <a:xfrm>
            <a:off x="2759524" y="2338831"/>
            <a:ext cx="472800" cy="615314"/>
            <a:chOff x="2537282" y="3954193"/>
            <a:chExt cx="472800" cy="615314"/>
          </a:xfrm>
        </p:grpSpPr>
        <p:grpSp>
          <p:nvGrpSpPr>
            <p:cNvPr id="517" name="Group 516">
              <a:extLst>
                <a:ext uri="{FF2B5EF4-FFF2-40B4-BE49-F238E27FC236}">
                  <a16:creationId xmlns:a16="http://schemas.microsoft.com/office/drawing/2014/main" id="{72FE4AF6-87F0-4453-B1E1-5FAE1A824743}"/>
                </a:ext>
              </a:extLst>
            </p:cNvPr>
            <p:cNvGrpSpPr/>
            <p:nvPr/>
          </p:nvGrpSpPr>
          <p:grpSpPr>
            <a:xfrm>
              <a:off x="2621465" y="4130643"/>
              <a:ext cx="311459" cy="253766"/>
              <a:chOff x="2459532" y="3646856"/>
              <a:chExt cx="259548" cy="211471"/>
            </a:xfrm>
          </p:grpSpPr>
          <p:cxnSp>
            <p:nvCxnSpPr>
              <p:cNvPr id="518" name="Straight Connector 517">
                <a:extLst>
                  <a:ext uri="{FF2B5EF4-FFF2-40B4-BE49-F238E27FC236}">
                    <a16:creationId xmlns:a16="http://schemas.microsoft.com/office/drawing/2014/main" id="{C3CFE344-B761-4A36-8C79-0FB80109BE62}"/>
                  </a:ext>
                </a:extLst>
              </p:cNvPr>
              <p:cNvCxnSpPr/>
              <p:nvPr/>
            </p:nvCxnSpPr>
            <p:spPr>
              <a:xfrm>
                <a:off x="2459532" y="3755594"/>
                <a:ext cx="0" cy="102729"/>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9" name="Straight Connector 518">
                <a:extLst>
                  <a:ext uri="{FF2B5EF4-FFF2-40B4-BE49-F238E27FC236}">
                    <a16:creationId xmlns:a16="http://schemas.microsoft.com/office/drawing/2014/main" id="{F258176B-3E32-4A8F-A93A-F3FBD37E274F}"/>
                  </a:ext>
                </a:extLst>
              </p:cNvPr>
              <p:cNvCxnSpPr/>
              <p:nvPr/>
            </p:nvCxnSpPr>
            <p:spPr>
              <a:xfrm>
                <a:off x="2545252" y="3721437"/>
                <a:ext cx="0" cy="136886"/>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0" name="Straight Connector 519">
                <a:extLst>
                  <a:ext uri="{FF2B5EF4-FFF2-40B4-BE49-F238E27FC236}">
                    <a16:creationId xmlns:a16="http://schemas.microsoft.com/office/drawing/2014/main" id="{1BACDD88-D191-47C7-87FF-548347FCC1D1}"/>
                  </a:ext>
                </a:extLst>
              </p:cNvPr>
              <p:cNvCxnSpPr/>
              <p:nvPr/>
            </p:nvCxnSpPr>
            <p:spPr>
              <a:xfrm>
                <a:off x="2633355" y="3679805"/>
                <a:ext cx="0" cy="178522"/>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1" name="Straight Connector 520">
                <a:extLst>
                  <a:ext uri="{FF2B5EF4-FFF2-40B4-BE49-F238E27FC236}">
                    <a16:creationId xmlns:a16="http://schemas.microsoft.com/office/drawing/2014/main" id="{E459E587-BECF-42D8-B3BC-8C48E0A3995D}"/>
                  </a:ext>
                </a:extLst>
              </p:cNvPr>
              <p:cNvCxnSpPr/>
              <p:nvPr/>
            </p:nvCxnSpPr>
            <p:spPr>
              <a:xfrm>
                <a:off x="2719080" y="3646856"/>
                <a:ext cx="0" cy="211471"/>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534" name="Picture 533">
              <a:extLst>
                <a:ext uri="{FF2B5EF4-FFF2-40B4-BE49-F238E27FC236}">
                  <a16:creationId xmlns:a16="http://schemas.microsoft.com/office/drawing/2014/main" id="{A40F7A6C-16D5-437C-9EBC-FF27DC4BEFCB}"/>
                </a:ext>
              </a:extLst>
            </p:cNvPr>
            <p:cNvPicPr>
              <a:picLocks noChangeAspect="1"/>
            </p:cNvPicPr>
            <p:nvPr/>
          </p:nvPicPr>
          <p:blipFill>
            <a:blip r:embed="rId4">
              <a:lum bright="70000" contrast="-70000"/>
              <a:extLst>
                <a:ext uri="{28A0092B-C50C-407E-A947-70E740481C1C}">
                  <a14:useLocalDpi xmlns:a14="http://schemas.microsoft.com/office/drawing/2010/main"/>
                </a:ext>
              </a:extLst>
            </a:blip>
            <a:stretch>
              <a:fillRect/>
            </a:stretch>
          </p:blipFill>
          <p:spPr>
            <a:xfrm>
              <a:off x="2537282" y="3954193"/>
              <a:ext cx="472800" cy="615314"/>
            </a:xfrm>
            <a:prstGeom prst="rect">
              <a:avLst/>
            </a:prstGeom>
          </p:spPr>
        </p:pic>
      </p:grpSp>
      <p:sp>
        <p:nvSpPr>
          <p:cNvPr id="528" name="TextBox 527">
            <a:extLst>
              <a:ext uri="{FF2B5EF4-FFF2-40B4-BE49-F238E27FC236}">
                <a16:creationId xmlns:a16="http://schemas.microsoft.com/office/drawing/2014/main" id="{4A7B13AE-07D4-4777-8C7F-A447352037C5}"/>
              </a:ext>
            </a:extLst>
          </p:cNvPr>
          <p:cNvSpPr txBox="1"/>
          <p:nvPr/>
        </p:nvSpPr>
        <p:spPr>
          <a:xfrm>
            <a:off x="638088" y="5456324"/>
            <a:ext cx="1600517" cy="492443"/>
          </a:xfrm>
          <a:prstGeom prst="rect">
            <a:avLst/>
          </a:prstGeom>
          <a:noFill/>
        </p:spPr>
        <p:txBody>
          <a:bodyPr wrap="square" rtlCol="0">
            <a:spAutoFit/>
          </a:bodyPr>
          <a:lstStyle/>
          <a:p>
            <a:pPr algn="ctr" defTabSz="1097258">
              <a:defRPr/>
            </a:pPr>
            <a:r>
              <a:rPr lang="en-US" sz="1300" dirty="0">
                <a:solidFill>
                  <a:srgbClr val="FFFFFF"/>
                </a:solidFill>
                <a:latin typeface="Amazon Ember" panose="02000000000000000000" pitchFamily="2" charset="0"/>
                <a:ea typeface="Amazon Ember" panose="02000000000000000000" pitchFamily="2" charset="0"/>
              </a:rPr>
              <a:t>Briefings &amp; workshops</a:t>
            </a:r>
          </a:p>
        </p:txBody>
      </p:sp>
      <p:sp>
        <p:nvSpPr>
          <p:cNvPr id="529" name="TextBox 528">
            <a:extLst>
              <a:ext uri="{FF2B5EF4-FFF2-40B4-BE49-F238E27FC236}">
                <a16:creationId xmlns:a16="http://schemas.microsoft.com/office/drawing/2014/main" id="{58707011-A219-43F2-9797-B0113C859176}"/>
              </a:ext>
            </a:extLst>
          </p:cNvPr>
          <p:cNvSpPr txBox="1"/>
          <p:nvPr/>
        </p:nvSpPr>
        <p:spPr>
          <a:xfrm>
            <a:off x="1397463" y="4312094"/>
            <a:ext cx="1841896" cy="492443"/>
          </a:xfrm>
          <a:prstGeom prst="rect">
            <a:avLst/>
          </a:prstGeom>
          <a:noFill/>
        </p:spPr>
        <p:txBody>
          <a:bodyPr wrap="square" rtlCol="0">
            <a:spAutoFit/>
          </a:bodyPr>
          <a:lstStyle/>
          <a:p>
            <a:pPr algn="ctr" defTabSz="1097258">
              <a:defRPr/>
            </a:pPr>
            <a:r>
              <a:rPr lang="en-US" sz="1300" dirty="0">
                <a:solidFill>
                  <a:srgbClr val="FFFFFF"/>
                </a:solidFill>
                <a:latin typeface="Amazon Ember" panose="02000000000000000000" pitchFamily="2" charset="0"/>
                <a:ea typeface="Amazon Ember" panose="02000000000000000000" pitchFamily="2" charset="0"/>
              </a:rPr>
              <a:t>Migration Readiness Assessment</a:t>
            </a:r>
          </a:p>
        </p:txBody>
      </p:sp>
      <p:grpSp>
        <p:nvGrpSpPr>
          <p:cNvPr id="554" name="Graphic 412">
            <a:extLst>
              <a:ext uri="{FF2B5EF4-FFF2-40B4-BE49-F238E27FC236}">
                <a16:creationId xmlns:a16="http://schemas.microsoft.com/office/drawing/2014/main" id="{F42F8ADC-376B-43C2-84FF-0D8281EA3BE2}"/>
              </a:ext>
            </a:extLst>
          </p:cNvPr>
          <p:cNvGrpSpPr/>
          <p:nvPr/>
        </p:nvGrpSpPr>
        <p:grpSpPr>
          <a:xfrm>
            <a:off x="1136675" y="4777630"/>
            <a:ext cx="643689" cy="643689"/>
            <a:chOff x="4244008" y="5593287"/>
            <a:chExt cx="643689" cy="643689"/>
          </a:xfrm>
        </p:grpSpPr>
        <p:sp>
          <p:nvSpPr>
            <p:cNvPr id="555" name="Freeform: Shape 554">
              <a:extLst>
                <a:ext uri="{FF2B5EF4-FFF2-40B4-BE49-F238E27FC236}">
                  <a16:creationId xmlns:a16="http://schemas.microsoft.com/office/drawing/2014/main" id="{D48A1F26-633D-468E-9A38-0A7D4D51836E}"/>
                </a:ext>
              </a:extLst>
            </p:cNvPr>
            <p:cNvSpPr/>
            <p:nvPr/>
          </p:nvSpPr>
          <p:spPr>
            <a:xfrm>
              <a:off x="4380792" y="5645104"/>
              <a:ext cx="138393" cy="138393"/>
            </a:xfrm>
            <a:custGeom>
              <a:avLst/>
              <a:gdLst>
                <a:gd name="connsiteX0" fmla="*/ 4828 w 138393"/>
                <a:gd name="connsiteY0" fmla="*/ 70484 h 138393"/>
                <a:gd name="connsiteX1" fmla="*/ 70484 w 138393"/>
                <a:gd name="connsiteY1" fmla="*/ 4828 h 138393"/>
                <a:gd name="connsiteX2" fmla="*/ 136140 w 138393"/>
                <a:gd name="connsiteY2" fmla="*/ 70484 h 138393"/>
                <a:gd name="connsiteX3" fmla="*/ 70484 w 138393"/>
                <a:gd name="connsiteY3" fmla="*/ 136140 h 138393"/>
                <a:gd name="connsiteX4" fmla="*/ 4828 w 138393"/>
                <a:gd name="connsiteY4" fmla="*/ 70484 h 13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393" h="138393">
                  <a:moveTo>
                    <a:pt x="4828" y="70484"/>
                  </a:moveTo>
                  <a:cubicBezTo>
                    <a:pt x="4828" y="34116"/>
                    <a:pt x="34437" y="4828"/>
                    <a:pt x="70484" y="4828"/>
                  </a:cubicBezTo>
                  <a:cubicBezTo>
                    <a:pt x="106852" y="4828"/>
                    <a:pt x="136140" y="34437"/>
                    <a:pt x="136140" y="70484"/>
                  </a:cubicBezTo>
                  <a:cubicBezTo>
                    <a:pt x="136140" y="106852"/>
                    <a:pt x="106531" y="136140"/>
                    <a:pt x="70484" y="136140"/>
                  </a:cubicBezTo>
                  <a:cubicBezTo>
                    <a:pt x="34116" y="136462"/>
                    <a:pt x="4828" y="106852"/>
                    <a:pt x="4828" y="70484"/>
                  </a:cubicBezTo>
                </a:path>
              </a:pathLst>
            </a:custGeom>
            <a:ln>
              <a:solidFill>
                <a:schemeClr val="tx1"/>
              </a:solidFill>
            </a:ln>
          </p:spPr>
          <p:txBody>
            <a:bodyPr rtlCol="0" anchor="ctr"/>
            <a:lstStyle/>
            <a:p>
              <a:pPr defTabSz="731504">
                <a:defRPr/>
              </a:pPr>
              <a:endParaRPr lang="en-US" sz="1800">
                <a:solidFill>
                  <a:srgbClr val="FFFFFF"/>
                </a:solidFill>
              </a:endParaRPr>
            </a:p>
          </p:txBody>
        </p:sp>
        <p:sp>
          <p:nvSpPr>
            <p:cNvPr id="556" name="Freeform: Shape 555">
              <a:extLst>
                <a:ext uri="{FF2B5EF4-FFF2-40B4-BE49-F238E27FC236}">
                  <a16:creationId xmlns:a16="http://schemas.microsoft.com/office/drawing/2014/main" id="{99FBBAA0-7A17-4ACF-9664-FBC292325ED4}"/>
                </a:ext>
              </a:extLst>
            </p:cNvPr>
            <p:cNvSpPr/>
            <p:nvPr/>
          </p:nvSpPr>
          <p:spPr>
            <a:xfrm>
              <a:off x="4330906" y="5780279"/>
              <a:ext cx="199544" cy="128738"/>
            </a:xfrm>
            <a:custGeom>
              <a:avLst/>
              <a:gdLst>
                <a:gd name="connsiteX0" fmla="*/ 195360 w 199543"/>
                <a:gd name="connsiteY0" fmla="*/ 33472 h 128737"/>
                <a:gd name="connsiteX1" fmla="*/ 179589 w 199543"/>
                <a:gd name="connsiteY1" fmla="*/ 21885 h 128737"/>
                <a:gd name="connsiteX2" fmla="*/ 120370 w 199543"/>
                <a:gd name="connsiteY2" fmla="*/ 4828 h 128737"/>
                <a:gd name="connsiteX3" fmla="*/ 4828 w 199543"/>
                <a:gd name="connsiteY3" fmla="*/ 124876 h 128737"/>
                <a:gd name="connsiteX4" fmla="*/ 68553 w 199543"/>
                <a:gd name="connsiteY4" fmla="*/ 124876 h 1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543" h="128737">
                  <a:moveTo>
                    <a:pt x="195360" y="33472"/>
                  </a:moveTo>
                  <a:cubicBezTo>
                    <a:pt x="190532" y="29288"/>
                    <a:pt x="185382" y="25104"/>
                    <a:pt x="179589" y="21885"/>
                  </a:cubicBezTo>
                  <a:cubicBezTo>
                    <a:pt x="162210" y="11265"/>
                    <a:pt x="141933" y="4828"/>
                    <a:pt x="120370" y="4828"/>
                  </a:cubicBezTo>
                  <a:cubicBezTo>
                    <a:pt x="56645" y="4828"/>
                    <a:pt x="4828" y="58576"/>
                    <a:pt x="4828" y="124876"/>
                  </a:cubicBezTo>
                  <a:lnTo>
                    <a:pt x="68553" y="124876"/>
                  </a:lnTo>
                </a:path>
              </a:pathLst>
            </a:custGeom>
            <a:ln>
              <a:solidFill>
                <a:schemeClr val="tx1"/>
              </a:solidFill>
            </a:ln>
          </p:spPr>
          <p:txBody>
            <a:bodyPr rtlCol="0" anchor="ctr"/>
            <a:lstStyle/>
            <a:p>
              <a:pPr defTabSz="731504">
                <a:defRPr/>
              </a:pPr>
              <a:endParaRPr lang="en-US" sz="1800">
                <a:solidFill>
                  <a:srgbClr val="FFFFFF"/>
                </a:solidFill>
              </a:endParaRPr>
            </a:p>
          </p:txBody>
        </p:sp>
        <p:sp>
          <p:nvSpPr>
            <p:cNvPr id="557" name="Freeform: Shape 556">
              <a:extLst>
                <a:ext uri="{FF2B5EF4-FFF2-40B4-BE49-F238E27FC236}">
                  <a16:creationId xmlns:a16="http://schemas.microsoft.com/office/drawing/2014/main" id="{1C267552-F29A-4B6D-9D2E-A87A7BF4A5A7}"/>
                </a:ext>
              </a:extLst>
            </p:cNvPr>
            <p:cNvSpPr/>
            <p:nvPr/>
          </p:nvSpPr>
          <p:spPr>
            <a:xfrm>
              <a:off x="4557806" y="5918994"/>
              <a:ext cx="241383" cy="28966"/>
            </a:xfrm>
            <a:custGeom>
              <a:avLst/>
              <a:gdLst>
                <a:gd name="connsiteX0" fmla="*/ 4828 w 241383"/>
                <a:gd name="connsiteY0" fmla="*/ 24138 h 28966"/>
                <a:gd name="connsiteX1" fmla="*/ 224004 w 241383"/>
                <a:gd name="connsiteY1" fmla="*/ 24138 h 28966"/>
                <a:gd name="connsiteX2" fmla="*/ 236556 w 241383"/>
                <a:gd name="connsiteY2" fmla="*/ 19633 h 28966"/>
                <a:gd name="connsiteX3" fmla="*/ 238165 w 241383"/>
                <a:gd name="connsiteY3" fmla="*/ 18345 h 28966"/>
                <a:gd name="connsiteX4" fmla="*/ 238165 w 241383"/>
                <a:gd name="connsiteY4" fmla="*/ 4828 h 28966"/>
                <a:gd name="connsiteX5" fmla="*/ 168003 w 241383"/>
                <a:gd name="connsiteY5" fmla="*/ 4828 h 28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383" h="28966">
                  <a:moveTo>
                    <a:pt x="4828" y="24138"/>
                  </a:moveTo>
                  <a:lnTo>
                    <a:pt x="224004" y="24138"/>
                  </a:lnTo>
                  <a:cubicBezTo>
                    <a:pt x="228510" y="24138"/>
                    <a:pt x="233015" y="22529"/>
                    <a:pt x="236556" y="19633"/>
                  </a:cubicBezTo>
                  <a:lnTo>
                    <a:pt x="238165" y="18345"/>
                  </a:lnTo>
                  <a:lnTo>
                    <a:pt x="238165" y="4828"/>
                  </a:lnTo>
                  <a:lnTo>
                    <a:pt x="168003" y="4828"/>
                  </a:lnTo>
                </a:path>
              </a:pathLst>
            </a:custGeom>
            <a:ln>
              <a:solidFill>
                <a:schemeClr val="tx1"/>
              </a:solidFill>
            </a:ln>
          </p:spPr>
          <p:txBody>
            <a:bodyPr rtlCol="0" anchor="ctr"/>
            <a:lstStyle/>
            <a:p>
              <a:pPr defTabSz="731504">
                <a:defRPr/>
              </a:pPr>
              <a:endParaRPr lang="en-US" sz="1800">
                <a:solidFill>
                  <a:srgbClr val="FFFFFF"/>
                </a:solidFill>
              </a:endParaRPr>
            </a:p>
          </p:txBody>
        </p:sp>
        <p:sp>
          <p:nvSpPr>
            <p:cNvPr id="558" name="Freeform: Shape 557">
              <a:extLst>
                <a:ext uri="{FF2B5EF4-FFF2-40B4-BE49-F238E27FC236}">
                  <a16:creationId xmlns:a16="http://schemas.microsoft.com/office/drawing/2014/main" id="{A9035080-C087-436F-98BE-816278BE6607}"/>
                </a:ext>
              </a:extLst>
            </p:cNvPr>
            <p:cNvSpPr/>
            <p:nvPr/>
          </p:nvSpPr>
          <p:spPr>
            <a:xfrm>
              <a:off x="4568105" y="5776738"/>
              <a:ext cx="180233" cy="125519"/>
            </a:xfrm>
            <a:custGeom>
              <a:avLst/>
              <a:gdLst>
                <a:gd name="connsiteX0" fmla="*/ 177014 w 180232"/>
                <a:gd name="connsiteY0" fmla="*/ 117795 h 125519"/>
                <a:gd name="connsiteX1" fmla="*/ 172187 w 180232"/>
                <a:gd name="connsiteY1" fmla="*/ 122623 h 125519"/>
                <a:gd name="connsiteX2" fmla="*/ 9655 w 180232"/>
                <a:gd name="connsiteY2" fmla="*/ 122623 h 125519"/>
                <a:gd name="connsiteX3" fmla="*/ 4828 w 180232"/>
                <a:gd name="connsiteY3" fmla="*/ 117795 h 125519"/>
                <a:gd name="connsiteX4" fmla="*/ 4828 w 180232"/>
                <a:gd name="connsiteY4" fmla="*/ 9655 h 125519"/>
                <a:gd name="connsiteX5" fmla="*/ 9655 w 180232"/>
                <a:gd name="connsiteY5" fmla="*/ 4828 h 125519"/>
                <a:gd name="connsiteX6" fmla="*/ 171543 w 180232"/>
                <a:gd name="connsiteY6" fmla="*/ 4828 h 125519"/>
                <a:gd name="connsiteX7" fmla="*/ 176371 w 180232"/>
                <a:gd name="connsiteY7" fmla="*/ 9655 h 125519"/>
                <a:gd name="connsiteX8" fmla="*/ 177014 w 180232"/>
                <a:gd name="connsiteY8" fmla="*/ 117795 h 12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232" h="125519">
                  <a:moveTo>
                    <a:pt x="177014" y="117795"/>
                  </a:moveTo>
                  <a:cubicBezTo>
                    <a:pt x="177014" y="120370"/>
                    <a:pt x="174762" y="122623"/>
                    <a:pt x="172187" y="122623"/>
                  </a:cubicBezTo>
                  <a:lnTo>
                    <a:pt x="9655" y="122623"/>
                  </a:lnTo>
                  <a:cubicBezTo>
                    <a:pt x="7081" y="122623"/>
                    <a:pt x="4828" y="120370"/>
                    <a:pt x="4828" y="117795"/>
                  </a:cubicBezTo>
                  <a:lnTo>
                    <a:pt x="4828" y="9655"/>
                  </a:lnTo>
                  <a:cubicBezTo>
                    <a:pt x="4828" y="7081"/>
                    <a:pt x="7081" y="4828"/>
                    <a:pt x="9655" y="4828"/>
                  </a:cubicBezTo>
                  <a:lnTo>
                    <a:pt x="171543" y="4828"/>
                  </a:lnTo>
                  <a:cubicBezTo>
                    <a:pt x="174118" y="4828"/>
                    <a:pt x="176371" y="7081"/>
                    <a:pt x="176371" y="9655"/>
                  </a:cubicBezTo>
                  <a:lnTo>
                    <a:pt x="177014" y="117795"/>
                  </a:lnTo>
                  <a:close/>
                </a:path>
              </a:pathLst>
            </a:custGeom>
            <a:ln>
              <a:solidFill>
                <a:schemeClr val="tx1"/>
              </a:solidFill>
            </a:ln>
          </p:spPr>
          <p:txBody>
            <a:bodyPr rtlCol="0" anchor="ctr"/>
            <a:lstStyle/>
            <a:p>
              <a:pPr defTabSz="731504">
                <a:defRPr/>
              </a:pPr>
              <a:endParaRPr lang="en-US" sz="1800" dirty="0">
                <a:solidFill>
                  <a:srgbClr val="FFFFFF"/>
                </a:solidFill>
              </a:endParaRPr>
            </a:p>
          </p:txBody>
        </p:sp>
        <p:sp>
          <p:nvSpPr>
            <p:cNvPr id="559" name="Freeform: Shape 558">
              <a:extLst>
                <a:ext uri="{FF2B5EF4-FFF2-40B4-BE49-F238E27FC236}">
                  <a16:creationId xmlns:a16="http://schemas.microsoft.com/office/drawing/2014/main" id="{D92DD8DE-30A7-40F5-A9B5-94A2B3050642}"/>
                </a:ext>
              </a:extLst>
            </p:cNvPr>
            <p:cNvSpPr/>
            <p:nvPr/>
          </p:nvSpPr>
          <p:spPr>
            <a:xfrm>
              <a:off x="4540749" y="5752600"/>
              <a:ext cx="234946" cy="173796"/>
            </a:xfrm>
            <a:custGeom>
              <a:avLst/>
              <a:gdLst>
                <a:gd name="connsiteX0" fmla="*/ 4828 w 234946"/>
                <a:gd name="connsiteY0" fmla="*/ 130025 h 173796"/>
                <a:gd name="connsiteX1" fmla="*/ 4828 w 234946"/>
                <a:gd name="connsiteY1" fmla="*/ 10299 h 173796"/>
                <a:gd name="connsiteX2" fmla="*/ 10299 w 234946"/>
                <a:gd name="connsiteY2" fmla="*/ 4828 h 173796"/>
                <a:gd name="connsiteX3" fmla="*/ 226900 w 234946"/>
                <a:gd name="connsiteY3" fmla="*/ 4828 h 173796"/>
                <a:gd name="connsiteX4" fmla="*/ 232372 w 234946"/>
                <a:gd name="connsiteY4" fmla="*/ 10299 h 173796"/>
                <a:gd name="connsiteX5" fmla="*/ 232372 w 234946"/>
                <a:gd name="connsiteY5" fmla="*/ 165750 h 173796"/>
                <a:gd name="connsiteX6" fmla="*/ 226900 w 234946"/>
                <a:gd name="connsiteY6" fmla="*/ 171221 h 173796"/>
                <a:gd name="connsiteX7" fmla="*/ 26391 w 234946"/>
                <a:gd name="connsiteY7" fmla="*/ 171221 h 173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4946" h="173796">
                  <a:moveTo>
                    <a:pt x="4828" y="130025"/>
                  </a:moveTo>
                  <a:lnTo>
                    <a:pt x="4828" y="10299"/>
                  </a:lnTo>
                  <a:cubicBezTo>
                    <a:pt x="4828" y="7402"/>
                    <a:pt x="7402" y="4828"/>
                    <a:pt x="10299" y="4828"/>
                  </a:cubicBezTo>
                  <a:lnTo>
                    <a:pt x="226900" y="4828"/>
                  </a:lnTo>
                  <a:cubicBezTo>
                    <a:pt x="229797" y="4828"/>
                    <a:pt x="232372" y="7402"/>
                    <a:pt x="232372" y="10299"/>
                  </a:cubicBezTo>
                  <a:lnTo>
                    <a:pt x="232372" y="165750"/>
                  </a:lnTo>
                  <a:cubicBezTo>
                    <a:pt x="232372" y="168647"/>
                    <a:pt x="229797" y="171221"/>
                    <a:pt x="226900" y="171221"/>
                  </a:cubicBezTo>
                  <a:lnTo>
                    <a:pt x="26391" y="171221"/>
                  </a:lnTo>
                </a:path>
              </a:pathLst>
            </a:custGeom>
            <a:ln>
              <a:solidFill>
                <a:schemeClr val="tx1"/>
              </a:solidFill>
            </a:ln>
          </p:spPr>
          <p:txBody>
            <a:bodyPr rtlCol="0" anchor="ctr"/>
            <a:lstStyle/>
            <a:p>
              <a:pPr defTabSz="731504">
                <a:defRPr/>
              </a:pPr>
              <a:endParaRPr lang="en-US" sz="1800">
                <a:solidFill>
                  <a:srgbClr val="FFFFFF"/>
                </a:solidFill>
              </a:endParaRPr>
            </a:p>
          </p:txBody>
        </p:sp>
        <p:sp>
          <p:nvSpPr>
            <p:cNvPr id="560" name="Freeform: Shape 559">
              <a:extLst>
                <a:ext uri="{FF2B5EF4-FFF2-40B4-BE49-F238E27FC236}">
                  <a16:creationId xmlns:a16="http://schemas.microsoft.com/office/drawing/2014/main" id="{E566471C-27A1-4E0D-8401-2D9F01E74876}"/>
                </a:ext>
              </a:extLst>
            </p:cNvPr>
            <p:cNvSpPr/>
            <p:nvPr/>
          </p:nvSpPr>
          <p:spPr>
            <a:xfrm>
              <a:off x="4409436" y="5872326"/>
              <a:ext cx="138393" cy="138393"/>
            </a:xfrm>
            <a:custGeom>
              <a:avLst/>
              <a:gdLst>
                <a:gd name="connsiteX0" fmla="*/ 4828 w 138393"/>
                <a:gd name="connsiteY0" fmla="*/ 70484 h 138393"/>
                <a:gd name="connsiteX1" fmla="*/ 70484 w 138393"/>
                <a:gd name="connsiteY1" fmla="*/ 4828 h 138393"/>
                <a:gd name="connsiteX2" fmla="*/ 136140 w 138393"/>
                <a:gd name="connsiteY2" fmla="*/ 70484 h 138393"/>
                <a:gd name="connsiteX3" fmla="*/ 70484 w 138393"/>
                <a:gd name="connsiteY3" fmla="*/ 136140 h 138393"/>
                <a:gd name="connsiteX4" fmla="*/ 4828 w 138393"/>
                <a:gd name="connsiteY4" fmla="*/ 70484 h 13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393" h="138393">
                  <a:moveTo>
                    <a:pt x="4828" y="70484"/>
                  </a:moveTo>
                  <a:cubicBezTo>
                    <a:pt x="4828" y="34116"/>
                    <a:pt x="34437" y="4828"/>
                    <a:pt x="70484" y="4828"/>
                  </a:cubicBezTo>
                  <a:cubicBezTo>
                    <a:pt x="106852" y="4828"/>
                    <a:pt x="136140" y="34437"/>
                    <a:pt x="136140" y="70484"/>
                  </a:cubicBezTo>
                  <a:cubicBezTo>
                    <a:pt x="136140" y="106852"/>
                    <a:pt x="106531" y="136140"/>
                    <a:pt x="70484" y="136140"/>
                  </a:cubicBezTo>
                  <a:cubicBezTo>
                    <a:pt x="34437" y="136462"/>
                    <a:pt x="4828" y="106852"/>
                    <a:pt x="4828" y="70484"/>
                  </a:cubicBezTo>
                </a:path>
              </a:pathLst>
            </a:custGeom>
            <a:ln>
              <a:solidFill>
                <a:schemeClr val="tx1"/>
              </a:solidFill>
            </a:ln>
          </p:spPr>
          <p:txBody>
            <a:bodyPr rtlCol="0" anchor="ctr"/>
            <a:lstStyle/>
            <a:p>
              <a:pPr defTabSz="731504">
                <a:defRPr/>
              </a:pPr>
              <a:endParaRPr lang="en-US" sz="1800">
                <a:solidFill>
                  <a:srgbClr val="FFFFFF"/>
                </a:solidFill>
              </a:endParaRPr>
            </a:p>
          </p:txBody>
        </p:sp>
        <p:sp>
          <p:nvSpPr>
            <p:cNvPr id="561" name="Freeform: Shape 560">
              <a:extLst>
                <a:ext uri="{FF2B5EF4-FFF2-40B4-BE49-F238E27FC236}">
                  <a16:creationId xmlns:a16="http://schemas.microsoft.com/office/drawing/2014/main" id="{B636CD27-5995-4E8D-831F-D44B99206C70}"/>
                </a:ext>
              </a:extLst>
            </p:cNvPr>
            <p:cNvSpPr/>
            <p:nvPr/>
          </p:nvSpPr>
          <p:spPr>
            <a:xfrm>
              <a:off x="4359550" y="6007823"/>
              <a:ext cx="205980" cy="128738"/>
            </a:xfrm>
            <a:custGeom>
              <a:avLst/>
              <a:gdLst>
                <a:gd name="connsiteX0" fmla="*/ 163175 w 205980"/>
                <a:gd name="connsiteY0" fmla="*/ 13196 h 128737"/>
                <a:gd name="connsiteX1" fmla="*/ 120370 w 205980"/>
                <a:gd name="connsiteY1" fmla="*/ 4828 h 128737"/>
                <a:gd name="connsiteX2" fmla="*/ 4828 w 205980"/>
                <a:gd name="connsiteY2" fmla="*/ 124876 h 128737"/>
                <a:gd name="connsiteX3" fmla="*/ 202762 w 205980"/>
                <a:gd name="connsiteY3" fmla="*/ 124876 h 128737"/>
              </a:gdLst>
              <a:ahLst/>
              <a:cxnLst>
                <a:cxn ang="0">
                  <a:pos x="connsiteX0" y="connsiteY0"/>
                </a:cxn>
                <a:cxn ang="0">
                  <a:pos x="connsiteX1" y="connsiteY1"/>
                </a:cxn>
                <a:cxn ang="0">
                  <a:pos x="connsiteX2" y="connsiteY2"/>
                </a:cxn>
                <a:cxn ang="0">
                  <a:pos x="connsiteX3" y="connsiteY3"/>
                </a:cxn>
              </a:cxnLst>
              <a:rect l="l" t="t" r="r" b="b"/>
              <a:pathLst>
                <a:path w="205980" h="128737">
                  <a:moveTo>
                    <a:pt x="163175" y="13196"/>
                  </a:moveTo>
                  <a:cubicBezTo>
                    <a:pt x="149980" y="7724"/>
                    <a:pt x="135497" y="4828"/>
                    <a:pt x="120370" y="4828"/>
                  </a:cubicBezTo>
                  <a:cubicBezTo>
                    <a:pt x="56645" y="4828"/>
                    <a:pt x="4828" y="58576"/>
                    <a:pt x="4828" y="124876"/>
                  </a:cubicBezTo>
                  <a:lnTo>
                    <a:pt x="202762" y="124876"/>
                  </a:lnTo>
                </a:path>
              </a:pathLst>
            </a:custGeom>
            <a:ln>
              <a:solidFill>
                <a:schemeClr val="tx1"/>
              </a:solidFill>
            </a:ln>
          </p:spPr>
          <p:txBody>
            <a:bodyPr rtlCol="0" anchor="ctr"/>
            <a:lstStyle/>
            <a:p>
              <a:pPr defTabSz="731504">
                <a:defRPr/>
              </a:pPr>
              <a:endParaRPr lang="en-US" sz="1800">
                <a:solidFill>
                  <a:srgbClr val="FFFFFF"/>
                </a:solidFill>
              </a:endParaRPr>
            </a:p>
          </p:txBody>
        </p:sp>
        <p:sp>
          <p:nvSpPr>
            <p:cNvPr id="562" name="Freeform: Shape 561">
              <a:extLst>
                <a:ext uri="{FF2B5EF4-FFF2-40B4-BE49-F238E27FC236}">
                  <a16:creationId xmlns:a16="http://schemas.microsoft.com/office/drawing/2014/main" id="{0E8D5A24-1646-466F-9E23-EFC71868FB1E}"/>
                </a:ext>
              </a:extLst>
            </p:cNvPr>
            <p:cNvSpPr/>
            <p:nvPr/>
          </p:nvSpPr>
          <p:spPr>
            <a:xfrm>
              <a:off x="4539783" y="5983684"/>
              <a:ext cx="102990" cy="102990"/>
            </a:xfrm>
            <a:custGeom>
              <a:avLst/>
              <a:gdLst>
                <a:gd name="connsiteX0" fmla="*/ 99450 w 102990"/>
                <a:gd name="connsiteY0" fmla="*/ 52139 h 102990"/>
                <a:gd name="connsiteX1" fmla="*/ 52139 w 102990"/>
                <a:gd name="connsiteY1" fmla="*/ 99450 h 102990"/>
                <a:gd name="connsiteX2" fmla="*/ 4828 w 102990"/>
                <a:gd name="connsiteY2" fmla="*/ 52139 h 102990"/>
                <a:gd name="connsiteX3" fmla="*/ 52139 w 102990"/>
                <a:gd name="connsiteY3" fmla="*/ 4828 h 102990"/>
                <a:gd name="connsiteX4" fmla="*/ 99450 w 102990"/>
                <a:gd name="connsiteY4" fmla="*/ 52139 h 102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90" h="102990">
                  <a:moveTo>
                    <a:pt x="99450" y="52139"/>
                  </a:moveTo>
                  <a:cubicBezTo>
                    <a:pt x="99450" y="78268"/>
                    <a:pt x="78268" y="99450"/>
                    <a:pt x="52139" y="99450"/>
                  </a:cubicBezTo>
                  <a:cubicBezTo>
                    <a:pt x="26010" y="99450"/>
                    <a:pt x="4828" y="78268"/>
                    <a:pt x="4828" y="52139"/>
                  </a:cubicBezTo>
                  <a:cubicBezTo>
                    <a:pt x="4828" y="26010"/>
                    <a:pt x="26010" y="4828"/>
                    <a:pt x="52139" y="4828"/>
                  </a:cubicBezTo>
                  <a:cubicBezTo>
                    <a:pt x="78268" y="4828"/>
                    <a:pt x="99450" y="26010"/>
                    <a:pt x="99450" y="52139"/>
                  </a:cubicBezTo>
                  <a:close/>
                </a:path>
              </a:pathLst>
            </a:custGeom>
            <a:noFill/>
            <a:ln w="19050" cap="flat">
              <a:solidFill>
                <a:srgbClr val="FF9900"/>
              </a:solidFill>
              <a:prstDash val="solid"/>
              <a:round/>
            </a:ln>
          </p:spPr>
          <p:txBody>
            <a:bodyPr rtlCol="0" anchor="ctr"/>
            <a:lstStyle/>
            <a:p>
              <a:pPr defTabSz="731504">
                <a:defRPr/>
              </a:pPr>
              <a:endParaRPr lang="en-US" sz="1800">
                <a:solidFill>
                  <a:srgbClr val="FF9900"/>
                </a:solidFill>
              </a:endParaRPr>
            </a:p>
          </p:txBody>
        </p:sp>
        <p:sp>
          <p:nvSpPr>
            <p:cNvPr id="563" name="Freeform: Shape 562">
              <a:extLst>
                <a:ext uri="{FF2B5EF4-FFF2-40B4-BE49-F238E27FC236}">
                  <a16:creationId xmlns:a16="http://schemas.microsoft.com/office/drawing/2014/main" id="{7A087460-F243-4893-AB24-EFAB4ACF3B7A}"/>
                </a:ext>
              </a:extLst>
            </p:cNvPr>
            <p:cNvSpPr/>
            <p:nvPr/>
          </p:nvSpPr>
          <p:spPr>
            <a:xfrm>
              <a:off x="4635693" y="6029708"/>
              <a:ext cx="57932" cy="9655"/>
            </a:xfrm>
            <a:custGeom>
              <a:avLst/>
              <a:gdLst>
                <a:gd name="connsiteX0" fmla="*/ 4828 w 57932"/>
                <a:gd name="connsiteY0" fmla="*/ 4828 h 9655"/>
                <a:gd name="connsiteX1" fmla="*/ 56001 w 57932"/>
                <a:gd name="connsiteY1" fmla="*/ 4828 h 9655"/>
              </a:gdLst>
              <a:ahLst/>
              <a:cxnLst>
                <a:cxn ang="0">
                  <a:pos x="connsiteX0" y="connsiteY0"/>
                </a:cxn>
                <a:cxn ang="0">
                  <a:pos x="connsiteX1" y="connsiteY1"/>
                </a:cxn>
              </a:cxnLst>
              <a:rect l="l" t="t" r="r" b="b"/>
              <a:pathLst>
                <a:path w="57932" h="9655">
                  <a:moveTo>
                    <a:pt x="4828" y="4828"/>
                  </a:moveTo>
                  <a:lnTo>
                    <a:pt x="56001" y="4828"/>
                  </a:lnTo>
                </a:path>
              </a:pathLst>
            </a:custGeom>
            <a:ln w="19050" cap="flat">
              <a:solidFill>
                <a:srgbClr val="FF9900"/>
              </a:solidFill>
              <a:prstDash val="solid"/>
              <a:round/>
            </a:ln>
          </p:spPr>
          <p:txBody>
            <a:bodyPr rtlCol="0" anchor="ctr"/>
            <a:lstStyle/>
            <a:p>
              <a:pPr defTabSz="731504">
                <a:defRPr/>
              </a:pPr>
              <a:endParaRPr lang="en-US" sz="1800">
                <a:solidFill>
                  <a:srgbClr val="FFFFFF"/>
                </a:solidFill>
              </a:endParaRPr>
            </a:p>
          </p:txBody>
        </p:sp>
        <p:sp>
          <p:nvSpPr>
            <p:cNvPr id="564" name="Freeform: Shape 563">
              <a:extLst>
                <a:ext uri="{FF2B5EF4-FFF2-40B4-BE49-F238E27FC236}">
                  <a16:creationId xmlns:a16="http://schemas.microsoft.com/office/drawing/2014/main" id="{2D8C90F2-B0CD-4E5A-98AE-CBD097D20B67}"/>
                </a:ext>
              </a:extLst>
            </p:cNvPr>
            <p:cNvSpPr/>
            <p:nvPr/>
          </p:nvSpPr>
          <p:spPr>
            <a:xfrm>
              <a:off x="4587094" y="6077985"/>
              <a:ext cx="9655" cy="57932"/>
            </a:xfrm>
            <a:custGeom>
              <a:avLst/>
              <a:gdLst>
                <a:gd name="connsiteX0" fmla="*/ 4828 w 9655"/>
                <a:gd name="connsiteY0" fmla="*/ 4828 h 57932"/>
                <a:gd name="connsiteX1" fmla="*/ 4828 w 9655"/>
                <a:gd name="connsiteY1" fmla="*/ 56001 h 57932"/>
              </a:gdLst>
              <a:ahLst/>
              <a:cxnLst>
                <a:cxn ang="0">
                  <a:pos x="connsiteX0" y="connsiteY0"/>
                </a:cxn>
                <a:cxn ang="0">
                  <a:pos x="connsiteX1" y="connsiteY1"/>
                </a:cxn>
              </a:cxnLst>
              <a:rect l="l" t="t" r="r" b="b"/>
              <a:pathLst>
                <a:path w="9655" h="57932">
                  <a:moveTo>
                    <a:pt x="4828" y="4828"/>
                  </a:moveTo>
                  <a:lnTo>
                    <a:pt x="4828" y="56001"/>
                  </a:lnTo>
                </a:path>
              </a:pathLst>
            </a:custGeom>
            <a:ln w="19050" cap="flat">
              <a:solidFill>
                <a:srgbClr val="FF9900"/>
              </a:solidFill>
              <a:prstDash val="solid"/>
              <a:round/>
            </a:ln>
          </p:spPr>
          <p:txBody>
            <a:bodyPr rtlCol="0" anchor="ctr"/>
            <a:lstStyle/>
            <a:p>
              <a:pPr defTabSz="731504">
                <a:defRPr/>
              </a:pPr>
              <a:endParaRPr lang="en-US" sz="1800" dirty="0">
                <a:solidFill>
                  <a:srgbClr val="FF9900"/>
                </a:solidFill>
              </a:endParaRPr>
            </a:p>
          </p:txBody>
        </p:sp>
        <p:sp>
          <p:nvSpPr>
            <p:cNvPr id="565" name="Freeform: Shape 564">
              <a:extLst>
                <a:ext uri="{FF2B5EF4-FFF2-40B4-BE49-F238E27FC236}">
                  <a16:creationId xmlns:a16="http://schemas.microsoft.com/office/drawing/2014/main" id="{211B3F72-ED18-44F6-A9E4-66334477D0D1}"/>
                </a:ext>
              </a:extLst>
            </p:cNvPr>
            <p:cNvSpPr/>
            <p:nvPr/>
          </p:nvSpPr>
          <p:spPr>
            <a:xfrm>
              <a:off x="4564887" y="6127227"/>
              <a:ext cx="57932" cy="57932"/>
            </a:xfrm>
            <a:custGeom>
              <a:avLst/>
              <a:gdLst>
                <a:gd name="connsiteX0" fmla="*/ 53104 w 57932"/>
                <a:gd name="connsiteY0" fmla="*/ 28966 h 57932"/>
                <a:gd name="connsiteX1" fmla="*/ 28966 w 57932"/>
                <a:gd name="connsiteY1" fmla="*/ 53104 h 57932"/>
                <a:gd name="connsiteX2" fmla="*/ 4828 w 57932"/>
                <a:gd name="connsiteY2" fmla="*/ 28966 h 57932"/>
                <a:gd name="connsiteX3" fmla="*/ 28966 w 57932"/>
                <a:gd name="connsiteY3" fmla="*/ 4828 h 57932"/>
                <a:gd name="connsiteX4" fmla="*/ 53104 w 57932"/>
                <a:gd name="connsiteY4" fmla="*/ 28966 h 57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32" h="57932">
                  <a:moveTo>
                    <a:pt x="53104" y="28966"/>
                  </a:moveTo>
                  <a:cubicBezTo>
                    <a:pt x="53104" y="42297"/>
                    <a:pt x="42297" y="53104"/>
                    <a:pt x="28966" y="53104"/>
                  </a:cubicBezTo>
                  <a:cubicBezTo>
                    <a:pt x="15635" y="53104"/>
                    <a:pt x="4828" y="42297"/>
                    <a:pt x="4828" y="28966"/>
                  </a:cubicBezTo>
                  <a:cubicBezTo>
                    <a:pt x="4828" y="15635"/>
                    <a:pt x="15635" y="4828"/>
                    <a:pt x="28966" y="4828"/>
                  </a:cubicBezTo>
                  <a:cubicBezTo>
                    <a:pt x="42297" y="4828"/>
                    <a:pt x="53104" y="15635"/>
                    <a:pt x="53104" y="28966"/>
                  </a:cubicBezTo>
                  <a:close/>
                </a:path>
              </a:pathLst>
            </a:custGeom>
            <a:noFill/>
            <a:ln w="19050" cap="flat">
              <a:solidFill>
                <a:srgbClr val="FF9900"/>
              </a:solidFill>
              <a:prstDash val="solid"/>
              <a:round/>
            </a:ln>
          </p:spPr>
          <p:txBody>
            <a:bodyPr rtlCol="0" anchor="ctr"/>
            <a:lstStyle/>
            <a:p>
              <a:pPr defTabSz="731504">
                <a:defRPr/>
              </a:pPr>
              <a:endParaRPr lang="en-US" sz="1800">
                <a:solidFill>
                  <a:srgbClr val="FF9900"/>
                </a:solidFill>
              </a:endParaRPr>
            </a:p>
          </p:txBody>
        </p:sp>
        <p:sp>
          <p:nvSpPr>
            <p:cNvPr id="566" name="Freeform: Shape 565">
              <a:extLst>
                <a:ext uri="{FF2B5EF4-FFF2-40B4-BE49-F238E27FC236}">
                  <a16:creationId xmlns:a16="http://schemas.microsoft.com/office/drawing/2014/main" id="{3270F973-12BB-40B5-9736-F1D3BCEE9856}"/>
                </a:ext>
              </a:extLst>
            </p:cNvPr>
            <p:cNvSpPr/>
            <p:nvPr/>
          </p:nvSpPr>
          <p:spPr>
            <a:xfrm>
              <a:off x="4683326" y="6004604"/>
              <a:ext cx="57932" cy="57932"/>
            </a:xfrm>
            <a:custGeom>
              <a:avLst/>
              <a:gdLst>
                <a:gd name="connsiteX0" fmla="*/ 53104 w 57932"/>
                <a:gd name="connsiteY0" fmla="*/ 28966 h 57932"/>
                <a:gd name="connsiteX1" fmla="*/ 28966 w 57932"/>
                <a:gd name="connsiteY1" fmla="*/ 53104 h 57932"/>
                <a:gd name="connsiteX2" fmla="*/ 4828 w 57932"/>
                <a:gd name="connsiteY2" fmla="*/ 28966 h 57932"/>
                <a:gd name="connsiteX3" fmla="*/ 28966 w 57932"/>
                <a:gd name="connsiteY3" fmla="*/ 4828 h 57932"/>
                <a:gd name="connsiteX4" fmla="*/ 53104 w 57932"/>
                <a:gd name="connsiteY4" fmla="*/ 28966 h 57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32" h="57932">
                  <a:moveTo>
                    <a:pt x="53104" y="28966"/>
                  </a:moveTo>
                  <a:cubicBezTo>
                    <a:pt x="53104" y="42297"/>
                    <a:pt x="42297" y="53104"/>
                    <a:pt x="28966" y="53104"/>
                  </a:cubicBezTo>
                  <a:cubicBezTo>
                    <a:pt x="15635" y="53104"/>
                    <a:pt x="4828" y="42297"/>
                    <a:pt x="4828" y="28966"/>
                  </a:cubicBezTo>
                  <a:cubicBezTo>
                    <a:pt x="4828" y="15635"/>
                    <a:pt x="15635" y="4828"/>
                    <a:pt x="28966" y="4828"/>
                  </a:cubicBezTo>
                  <a:cubicBezTo>
                    <a:pt x="42297" y="4828"/>
                    <a:pt x="53104" y="15635"/>
                    <a:pt x="53104" y="28966"/>
                  </a:cubicBezTo>
                  <a:close/>
                </a:path>
              </a:pathLst>
            </a:custGeom>
            <a:noFill/>
            <a:ln w="19050" cap="flat">
              <a:solidFill>
                <a:srgbClr val="FF9900"/>
              </a:solidFill>
              <a:prstDash val="solid"/>
              <a:round/>
            </a:ln>
          </p:spPr>
          <p:txBody>
            <a:bodyPr rtlCol="0" anchor="ctr"/>
            <a:lstStyle/>
            <a:p>
              <a:pPr defTabSz="731504">
                <a:defRPr/>
              </a:pPr>
              <a:endParaRPr lang="en-US" sz="1800">
                <a:solidFill>
                  <a:srgbClr val="FF9900"/>
                </a:solidFill>
              </a:endParaRPr>
            </a:p>
          </p:txBody>
        </p:sp>
        <p:sp>
          <p:nvSpPr>
            <p:cNvPr id="567" name="Freeform: Shape 566">
              <a:extLst>
                <a:ext uri="{FF2B5EF4-FFF2-40B4-BE49-F238E27FC236}">
                  <a16:creationId xmlns:a16="http://schemas.microsoft.com/office/drawing/2014/main" id="{ACF3782C-7163-4884-B9D7-B082B9B69434}"/>
                </a:ext>
              </a:extLst>
            </p:cNvPr>
            <p:cNvSpPr/>
            <p:nvPr/>
          </p:nvSpPr>
          <p:spPr>
            <a:xfrm>
              <a:off x="4622819" y="6059962"/>
              <a:ext cx="45058" cy="45058"/>
            </a:xfrm>
            <a:custGeom>
              <a:avLst/>
              <a:gdLst>
                <a:gd name="connsiteX0" fmla="*/ 4828 w 45058"/>
                <a:gd name="connsiteY0" fmla="*/ 4828 h 45058"/>
                <a:gd name="connsiteX1" fmla="*/ 41196 w 45058"/>
                <a:gd name="connsiteY1" fmla="*/ 41196 h 45058"/>
              </a:gdLst>
              <a:ahLst/>
              <a:cxnLst>
                <a:cxn ang="0">
                  <a:pos x="connsiteX0" y="connsiteY0"/>
                </a:cxn>
                <a:cxn ang="0">
                  <a:pos x="connsiteX1" y="connsiteY1"/>
                </a:cxn>
              </a:cxnLst>
              <a:rect l="l" t="t" r="r" b="b"/>
              <a:pathLst>
                <a:path w="45058" h="45058">
                  <a:moveTo>
                    <a:pt x="4828" y="4828"/>
                  </a:moveTo>
                  <a:lnTo>
                    <a:pt x="41196" y="41196"/>
                  </a:lnTo>
                </a:path>
              </a:pathLst>
            </a:custGeom>
            <a:ln w="19050" cap="flat">
              <a:solidFill>
                <a:srgbClr val="FF9900"/>
              </a:solidFill>
              <a:prstDash val="solid"/>
              <a:round/>
            </a:ln>
          </p:spPr>
          <p:txBody>
            <a:bodyPr rtlCol="0" anchor="ctr"/>
            <a:lstStyle/>
            <a:p>
              <a:pPr defTabSz="731504">
                <a:defRPr/>
              </a:pPr>
              <a:endParaRPr lang="en-US" sz="1800">
                <a:solidFill>
                  <a:srgbClr val="FFFFFF"/>
                </a:solidFill>
              </a:endParaRPr>
            </a:p>
          </p:txBody>
        </p:sp>
        <p:sp>
          <p:nvSpPr>
            <p:cNvPr id="568" name="Freeform: Shape 567">
              <a:extLst>
                <a:ext uri="{FF2B5EF4-FFF2-40B4-BE49-F238E27FC236}">
                  <a16:creationId xmlns:a16="http://schemas.microsoft.com/office/drawing/2014/main" id="{5D424FB0-76F2-4241-9E68-477692DFF394}"/>
                </a:ext>
              </a:extLst>
            </p:cNvPr>
            <p:cNvSpPr/>
            <p:nvPr/>
          </p:nvSpPr>
          <p:spPr>
            <a:xfrm>
              <a:off x="4649854" y="6086031"/>
              <a:ext cx="57932" cy="57932"/>
            </a:xfrm>
            <a:custGeom>
              <a:avLst/>
              <a:gdLst>
                <a:gd name="connsiteX0" fmla="*/ 53104 w 57932"/>
                <a:gd name="connsiteY0" fmla="*/ 28966 h 57932"/>
                <a:gd name="connsiteX1" fmla="*/ 28966 w 57932"/>
                <a:gd name="connsiteY1" fmla="*/ 53104 h 57932"/>
                <a:gd name="connsiteX2" fmla="*/ 4828 w 57932"/>
                <a:gd name="connsiteY2" fmla="*/ 28966 h 57932"/>
                <a:gd name="connsiteX3" fmla="*/ 28966 w 57932"/>
                <a:gd name="connsiteY3" fmla="*/ 4828 h 57932"/>
                <a:gd name="connsiteX4" fmla="*/ 53104 w 57932"/>
                <a:gd name="connsiteY4" fmla="*/ 28966 h 57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932" h="57932">
                  <a:moveTo>
                    <a:pt x="53104" y="28966"/>
                  </a:moveTo>
                  <a:cubicBezTo>
                    <a:pt x="53104" y="42297"/>
                    <a:pt x="42297" y="53104"/>
                    <a:pt x="28966" y="53104"/>
                  </a:cubicBezTo>
                  <a:cubicBezTo>
                    <a:pt x="15635" y="53104"/>
                    <a:pt x="4828" y="42297"/>
                    <a:pt x="4828" y="28966"/>
                  </a:cubicBezTo>
                  <a:cubicBezTo>
                    <a:pt x="4828" y="15635"/>
                    <a:pt x="15635" y="4828"/>
                    <a:pt x="28966" y="4828"/>
                  </a:cubicBezTo>
                  <a:cubicBezTo>
                    <a:pt x="42297" y="4828"/>
                    <a:pt x="53104" y="15635"/>
                    <a:pt x="53104" y="28966"/>
                  </a:cubicBezTo>
                  <a:close/>
                </a:path>
              </a:pathLst>
            </a:custGeom>
            <a:noFill/>
            <a:ln w="19050" cap="flat">
              <a:solidFill>
                <a:srgbClr val="FF9900"/>
              </a:solidFill>
              <a:prstDash val="solid"/>
              <a:round/>
            </a:ln>
          </p:spPr>
          <p:txBody>
            <a:bodyPr rtlCol="0" anchor="ctr"/>
            <a:lstStyle/>
            <a:p>
              <a:pPr defTabSz="731504">
                <a:defRPr/>
              </a:pPr>
              <a:endParaRPr lang="en-US" sz="1800" dirty="0">
                <a:solidFill>
                  <a:srgbClr val="FF9900"/>
                </a:solidFill>
              </a:endParaRPr>
            </a:p>
          </p:txBody>
        </p:sp>
      </p:grpSp>
      <p:grpSp>
        <p:nvGrpSpPr>
          <p:cNvPr id="592" name="Graphic 240">
            <a:extLst>
              <a:ext uri="{FF2B5EF4-FFF2-40B4-BE49-F238E27FC236}">
                <a16:creationId xmlns:a16="http://schemas.microsoft.com/office/drawing/2014/main" id="{43A9D3D7-7D48-4226-8BC1-8A354618FF81}"/>
              </a:ext>
            </a:extLst>
          </p:cNvPr>
          <p:cNvGrpSpPr/>
          <p:nvPr/>
        </p:nvGrpSpPr>
        <p:grpSpPr>
          <a:xfrm>
            <a:off x="2533200" y="4611829"/>
            <a:ext cx="915306" cy="915306"/>
            <a:chOff x="6079338" y="322847"/>
            <a:chExt cx="643689" cy="643689"/>
          </a:xfrm>
        </p:grpSpPr>
        <p:sp>
          <p:nvSpPr>
            <p:cNvPr id="593" name="Freeform: Shape 592">
              <a:extLst>
                <a:ext uri="{FF2B5EF4-FFF2-40B4-BE49-F238E27FC236}">
                  <a16:creationId xmlns:a16="http://schemas.microsoft.com/office/drawing/2014/main" id="{D0B28D93-7562-4C1F-90B4-57E072141126}"/>
                </a:ext>
              </a:extLst>
            </p:cNvPr>
            <p:cNvSpPr/>
            <p:nvPr/>
          </p:nvSpPr>
          <p:spPr>
            <a:xfrm>
              <a:off x="6272445" y="480229"/>
              <a:ext cx="270349" cy="308971"/>
            </a:xfrm>
            <a:custGeom>
              <a:avLst/>
              <a:gdLst>
                <a:gd name="connsiteX0" fmla="*/ 265522 w 270349"/>
                <a:gd name="connsiteY0" fmla="*/ 135175 h 308970"/>
                <a:gd name="connsiteX1" fmla="*/ 135175 w 270349"/>
                <a:gd name="connsiteY1" fmla="*/ 4828 h 308970"/>
                <a:gd name="connsiteX2" fmla="*/ 4828 w 270349"/>
                <a:gd name="connsiteY2" fmla="*/ 135175 h 308970"/>
                <a:gd name="connsiteX3" fmla="*/ 78852 w 270349"/>
                <a:gd name="connsiteY3" fmla="*/ 252648 h 308970"/>
                <a:gd name="connsiteX4" fmla="*/ 78852 w 270349"/>
                <a:gd name="connsiteY4" fmla="*/ 305109 h 308970"/>
                <a:gd name="connsiteX5" fmla="*/ 191497 w 270349"/>
                <a:gd name="connsiteY5" fmla="*/ 305109 h 308970"/>
                <a:gd name="connsiteX6" fmla="*/ 191497 w 270349"/>
                <a:gd name="connsiteY6" fmla="*/ 252648 h 308970"/>
                <a:gd name="connsiteX7" fmla="*/ 265522 w 270349"/>
                <a:gd name="connsiteY7" fmla="*/ 135175 h 30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349" h="308970">
                  <a:moveTo>
                    <a:pt x="265522" y="135175"/>
                  </a:moveTo>
                  <a:cubicBezTo>
                    <a:pt x="265522" y="63082"/>
                    <a:pt x="207268" y="4828"/>
                    <a:pt x="135175" y="4828"/>
                  </a:cubicBezTo>
                  <a:cubicBezTo>
                    <a:pt x="63082" y="4828"/>
                    <a:pt x="4828" y="63082"/>
                    <a:pt x="4828" y="135175"/>
                  </a:cubicBezTo>
                  <a:cubicBezTo>
                    <a:pt x="4828" y="186992"/>
                    <a:pt x="35081" y="231728"/>
                    <a:pt x="78852" y="252648"/>
                  </a:cubicBezTo>
                  <a:lnTo>
                    <a:pt x="78852" y="305109"/>
                  </a:lnTo>
                  <a:lnTo>
                    <a:pt x="191497" y="305109"/>
                  </a:lnTo>
                  <a:lnTo>
                    <a:pt x="191497" y="252648"/>
                  </a:lnTo>
                  <a:cubicBezTo>
                    <a:pt x="235268" y="231728"/>
                    <a:pt x="265522" y="186992"/>
                    <a:pt x="265522" y="135175"/>
                  </a:cubicBezTo>
                  <a:close/>
                </a:path>
              </a:pathLst>
            </a:custGeom>
            <a:ln>
              <a:solidFill>
                <a:schemeClr val="tx1"/>
              </a:solidFill>
            </a:ln>
          </p:spPr>
          <p:txBody>
            <a:bodyPr rtlCol="0" anchor="ctr"/>
            <a:lstStyle/>
            <a:p>
              <a:pPr defTabSz="731504">
                <a:defRPr/>
              </a:pPr>
              <a:endParaRPr lang="en-US" sz="1800">
                <a:solidFill>
                  <a:srgbClr val="FFFFFF"/>
                </a:solidFill>
              </a:endParaRPr>
            </a:p>
          </p:txBody>
        </p:sp>
        <p:sp>
          <p:nvSpPr>
            <p:cNvPr id="594" name="Freeform: Shape 593">
              <a:extLst>
                <a:ext uri="{FF2B5EF4-FFF2-40B4-BE49-F238E27FC236}">
                  <a16:creationId xmlns:a16="http://schemas.microsoft.com/office/drawing/2014/main" id="{753154DB-FB44-4A1F-9C5E-BF1C822900E7}"/>
                </a:ext>
              </a:extLst>
            </p:cNvPr>
            <p:cNvSpPr/>
            <p:nvPr/>
          </p:nvSpPr>
          <p:spPr>
            <a:xfrm>
              <a:off x="6402792" y="664324"/>
              <a:ext cx="9655" cy="125519"/>
            </a:xfrm>
            <a:custGeom>
              <a:avLst/>
              <a:gdLst>
                <a:gd name="connsiteX0" fmla="*/ 4828 w 9655"/>
                <a:gd name="connsiteY0" fmla="*/ 121014 h 125519"/>
                <a:gd name="connsiteX1" fmla="*/ 4828 w 9655"/>
                <a:gd name="connsiteY1" fmla="*/ 4828 h 125519"/>
              </a:gdLst>
              <a:ahLst/>
              <a:cxnLst>
                <a:cxn ang="0">
                  <a:pos x="connsiteX0" y="connsiteY0"/>
                </a:cxn>
                <a:cxn ang="0">
                  <a:pos x="connsiteX1" y="connsiteY1"/>
                </a:cxn>
              </a:cxnLst>
              <a:rect l="l" t="t" r="r" b="b"/>
              <a:pathLst>
                <a:path w="9655" h="125519">
                  <a:moveTo>
                    <a:pt x="4828" y="121014"/>
                  </a:moveTo>
                  <a:lnTo>
                    <a:pt x="4828" y="4828"/>
                  </a:lnTo>
                </a:path>
              </a:pathLst>
            </a:custGeom>
            <a:ln>
              <a:solidFill>
                <a:schemeClr val="tx1"/>
              </a:solidFill>
            </a:ln>
          </p:spPr>
          <p:txBody>
            <a:bodyPr rtlCol="0" anchor="ctr"/>
            <a:lstStyle/>
            <a:p>
              <a:pPr defTabSz="731504">
                <a:defRPr/>
              </a:pPr>
              <a:endParaRPr lang="en-US" sz="1800" dirty="0">
                <a:solidFill>
                  <a:srgbClr val="FFFFFF"/>
                </a:solidFill>
              </a:endParaRPr>
            </a:p>
          </p:txBody>
        </p:sp>
        <p:sp>
          <p:nvSpPr>
            <p:cNvPr id="595" name="Freeform: Shape 594">
              <a:extLst>
                <a:ext uri="{FF2B5EF4-FFF2-40B4-BE49-F238E27FC236}">
                  <a16:creationId xmlns:a16="http://schemas.microsoft.com/office/drawing/2014/main" id="{E1393594-4FA9-44C9-9B96-7872B3C897BD}"/>
                </a:ext>
              </a:extLst>
            </p:cNvPr>
            <p:cNvSpPr/>
            <p:nvPr/>
          </p:nvSpPr>
          <p:spPr>
            <a:xfrm>
              <a:off x="6373826" y="663358"/>
              <a:ext cx="67587" cy="9655"/>
            </a:xfrm>
            <a:custGeom>
              <a:avLst/>
              <a:gdLst>
                <a:gd name="connsiteX0" fmla="*/ 4828 w 67587"/>
                <a:gd name="connsiteY0" fmla="*/ 4828 h 9655"/>
                <a:gd name="connsiteX1" fmla="*/ 62760 w 67587"/>
                <a:gd name="connsiteY1" fmla="*/ 4828 h 9655"/>
              </a:gdLst>
              <a:ahLst/>
              <a:cxnLst>
                <a:cxn ang="0">
                  <a:pos x="connsiteX0" y="connsiteY0"/>
                </a:cxn>
                <a:cxn ang="0">
                  <a:pos x="connsiteX1" y="connsiteY1"/>
                </a:cxn>
              </a:cxnLst>
              <a:rect l="l" t="t" r="r" b="b"/>
              <a:pathLst>
                <a:path w="67587" h="9655">
                  <a:moveTo>
                    <a:pt x="4828" y="4828"/>
                  </a:moveTo>
                  <a:lnTo>
                    <a:pt x="62760" y="4828"/>
                  </a:lnTo>
                </a:path>
              </a:pathLst>
            </a:custGeom>
            <a:ln>
              <a:solidFill>
                <a:schemeClr val="tx1"/>
              </a:solidFill>
            </a:ln>
          </p:spPr>
          <p:txBody>
            <a:bodyPr rtlCol="0" anchor="ctr"/>
            <a:lstStyle/>
            <a:p>
              <a:pPr defTabSz="731504">
                <a:defRPr/>
              </a:pPr>
              <a:endParaRPr lang="en-US" sz="1800">
                <a:solidFill>
                  <a:srgbClr val="FFFFFF"/>
                </a:solidFill>
              </a:endParaRPr>
            </a:p>
          </p:txBody>
        </p:sp>
        <p:sp>
          <p:nvSpPr>
            <p:cNvPr id="596" name="Freeform: Shape 595">
              <a:extLst>
                <a:ext uri="{FF2B5EF4-FFF2-40B4-BE49-F238E27FC236}">
                  <a16:creationId xmlns:a16="http://schemas.microsoft.com/office/drawing/2014/main" id="{DA1B5879-BE5E-401B-B50A-F0BAE4D55DE3}"/>
                </a:ext>
              </a:extLst>
            </p:cNvPr>
            <p:cNvSpPr/>
            <p:nvPr/>
          </p:nvSpPr>
          <p:spPr>
            <a:xfrm>
              <a:off x="6318147" y="404917"/>
              <a:ext cx="28966" cy="61150"/>
            </a:xfrm>
            <a:custGeom>
              <a:avLst/>
              <a:gdLst>
                <a:gd name="connsiteX0" fmla="*/ 26713 w 28966"/>
                <a:gd name="connsiteY0" fmla="*/ 57610 h 61150"/>
                <a:gd name="connsiteX1" fmla="*/ 4828 w 28966"/>
                <a:gd name="connsiteY1" fmla="*/ 4828 h 61150"/>
              </a:gdLst>
              <a:ahLst/>
              <a:cxnLst>
                <a:cxn ang="0">
                  <a:pos x="connsiteX0" y="connsiteY0"/>
                </a:cxn>
                <a:cxn ang="0">
                  <a:pos x="connsiteX1" y="connsiteY1"/>
                </a:cxn>
              </a:cxnLst>
              <a:rect l="l" t="t" r="r" b="b"/>
              <a:pathLst>
                <a:path w="28966" h="61150">
                  <a:moveTo>
                    <a:pt x="26713" y="57610"/>
                  </a:moveTo>
                  <a:lnTo>
                    <a:pt x="4828" y="4828"/>
                  </a:lnTo>
                </a:path>
              </a:pathLst>
            </a:custGeom>
            <a:ln w="19050" cap="flat">
              <a:solidFill>
                <a:srgbClr val="FF9900"/>
              </a:solidFill>
              <a:prstDash val="solid"/>
              <a:round/>
            </a:ln>
          </p:spPr>
          <p:txBody>
            <a:bodyPr rtlCol="0" anchor="ctr"/>
            <a:lstStyle/>
            <a:p>
              <a:pPr defTabSz="731504">
                <a:defRPr/>
              </a:pPr>
              <a:endParaRPr lang="en-US" sz="1800">
                <a:solidFill>
                  <a:srgbClr val="FFFFFF"/>
                </a:solidFill>
              </a:endParaRPr>
            </a:p>
          </p:txBody>
        </p:sp>
        <p:sp>
          <p:nvSpPr>
            <p:cNvPr id="597" name="Freeform: Shape 596">
              <a:extLst>
                <a:ext uri="{FF2B5EF4-FFF2-40B4-BE49-F238E27FC236}">
                  <a16:creationId xmlns:a16="http://schemas.microsoft.com/office/drawing/2014/main" id="{6DACE02C-D922-4620-8D21-221E9126B93F}"/>
                </a:ext>
              </a:extLst>
            </p:cNvPr>
            <p:cNvSpPr/>
            <p:nvPr/>
          </p:nvSpPr>
          <p:spPr>
            <a:xfrm>
              <a:off x="6198099" y="672048"/>
              <a:ext cx="61150" cy="28966"/>
            </a:xfrm>
            <a:custGeom>
              <a:avLst/>
              <a:gdLst>
                <a:gd name="connsiteX0" fmla="*/ 4828 w 61150"/>
                <a:gd name="connsiteY0" fmla="*/ 27035 h 28966"/>
                <a:gd name="connsiteX1" fmla="*/ 57932 w 61150"/>
                <a:gd name="connsiteY1" fmla="*/ 4828 h 28966"/>
              </a:gdLst>
              <a:ahLst/>
              <a:cxnLst>
                <a:cxn ang="0">
                  <a:pos x="connsiteX0" y="connsiteY0"/>
                </a:cxn>
                <a:cxn ang="0">
                  <a:pos x="connsiteX1" y="connsiteY1"/>
                </a:cxn>
              </a:cxnLst>
              <a:rect l="l" t="t" r="r" b="b"/>
              <a:pathLst>
                <a:path w="61150" h="28966">
                  <a:moveTo>
                    <a:pt x="4828" y="27035"/>
                  </a:moveTo>
                  <a:lnTo>
                    <a:pt x="57932" y="4828"/>
                  </a:lnTo>
                </a:path>
              </a:pathLst>
            </a:custGeom>
            <a:ln w="19050" cap="flat">
              <a:solidFill>
                <a:srgbClr val="FF9900"/>
              </a:solidFill>
              <a:prstDash val="solid"/>
              <a:round/>
            </a:ln>
          </p:spPr>
          <p:txBody>
            <a:bodyPr rtlCol="0" anchor="ctr"/>
            <a:lstStyle/>
            <a:p>
              <a:pPr defTabSz="731504">
                <a:defRPr/>
              </a:pPr>
              <a:endParaRPr lang="en-US" sz="1800">
                <a:solidFill>
                  <a:srgbClr val="FFFFFF"/>
                </a:solidFill>
              </a:endParaRPr>
            </a:p>
          </p:txBody>
        </p:sp>
        <p:sp>
          <p:nvSpPr>
            <p:cNvPr id="598" name="Freeform: Shape 597">
              <a:extLst>
                <a:ext uri="{FF2B5EF4-FFF2-40B4-BE49-F238E27FC236}">
                  <a16:creationId xmlns:a16="http://schemas.microsoft.com/office/drawing/2014/main" id="{93F78BEB-8DEC-4215-8811-0546316F2F6E}"/>
                </a:ext>
              </a:extLst>
            </p:cNvPr>
            <p:cNvSpPr/>
            <p:nvPr/>
          </p:nvSpPr>
          <p:spPr>
            <a:xfrm>
              <a:off x="6554380" y="524644"/>
              <a:ext cx="61150" cy="28966"/>
            </a:xfrm>
            <a:custGeom>
              <a:avLst/>
              <a:gdLst>
                <a:gd name="connsiteX0" fmla="*/ 4828 w 61150"/>
                <a:gd name="connsiteY0" fmla="*/ 26713 h 28966"/>
                <a:gd name="connsiteX1" fmla="*/ 57932 w 61150"/>
                <a:gd name="connsiteY1" fmla="*/ 4828 h 28966"/>
              </a:gdLst>
              <a:ahLst/>
              <a:cxnLst>
                <a:cxn ang="0">
                  <a:pos x="connsiteX0" y="connsiteY0"/>
                </a:cxn>
                <a:cxn ang="0">
                  <a:pos x="connsiteX1" y="connsiteY1"/>
                </a:cxn>
              </a:cxnLst>
              <a:rect l="l" t="t" r="r" b="b"/>
              <a:pathLst>
                <a:path w="61150" h="28966">
                  <a:moveTo>
                    <a:pt x="4828" y="26713"/>
                  </a:moveTo>
                  <a:lnTo>
                    <a:pt x="57932" y="4828"/>
                  </a:lnTo>
                </a:path>
              </a:pathLst>
            </a:custGeom>
            <a:ln w="19050" cap="flat">
              <a:solidFill>
                <a:srgbClr val="FF9900"/>
              </a:solidFill>
              <a:prstDash val="solid"/>
              <a:round/>
            </a:ln>
          </p:spPr>
          <p:txBody>
            <a:bodyPr rtlCol="0" anchor="ctr"/>
            <a:lstStyle/>
            <a:p>
              <a:pPr defTabSz="731504">
                <a:defRPr/>
              </a:pPr>
              <a:endParaRPr lang="en-US" sz="1800">
                <a:solidFill>
                  <a:srgbClr val="FFFFFF"/>
                </a:solidFill>
              </a:endParaRPr>
            </a:p>
          </p:txBody>
        </p:sp>
        <p:sp>
          <p:nvSpPr>
            <p:cNvPr id="599" name="Freeform: Shape 598">
              <a:extLst>
                <a:ext uri="{FF2B5EF4-FFF2-40B4-BE49-F238E27FC236}">
                  <a16:creationId xmlns:a16="http://schemas.microsoft.com/office/drawing/2014/main" id="{12990F54-E82A-41F3-87A3-A0D46F945F0C}"/>
                </a:ext>
              </a:extLst>
            </p:cNvPr>
            <p:cNvSpPr/>
            <p:nvPr/>
          </p:nvSpPr>
          <p:spPr>
            <a:xfrm>
              <a:off x="6198099" y="524644"/>
              <a:ext cx="61150" cy="28966"/>
            </a:xfrm>
            <a:custGeom>
              <a:avLst/>
              <a:gdLst>
                <a:gd name="connsiteX0" fmla="*/ 4828 w 61150"/>
                <a:gd name="connsiteY0" fmla="*/ 4828 h 28966"/>
                <a:gd name="connsiteX1" fmla="*/ 57932 w 61150"/>
                <a:gd name="connsiteY1" fmla="*/ 27035 h 28966"/>
              </a:gdLst>
              <a:ahLst/>
              <a:cxnLst>
                <a:cxn ang="0">
                  <a:pos x="connsiteX0" y="connsiteY0"/>
                </a:cxn>
                <a:cxn ang="0">
                  <a:pos x="connsiteX1" y="connsiteY1"/>
                </a:cxn>
              </a:cxnLst>
              <a:rect l="l" t="t" r="r" b="b"/>
              <a:pathLst>
                <a:path w="61150" h="28966">
                  <a:moveTo>
                    <a:pt x="4828" y="4828"/>
                  </a:moveTo>
                  <a:lnTo>
                    <a:pt x="57932" y="27035"/>
                  </a:lnTo>
                </a:path>
              </a:pathLst>
            </a:custGeom>
            <a:ln w="19050" cap="flat">
              <a:solidFill>
                <a:srgbClr val="FF9900"/>
              </a:solidFill>
              <a:prstDash val="solid"/>
              <a:round/>
            </a:ln>
          </p:spPr>
          <p:txBody>
            <a:bodyPr rtlCol="0" anchor="ctr"/>
            <a:lstStyle/>
            <a:p>
              <a:pPr defTabSz="731504">
                <a:defRPr/>
              </a:pPr>
              <a:endParaRPr lang="en-US" sz="1800">
                <a:solidFill>
                  <a:srgbClr val="FFFFFF"/>
                </a:solidFill>
              </a:endParaRPr>
            </a:p>
          </p:txBody>
        </p:sp>
        <p:sp>
          <p:nvSpPr>
            <p:cNvPr id="600" name="Freeform: Shape 599">
              <a:extLst>
                <a:ext uri="{FF2B5EF4-FFF2-40B4-BE49-F238E27FC236}">
                  <a16:creationId xmlns:a16="http://schemas.microsoft.com/office/drawing/2014/main" id="{D65EE308-F200-4751-83FB-73A30B07D36E}"/>
                </a:ext>
              </a:extLst>
            </p:cNvPr>
            <p:cNvSpPr/>
            <p:nvPr/>
          </p:nvSpPr>
          <p:spPr>
            <a:xfrm>
              <a:off x="6554380" y="672370"/>
              <a:ext cx="61150" cy="28966"/>
            </a:xfrm>
            <a:custGeom>
              <a:avLst/>
              <a:gdLst>
                <a:gd name="connsiteX0" fmla="*/ 4828 w 61150"/>
                <a:gd name="connsiteY0" fmla="*/ 4828 h 28966"/>
                <a:gd name="connsiteX1" fmla="*/ 57932 w 61150"/>
                <a:gd name="connsiteY1" fmla="*/ 26713 h 28966"/>
              </a:gdLst>
              <a:ahLst/>
              <a:cxnLst>
                <a:cxn ang="0">
                  <a:pos x="connsiteX0" y="connsiteY0"/>
                </a:cxn>
                <a:cxn ang="0">
                  <a:pos x="connsiteX1" y="connsiteY1"/>
                </a:cxn>
              </a:cxnLst>
              <a:rect l="l" t="t" r="r" b="b"/>
              <a:pathLst>
                <a:path w="61150" h="28966">
                  <a:moveTo>
                    <a:pt x="4828" y="4828"/>
                  </a:moveTo>
                  <a:lnTo>
                    <a:pt x="57932" y="26713"/>
                  </a:lnTo>
                </a:path>
              </a:pathLst>
            </a:custGeom>
            <a:ln w="19050" cap="flat">
              <a:solidFill>
                <a:srgbClr val="FF9900"/>
              </a:solidFill>
              <a:prstDash val="solid"/>
              <a:round/>
            </a:ln>
          </p:spPr>
          <p:txBody>
            <a:bodyPr rtlCol="0" anchor="ctr"/>
            <a:lstStyle/>
            <a:p>
              <a:pPr defTabSz="731504">
                <a:defRPr/>
              </a:pPr>
              <a:endParaRPr lang="en-US" sz="1800">
                <a:solidFill>
                  <a:srgbClr val="FFFFFF"/>
                </a:solidFill>
              </a:endParaRPr>
            </a:p>
          </p:txBody>
        </p:sp>
        <p:sp>
          <p:nvSpPr>
            <p:cNvPr id="601" name="Freeform: Shape 600">
              <a:extLst>
                <a:ext uri="{FF2B5EF4-FFF2-40B4-BE49-F238E27FC236}">
                  <a16:creationId xmlns:a16="http://schemas.microsoft.com/office/drawing/2014/main" id="{8D32025B-2E8C-45C4-8119-EC6323F98566}"/>
                </a:ext>
              </a:extLst>
            </p:cNvPr>
            <p:cNvSpPr/>
            <p:nvPr/>
          </p:nvSpPr>
          <p:spPr>
            <a:xfrm>
              <a:off x="6465551" y="404917"/>
              <a:ext cx="28966" cy="61150"/>
            </a:xfrm>
            <a:custGeom>
              <a:avLst/>
              <a:gdLst>
                <a:gd name="connsiteX0" fmla="*/ 4828 w 28966"/>
                <a:gd name="connsiteY0" fmla="*/ 57610 h 61150"/>
                <a:gd name="connsiteX1" fmla="*/ 26713 w 28966"/>
                <a:gd name="connsiteY1" fmla="*/ 4828 h 61150"/>
              </a:gdLst>
              <a:ahLst/>
              <a:cxnLst>
                <a:cxn ang="0">
                  <a:pos x="connsiteX0" y="connsiteY0"/>
                </a:cxn>
                <a:cxn ang="0">
                  <a:pos x="connsiteX1" y="connsiteY1"/>
                </a:cxn>
              </a:cxnLst>
              <a:rect l="l" t="t" r="r" b="b"/>
              <a:pathLst>
                <a:path w="28966" h="61150">
                  <a:moveTo>
                    <a:pt x="4828" y="57610"/>
                  </a:moveTo>
                  <a:lnTo>
                    <a:pt x="26713" y="4828"/>
                  </a:lnTo>
                </a:path>
              </a:pathLst>
            </a:custGeom>
            <a:ln w="19050" cap="flat">
              <a:solidFill>
                <a:srgbClr val="FF9900"/>
              </a:solidFill>
              <a:prstDash val="solid"/>
              <a:round/>
            </a:ln>
          </p:spPr>
          <p:txBody>
            <a:bodyPr rtlCol="0" anchor="ctr"/>
            <a:lstStyle/>
            <a:p>
              <a:pPr defTabSz="731504">
                <a:defRPr/>
              </a:pPr>
              <a:endParaRPr lang="en-US" sz="1800">
                <a:solidFill>
                  <a:srgbClr val="FFFFFF"/>
                </a:solidFill>
              </a:endParaRPr>
            </a:p>
          </p:txBody>
        </p:sp>
        <p:sp>
          <p:nvSpPr>
            <p:cNvPr id="602" name="Freeform: Shape 601">
              <a:extLst>
                <a:ext uri="{FF2B5EF4-FFF2-40B4-BE49-F238E27FC236}">
                  <a16:creationId xmlns:a16="http://schemas.microsoft.com/office/drawing/2014/main" id="{01CED3B0-21EA-4C97-B12B-BB11453D1541}"/>
                </a:ext>
              </a:extLst>
            </p:cNvPr>
            <p:cNvSpPr/>
            <p:nvPr/>
          </p:nvSpPr>
          <p:spPr>
            <a:xfrm>
              <a:off x="6346469" y="794027"/>
              <a:ext cx="119082" cy="25748"/>
            </a:xfrm>
            <a:custGeom>
              <a:avLst/>
              <a:gdLst>
                <a:gd name="connsiteX0" fmla="*/ 111358 w 119082"/>
                <a:gd name="connsiteY0" fmla="*/ 21564 h 25747"/>
                <a:gd name="connsiteX1" fmla="*/ 10943 w 119082"/>
                <a:gd name="connsiteY1" fmla="*/ 21564 h 25747"/>
                <a:gd name="connsiteX2" fmla="*/ 4828 w 119082"/>
                <a:gd name="connsiteY2" fmla="*/ 15449 h 25747"/>
                <a:gd name="connsiteX3" fmla="*/ 4828 w 119082"/>
                <a:gd name="connsiteY3" fmla="*/ 10943 h 25747"/>
                <a:gd name="connsiteX4" fmla="*/ 10943 w 119082"/>
                <a:gd name="connsiteY4" fmla="*/ 4828 h 25747"/>
                <a:gd name="connsiteX5" fmla="*/ 111036 w 119082"/>
                <a:gd name="connsiteY5" fmla="*/ 4828 h 25747"/>
                <a:gd name="connsiteX6" fmla="*/ 117151 w 119082"/>
                <a:gd name="connsiteY6" fmla="*/ 10943 h 25747"/>
                <a:gd name="connsiteX7" fmla="*/ 117151 w 119082"/>
                <a:gd name="connsiteY7" fmla="*/ 15449 h 25747"/>
                <a:gd name="connsiteX8" fmla="*/ 111358 w 119082"/>
                <a:gd name="connsiteY8" fmla="*/ 21564 h 2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82" h="25747">
                  <a:moveTo>
                    <a:pt x="111358" y="21564"/>
                  </a:moveTo>
                  <a:lnTo>
                    <a:pt x="10943" y="21564"/>
                  </a:lnTo>
                  <a:cubicBezTo>
                    <a:pt x="7402" y="21564"/>
                    <a:pt x="4828" y="18667"/>
                    <a:pt x="4828" y="15449"/>
                  </a:cubicBezTo>
                  <a:lnTo>
                    <a:pt x="4828" y="10943"/>
                  </a:lnTo>
                  <a:cubicBezTo>
                    <a:pt x="4828" y="7402"/>
                    <a:pt x="7724" y="4828"/>
                    <a:pt x="10943" y="4828"/>
                  </a:cubicBezTo>
                  <a:lnTo>
                    <a:pt x="111036" y="4828"/>
                  </a:lnTo>
                  <a:cubicBezTo>
                    <a:pt x="114577" y="4828"/>
                    <a:pt x="117151" y="7724"/>
                    <a:pt x="117151" y="10943"/>
                  </a:cubicBezTo>
                  <a:lnTo>
                    <a:pt x="117151" y="15449"/>
                  </a:lnTo>
                  <a:cubicBezTo>
                    <a:pt x="117473" y="18667"/>
                    <a:pt x="114577" y="21564"/>
                    <a:pt x="111358" y="21564"/>
                  </a:cubicBezTo>
                  <a:close/>
                </a:path>
              </a:pathLst>
            </a:custGeom>
            <a:ln>
              <a:solidFill>
                <a:schemeClr val="tx1"/>
              </a:solidFill>
            </a:ln>
          </p:spPr>
          <p:txBody>
            <a:bodyPr rtlCol="0" anchor="ctr"/>
            <a:lstStyle/>
            <a:p>
              <a:pPr defTabSz="731504">
                <a:defRPr/>
              </a:pPr>
              <a:endParaRPr lang="en-US" sz="1800">
                <a:solidFill>
                  <a:srgbClr val="FFFFFF"/>
                </a:solidFill>
              </a:endParaRPr>
            </a:p>
          </p:txBody>
        </p:sp>
        <p:sp>
          <p:nvSpPr>
            <p:cNvPr id="603" name="Freeform: Shape 602">
              <a:extLst>
                <a:ext uri="{FF2B5EF4-FFF2-40B4-BE49-F238E27FC236}">
                  <a16:creationId xmlns:a16="http://schemas.microsoft.com/office/drawing/2014/main" id="{E178F376-B983-4F27-A906-DB4CB0B933C1}"/>
                </a:ext>
              </a:extLst>
            </p:cNvPr>
            <p:cNvSpPr/>
            <p:nvPr/>
          </p:nvSpPr>
          <p:spPr>
            <a:xfrm>
              <a:off x="6346469" y="824281"/>
              <a:ext cx="119082" cy="25748"/>
            </a:xfrm>
            <a:custGeom>
              <a:avLst/>
              <a:gdLst>
                <a:gd name="connsiteX0" fmla="*/ 111358 w 119082"/>
                <a:gd name="connsiteY0" fmla="*/ 21564 h 25747"/>
                <a:gd name="connsiteX1" fmla="*/ 10943 w 119082"/>
                <a:gd name="connsiteY1" fmla="*/ 21564 h 25747"/>
                <a:gd name="connsiteX2" fmla="*/ 4828 w 119082"/>
                <a:gd name="connsiteY2" fmla="*/ 15449 h 25747"/>
                <a:gd name="connsiteX3" fmla="*/ 4828 w 119082"/>
                <a:gd name="connsiteY3" fmla="*/ 10943 h 25747"/>
                <a:gd name="connsiteX4" fmla="*/ 10943 w 119082"/>
                <a:gd name="connsiteY4" fmla="*/ 4828 h 25747"/>
                <a:gd name="connsiteX5" fmla="*/ 111036 w 119082"/>
                <a:gd name="connsiteY5" fmla="*/ 4828 h 25747"/>
                <a:gd name="connsiteX6" fmla="*/ 117151 w 119082"/>
                <a:gd name="connsiteY6" fmla="*/ 10943 h 25747"/>
                <a:gd name="connsiteX7" fmla="*/ 117151 w 119082"/>
                <a:gd name="connsiteY7" fmla="*/ 15449 h 25747"/>
                <a:gd name="connsiteX8" fmla="*/ 111358 w 119082"/>
                <a:gd name="connsiteY8" fmla="*/ 21564 h 2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82" h="25747">
                  <a:moveTo>
                    <a:pt x="111358" y="21564"/>
                  </a:moveTo>
                  <a:lnTo>
                    <a:pt x="10943" y="21564"/>
                  </a:lnTo>
                  <a:cubicBezTo>
                    <a:pt x="7402" y="21564"/>
                    <a:pt x="4828" y="18667"/>
                    <a:pt x="4828" y="15449"/>
                  </a:cubicBezTo>
                  <a:lnTo>
                    <a:pt x="4828" y="10943"/>
                  </a:lnTo>
                  <a:cubicBezTo>
                    <a:pt x="4828" y="7402"/>
                    <a:pt x="7724" y="4828"/>
                    <a:pt x="10943" y="4828"/>
                  </a:cubicBezTo>
                  <a:lnTo>
                    <a:pt x="111036" y="4828"/>
                  </a:lnTo>
                  <a:cubicBezTo>
                    <a:pt x="114577" y="4828"/>
                    <a:pt x="117151" y="7724"/>
                    <a:pt x="117151" y="10943"/>
                  </a:cubicBezTo>
                  <a:lnTo>
                    <a:pt x="117151" y="15449"/>
                  </a:lnTo>
                  <a:cubicBezTo>
                    <a:pt x="117473" y="18667"/>
                    <a:pt x="114577" y="21564"/>
                    <a:pt x="111358" y="21564"/>
                  </a:cubicBezTo>
                  <a:close/>
                </a:path>
              </a:pathLst>
            </a:custGeom>
            <a:ln>
              <a:solidFill>
                <a:schemeClr val="tx1"/>
              </a:solidFill>
            </a:ln>
          </p:spPr>
          <p:txBody>
            <a:bodyPr rtlCol="0" anchor="ctr"/>
            <a:lstStyle/>
            <a:p>
              <a:pPr defTabSz="731504">
                <a:defRPr/>
              </a:pPr>
              <a:endParaRPr lang="en-US" sz="1800">
                <a:solidFill>
                  <a:srgbClr val="FFFFFF"/>
                </a:solidFill>
              </a:endParaRPr>
            </a:p>
          </p:txBody>
        </p:sp>
        <p:sp>
          <p:nvSpPr>
            <p:cNvPr id="604" name="Freeform: Shape 603">
              <a:extLst>
                <a:ext uri="{FF2B5EF4-FFF2-40B4-BE49-F238E27FC236}">
                  <a16:creationId xmlns:a16="http://schemas.microsoft.com/office/drawing/2014/main" id="{C57B8F96-45B9-4878-B66F-0A25F03F1E0F}"/>
                </a:ext>
              </a:extLst>
            </p:cNvPr>
            <p:cNvSpPr/>
            <p:nvPr/>
          </p:nvSpPr>
          <p:spPr>
            <a:xfrm>
              <a:off x="6376079" y="854212"/>
              <a:ext cx="61150" cy="25748"/>
            </a:xfrm>
            <a:custGeom>
              <a:avLst/>
              <a:gdLst>
                <a:gd name="connsiteX0" fmla="*/ 49242 w 61150"/>
                <a:gd name="connsiteY0" fmla="*/ 21885 h 25747"/>
                <a:gd name="connsiteX1" fmla="*/ 13839 w 61150"/>
                <a:gd name="connsiteY1" fmla="*/ 21885 h 25747"/>
                <a:gd name="connsiteX2" fmla="*/ 4828 w 61150"/>
                <a:gd name="connsiteY2" fmla="*/ 4828 h 25747"/>
                <a:gd name="connsiteX3" fmla="*/ 58254 w 61150"/>
                <a:gd name="connsiteY3" fmla="*/ 4828 h 25747"/>
              </a:gdLst>
              <a:ahLst/>
              <a:cxnLst>
                <a:cxn ang="0">
                  <a:pos x="connsiteX0" y="connsiteY0"/>
                </a:cxn>
                <a:cxn ang="0">
                  <a:pos x="connsiteX1" y="connsiteY1"/>
                </a:cxn>
                <a:cxn ang="0">
                  <a:pos x="connsiteX2" y="connsiteY2"/>
                </a:cxn>
                <a:cxn ang="0">
                  <a:pos x="connsiteX3" y="connsiteY3"/>
                </a:cxn>
              </a:cxnLst>
              <a:rect l="l" t="t" r="r" b="b"/>
              <a:pathLst>
                <a:path w="61150" h="25747">
                  <a:moveTo>
                    <a:pt x="49242" y="21885"/>
                  </a:moveTo>
                  <a:lnTo>
                    <a:pt x="13839" y="21885"/>
                  </a:lnTo>
                  <a:lnTo>
                    <a:pt x="4828" y="4828"/>
                  </a:lnTo>
                  <a:lnTo>
                    <a:pt x="58254" y="4828"/>
                  </a:lnTo>
                  <a:close/>
                </a:path>
              </a:pathLst>
            </a:custGeom>
            <a:ln>
              <a:solidFill>
                <a:schemeClr val="tx1"/>
              </a:solidFill>
            </a:ln>
          </p:spPr>
          <p:txBody>
            <a:bodyPr rtlCol="0" anchor="ctr"/>
            <a:lstStyle/>
            <a:p>
              <a:pPr defTabSz="731504">
                <a:defRPr/>
              </a:pPr>
              <a:endParaRPr lang="en-US" sz="1800">
                <a:solidFill>
                  <a:srgbClr val="FFFFFF"/>
                </a:solidFill>
              </a:endParaRPr>
            </a:p>
          </p:txBody>
        </p:sp>
      </p:grpSp>
      <p:grpSp>
        <p:nvGrpSpPr>
          <p:cNvPr id="6" name="Group 5">
            <a:extLst>
              <a:ext uri="{FF2B5EF4-FFF2-40B4-BE49-F238E27FC236}">
                <a16:creationId xmlns:a16="http://schemas.microsoft.com/office/drawing/2014/main" id="{38259ED5-FE63-47FB-9F8F-FC605E5209C9}"/>
              </a:ext>
            </a:extLst>
          </p:cNvPr>
          <p:cNvGrpSpPr/>
          <p:nvPr/>
        </p:nvGrpSpPr>
        <p:grpSpPr>
          <a:xfrm>
            <a:off x="579866" y="6030103"/>
            <a:ext cx="3212552" cy="423260"/>
            <a:chOff x="578398" y="6478445"/>
            <a:chExt cx="3444109" cy="423260"/>
          </a:xfrm>
        </p:grpSpPr>
        <p:cxnSp>
          <p:nvCxnSpPr>
            <p:cNvPr id="608" name="Straight Connector 607">
              <a:extLst>
                <a:ext uri="{FF2B5EF4-FFF2-40B4-BE49-F238E27FC236}">
                  <a16:creationId xmlns:a16="http://schemas.microsoft.com/office/drawing/2014/main" id="{3C06840C-008B-43C0-80CD-0CB4B34A394D}"/>
                </a:ext>
              </a:extLst>
            </p:cNvPr>
            <p:cNvCxnSpPr/>
            <p:nvPr/>
          </p:nvCxnSpPr>
          <p:spPr>
            <a:xfrm rot="16200000">
              <a:off x="2300453" y="4756390"/>
              <a:ext cx="0" cy="3444109"/>
            </a:xfrm>
            <a:prstGeom prst="line">
              <a:avLst/>
            </a:prstGeom>
            <a:ln w="19050">
              <a:solidFill>
                <a:srgbClr val="FD99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9" name="Straight Arrow Connector 608">
              <a:extLst>
                <a:ext uri="{FF2B5EF4-FFF2-40B4-BE49-F238E27FC236}">
                  <a16:creationId xmlns:a16="http://schemas.microsoft.com/office/drawing/2014/main" id="{C65BF824-8F41-4F59-86F2-534D8C3AD72D}"/>
                </a:ext>
              </a:extLst>
            </p:cNvPr>
            <p:cNvCxnSpPr/>
            <p:nvPr/>
          </p:nvCxnSpPr>
          <p:spPr>
            <a:xfrm rot="16200000" flipH="1">
              <a:off x="2088824" y="6690075"/>
              <a:ext cx="423260" cy="0"/>
            </a:xfrm>
            <a:prstGeom prst="straightConnector1">
              <a:avLst/>
            </a:prstGeom>
            <a:ln w="19050">
              <a:solidFill>
                <a:srgbClr val="FD9900"/>
              </a:solidFill>
              <a:headEnd type="none"/>
              <a:tailEnd type="arrow" w="lg" len="med"/>
            </a:ln>
          </p:spPr>
          <p:style>
            <a:lnRef idx="1">
              <a:schemeClr val="accent1"/>
            </a:lnRef>
            <a:fillRef idx="0">
              <a:schemeClr val="accent1"/>
            </a:fillRef>
            <a:effectRef idx="0">
              <a:schemeClr val="accent1"/>
            </a:effectRef>
            <a:fontRef idx="minor">
              <a:schemeClr val="tx1"/>
            </a:fontRef>
          </p:style>
        </p:cxnSp>
      </p:grpSp>
      <p:sp>
        <p:nvSpPr>
          <p:cNvPr id="610" name="TextBox 609">
            <a:extLst>
              <a:ext uri="{FF2B5EF4-FFF2-40B4-BE49-F238E27FC236}">
                <a16:creationId xmlns:a16="http://schemas.microsoft.com/office/drawing/2014/main" id="{6D7A03C0-4C0A-441D-BFD6-FA8504C044D5}"/>
              </a:ext>
            </a:extLst>
          </p:cNvPr>
          <p:cNvSpPr txBox="1"/>
          <p:nvPr/>
        </p:nvSpPr>
        <p:spPr>
          <a:xfrm>
            <a:off x="774558" y="6571180"/>
            <a:ext cx="3111749" cy="369332"/>
          </a:xfrm>
          <a:prstGeom prst="rect">
            <a:avLst/>
          </a:prstGeom>
          <a:noFill/>
        </p:spPr>
        <p:txBody>
          <a:bodyPr wrap="none" rtlCol="0">
            <a:spAutoFit/>
          </a:bodyPr>
          <a:lstStyle/>
          <a:p>
            <a:pPr algn="ctr" defTabSz="731504">
              <a:lnSpc>
                <a:spcPct val="90000"/>
              </a:lnSpc>
              <a:spcAft>
                <a:spcPts val="1800"/>
              </a:spcAft>
              <a:defRPr/>
            </a:pPr>
            <a:r>
              <a:rPr lang="en-US" sz="2000" dirty="0"/>
              <a:t>Create a case for change</a:t>
            </a:r>
          </a:p>
        </p:txBody>
      </p:sp>
      <p:sp>
        <p:nvSpPr>
          <p:cNvPr id="144" name="TextBox 143">
            <a:extLst>
              <a:ext uri="{FF2B5EF4-FFF2-40B4-BE49-F238E27FC236}">
                <a16:creationId xmlns:a16="http://schemas.microsoft.com/office/drawing/2014/main" id="{EEB56CFC-98F1-48B0-8331-B1AD2902052F}"/>
              </a:ext>
            </a:extLst>
          </p:cNvPr>
          <p:cNvSpPr txBox="1"/>
          <p:nvPr/>
        </p:nvSpPr>
        <p:spPr>
          <a:xfrm>
            <a:off x="10161876" y="4151514"/>
            <a:ext cx="1472602" cy="492443"/>
          </a:xfrm>
          <a:prstGeom prst="rect">
            <a:avLst/>
          </a:prstGeom>
          <a:noFill/>
        </p:spPr>
        <p:txBody>
          <a:bodyPr wrap="square" rtlCol="0">
            <a:spAutoFit/>
          </a:bodyPr>
          <a:lstStyle/>
          <a:p>
            <a:pPr defTabSz="1097258">
              <a:defRPr/>
            </a:pPr>
            <a:r>
              <a:rPr lang="en-US" sz="1300" dirty="0">
                <a:solidFill>
                  <a:srgbClr val="FFFFFF"/>
                </a:solidFill>
                <a:latin typeface="Amazon Ember" panose="02000000000000000000" pitchFamily="2" charset="0"/>
                <a:ea typeface="Amazon Ember" panose="02000000000000000000" pitchFamily="2" charset="0"/>
              </a:rPr>
              <a:t>Operate &amp;</a:t>
            </a:r>
            <a:br>
              <a:rPr lang="en-US" sz="1300" dirty="0">
                <a:solidFill>
                  <a:srgbClr val="FFFFFF"/>
                </a:solidFill>
                <a:latin typeface="Amazon Ember" panose="02000000000000000000" pitchFamily="2" charset="0"/>
                <a:ea typeface="Amazon Ember" panose="02000000000000000000" pitchFamily="2" charset="0"/>
              </a:rPr>
            </a:br>
            <a:r>
              <a:rPr lang="en-US" sz="1300" dirty="0">
                <a:solidFill>
                  <a:srgbClr val="FFFFFF"/>
                </a:solidFill>
                <a:latin typeface="Amazon Ember" panose="02000000000000000000" pitchFamily="2" charset="0"/>
                <a:ea typeface="Amazon Ember" panose="02000000000000000000" pitchFamily="2" charset="0"/>
              </a:rPr>
              <a:t>optimize</a:t>
            </a:r>
          </a:p>
        </p:txBody>
      </p:sp>
      <p:sp>
        <p:nvSpPr>
          <p:cNvPr id="145" name="TextBox 144">
            <a:extLst>
              <a:ext uri="{FF2B5EF4-FFF2-40B4-BE49-F238E27FC236}">
                <a16:creationId xmlns:a16="http://schemas.microsoft.com/office/drawing/2014/main" id="{E32D9E3F-0FDB-4838-89BF-F9B5F247C6C4}"/>
              </a:ext>
            </a:extLst>
          </p:cNvPr>
          <p:cNvSpPr txBox="1"/>
          <p:nvPr/>
        </p:nvSpPr>
        <p:spPr>
          <a:xfrm>
            <a:off x="10197377" y="2709347"/>
            <a:ext cx="2104771" cy="292388"/>
          </a:xfrm>
          <a:prstGeom prst="rect">
            <a:avLst/>
          </a:prstGeom>
          <a:noFill/>
        </p:spPr>
        <p:txBody>
          <a:bodyPr wrap="square" rtlCol="0">
            <a:spAutoFit/>
          </a:bodyPr>
          <a:lstStyle/>
          <a:p>
            <a:pPr defTabSz="1097258">
              <a:defRPr/>
            </a:pPr>
            <a:r>
              <a:rPr lang="en-US" sz="1300" dirty="0">
                <a:solidFill>
                  <a:srgbClr val="FFFFFF"/>
                </a:solidFill>
                <a:latin typeface="Amazon Ember" panose="02000000000000000000" pitchFamily="2" charset="0"/>
                <a:ea typeface="Amazon Ember" panose="02000000000000000000" pitchFamily="2" charset="0"/>
              </a:rPr>
              <a:t>Migrate</a:t>
            </a:r>
          </a:p>
        </p:txBody>
      </p:sp>
      <p:sp>
        <p:nvSpPr>
          <p:cNvPr id="146" name="TextBox 145">
            <a:extLst>
              <a:ext uri="{FF2B5EF4-FFF2-40B4-BE49-F238E27FC236}">
                <a16:creationId xmlns:a16="http://schemas.microsoft.com/office/drawing/2014/main" id="{91AC088E-1A69-43A7-91F2-8A9C7E988BB2}"/>
              </a:ext>
            </a:extLst>
          </p:cNvPr>
          <p:cNvSpPr txBox="1"/>
          <p:nvPr/>
        </p:nvSpPr>
        <p:spPr>
          <a:xfrm>
            <a:off x="10197377" y="5234747"/>
            <a:ext cx="2104771" cy="292388"/>
          </a:xfrm>
          <a:prstGeom prst="rect">
            <a:avLst/>
          </a:prstGeom>
          <a:noFill/>
        </p:spPr>
        <p:txBody>
          <a:bodyPr wrap="square" rtlCol="0">
            <a:spAutoFit/>
          </a:bodyPr>
          <a:lstStyle/>
          <a:p>
            <a:pPr defTabSz="1097258">
              <a:defRPr/>
            </a:pPr>
            <a:r>
              <a:rPr lang="en-US" sz="1300" dirty="0">
                <a:solidFill>
                  <a:srgbClr val="FFFFFF"/>
                </a:solidFill>
                <a:latin typeface="Amazon Ember" panose="02000000000000000000" pitchFamily="2" charset="0"/>
                <a:ea typeface="Amazon Ember" panose="02000000000000000000" pitchFamily="2" charset="0"/>
              </a:rPr>
              <a:t>Modernize</a:t>
            </a:r>
          </a:p>
        </p:txBody>
      </p:sp>
      <p:grpSp>
        <p:nvGrpSpPr>
          <p:cNvPr id="482" name="Group 481">
            <a:extLst>
              <a:ext uri="{FF2B5EF4-FFF2-40B4-BE49-F238E27FC236}">
                <a16:creationId xmlns:a16="http://schemas.microsoft.com/office/drawing/2014/main" id="{6FFD48FB-F61B-4A52-9A3C-C467D6581CAD}"/>
              </a:ext>
            </a:extLst>
          </p:cNvPr>
          <p:cNvGrpSpPr/>
          <p:nvPr/>
        </p:nvGrpSpPr>
        <p:grpSpPr>
          <a:xfrm>
            <a:off x="11327539" y="3956057"/>
            <a:ext cx="722164" cy="741402"/>
            <a:chOff x="11775659" y="4756671"/>
            <a:chExt cx="483729" cy="496616"/>
          </a:xfrm>
        </p:grpSpPr>
        <p:grpSp>
          <p:nvGrpSpPr>
            <p:cNvPr id="483" name="Graphic 268">
              <a:extLst>
                <a:ext uri="{FF2B5EF4-FFF2-40B4-BE49-F238E27FC236}">
                  <a16:creationId xmlns:a16="http://schemas.microsoft.com/office/drawing/2014/main" id="{AE60453C-F12F-493F-B5D6-D1CEA3986700}"/>
                </a:ext>
              </a:extLst>
            </p:cNvPr>
            <p:cNvGrpSpPr/>
            <p:nvPr/>
          </p:nvGrpSpPr>
          <p:grpSpPr>
            <a:xfrm>
              <a:off x="11775659" y="4756671"/>
              <a:ext cx="483729" cy="496616"/>
              <a:chOff x="4562059" y="6255271"/>
              <a:chExt cx="483729" cy="496616"/>
            </a:xfrm>
          </p:grpSpPr>
          <p:sp>
            <p:nvSpPr>
              <p:cNvPr id="487" name="Freeform: Shape 486">
                <a:extLst>
                  <a:ext uri="{FF2B5EF4-FFF2-40B4-BE49-F238E27FC236}">
                    <a16:creationId xmlns:a16="http://schemas.microsoft.com/office/drawing/2014/main" id="{9FF180D9-DCFD-43C1-BA6A-87CF6EEA5D96}"/>
                  </a:ext>
                </a:extLst>
              </p:cNvPr>
              <p:cNvSpPr/>
              <p:nvPr/>
            </p:nvSpPr>
            <p:spPr>
              <a:xfrm>
                <a:off x="4566562" y="6542841"/>
                <a:ext cx="80461" cy="138393"/>
              </a:xfrm>
              <a:custGeom>
                <a:avLst/>
                <a:gdLst>
                  <a:gd name="connsiteX0" fmla="*/ 1617 w 80461"/>
                  <a:gd name="connsiteY0" fmla="*/ 1617 h 138393"/>
                  <a:gd name="connsiteX1" fmla="*/ 79825 w 80461"/>
                  <a:gd name="connsiteY1" fmla="*/ 139367 h 138393"/>
                </a:gdLst>
                <a:ahLst/>
                <a:cxnLst>
                  <a:cxn ang="0">
                    <a:pos x="connsiteX0" y="connsiteY0"/>
                  </a:cxn>
                  <a:cxn ang="0">
                    <a:pos x="connsiteX1" y="connsiteY1"/>
                  </a:cxn>
                </a:cxnLst>
                <a:rect l="l" t="t" r="r" b="b"/>
                <a:pathLst>
                  <a:path w="80461" h="138393">
                    <a:moveTo>
                      <a:pt x="1617" y="1617"/>
                    </a:moveTo>
                    <a:cubicBezTo>
                      <a:pt x="9342" y="45066"/>
                      <a:pt x="29296" y="99458"/>
                      <a:pt x="79825" y="139367"/>
                    </a:cubicBezTo>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488" name="Freeform: Shape 487">
                <a:extLst>
                  <a:ext uri="{FF2B5EF4-FFF2-40B4-BE49-F238E27FC236}">
                    <a16:creationId xmlns:a16="http://schemas.microsoft.com/office/drawing/2014/main" id="{BC69C50D-62BA-40D4-A8CB-3762520AE1C4}"/>
                  </a:ext>
                </a:extLst>
              </p:cNvPr>
              <p:cNvSpPr/>
              <p:nvPr/>
            </p:nvSpPr>
            <p:spPr>
              <a:xfrm>
                <a:off x="4562059" y="6283113"/>
                <a:ext cx="131956" cy="231728"/>
              </a:xfrm>
              <a:custGeom>
                <a:avLst/>
                <a:gdLst>
                  <a:gd name="connsiteX0" fmla="*/ 132926 w 131956"/>
                  <a:gd name="connsiteY0" fmla="*/ 1617 h 231728"/>
                  <a:gd name="connsiteX1" fmla="*/ 121340 w 131956"/>
                  <a:gd name="connsiteY1" fmla="*/ 8054 h 231728"/>
                  <a:gd name="connsiteX2" fmla="*/ 2579 w 131956"/>
                  <a:gd name="connsiteY2" fmla="*/ 191506 h 231728"/>
                  <a:gd name="connsiteX3" fmla="*/ 2258 w 131956"/>
                  <a:gd name="connsiteY3" fmla="*/ 230127 h 231728"/>
                </a:gdLst>
                <a:ahLst/>
                <a:cxnLst>
                  <a:cxn ang="0">
                    <a:pos x="connsiteX0" y="connsiteY0"/>
                  </a:cxn>
                  <a:cxn ang="0">
                    <a:pos x="connsiteX1" y="connsiteY1"/>
                  </a:cxn>
                  <a:cxn ang="0">
                    <a:pos x="connsiteX2" y="connsiteY2"/>
                  </a:cxn>
                  <a:cxn ang="0">
                    <a:pos x="connsiteX3" y="connsiteY3"/>
                  </a:cxn>
                </a:cxnLst>
                <a:rect l="l" t="t" r="r" b="b"/>
                <a:pathLst>
                  <a:path w="131956" h="231728">
                    <a:moveTo>
                      <a:pt x="132926" y="1617"/>
                    </a:moveTo>
                    <a:cubicBezTo>
                      <a:pt x="129064" y="3548"/>
                      <a:pt x="125202" y="5801"/>
                      <a:pt x="121340" y="8054"/>
                    </a:cubicBezTo>
                    <a:cubicBezTo>
                      <a:pt x="70810" y="37342"/>
                      <a:pt x="11591" y="102998"/>
                      <a:pt x="2579" y="191506"/>
                    </a:cubicBezTo>
                    <a:cubicBezTo>
                      <a:pt x="2579" y="191506"/>
                      <a:pt x="648" y="206954"/>
                      <a:pt x="2258" y="230127"/>
                    </a:cubicBezTo>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489" name="Freeform: Shape 488">
                <a:extLst>
                  <a:ext uri="{FF2B5EF4-FFF2-40B4-BE49-F238E27FC236}">
                    <a16:creationId xmlns:a16="http://schemas.microsoft.com/office/drawing/2014/main" id="{5DBE6E26-A04F-4F36-B4EA-B8BCC7D65C9C}"/>
                  </a:ext>
                </a:extLst>
              </p:cNvPr>
              <p:cNvSpPr/>
              <p:nvPr/>
            </p:nvSpPr>
            <p:spPr>
              <a:xfrm>
                <a:off x="4721369" y="6255271"/>
                <a:ext cx="280005" cy="106209"/>
              </a:xfrm>
              <a:custGeom>
                <a:avLst/>
                <a:gdLst>
                  <a:gd name="connsiteX0" fmla="*/ 281300 w 280004"/>
                  <a:gd name="connsiteY0" fmla="*/ 105737 h 106208"/>
                  <a:gd name="connsiteX1" fmla="*/ 1617 w 280004"/>
                  <a:gd name="connsiteY1" fmla="*/ 16908 h 106208"/>
                </a:gdLst>
                <a:ahLst/>
                <a:cxnLst>
                  <a:cxn ang="0">
                    <a:pos x="connsiteX0" y="connsiteY0"/>
                  </a:cxn>
                  <a:cxn ang="0">
                    <a:pos x="connsiteX1" y="connsiteY1"/>
                  </a:cxn>
                </a:cxnLst>
                <a:rect l="l" t="t" r="r" b="b"/>
                <a:pathLst>
                  <a:path w="280004" h="106208">
                    <a:moveTo>
                      <a:pt x="281300" y="105737"/>
                    </a:moveTo>
                    <a:cubicBezTo>
                      <a:pt x="240104" y="41368"/>
                      <a:pt x="127137" y="-30404"/>
                      <a:pt x="1617" y="16908"/>
                    </a:cubicBezTo>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490" name="Freeform: Shape 489">
                <a:extLst>
                  <a:ext uri="{FF2B5EF4-FFF2-40B4-BE49-F238E27FC236}">
                    <a16:creationId xmlns:a16="http://schemas.microsoft.com/office/drawing/2014/main" id="{396799F5-9D99-44DA-AE1B-97009A819567}"/>
                  </a:ext>
                </a:extLst>
              </p:cNvPr>
              <p:cNvSpPr/>
              <p:nvPr/>
            </p:nvSpPr>
            <p:spPr>
              <a:xfrm>
                <a:off x="4966139" y="6325122"/>
                <a:ext cx="45058" cy="41840"/>
              </a:xfrm>
              <a:custGeom>
                <a:avLst/>
                <a:gdLst>
                  <a:gd name="connsiteX0" fmla="*/ 45541 w 45058"/>
                  <a:gd name="connsiteY0" fmla="*/ 3379 h 41839"/>
                  <a:gd name="connsiteX1" fmla="*/ 39104 w 45058"/>
                  <a:gd name="connsiteY1" fmla="*/ 2414 h 41839"/>
                  <a:gd name="connsiteX2" fmla="*/ 34598 w 45058"/>
                  <a:gd name="connsiteY2" fmla="*/ 33955 h 41839"/>
                  <a:gd name="connsiteX3" fmla="*/ 3701 w 45058"/>
                  <a:gd name="connsiteY3" fmla="*/ 27196 h 41839"/>
                  <a:gd name="connsiteX4" fmla="*/ 2414 w 45058"/>
                  <a:gd name="connsiteY4" fmla="*/ 33311 h 41839"/>
                  <a:gd name="connsiteX5" fmla="*/ 40070 w 45058"/>
                  <a:gd name="connsiteY5" fmla="*/ 41679 h 4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58" h="41839">
                    <a:moveTo>
                      <a:pt x="45541" y="3379"/>
                    </a:moveTo>
                    <a:lnTo>
                      <a:pt x="39104" y="2414"/>
                    </a:lnTo>
                    <a:lnTo>
                      <a:pt x="34598" y="33955"/>
                    </a:lnTo>
                    <a:lnTo>
                      <a:pt x="3701" y="27196"/>
                    </a:lnTo>
                    <a:lnTo>
                      <a:pt x="2414" y="33311"/>
                    </a:lnTo>
                    <a:lnTo>
                      <a:pt x="40070" y="41679"/>
                    </a:lnTo>
                    <a:close/>
                  </a:path>
                </a:pathLst>
              </a:custGeom>
              <a:solidFill>
                <a:schemeClr val="tx1"/>
              </a:solidFill>
              <a:ln w="15875" cap="flat">
                <a:solidFill>
                  <a:schemeClr val="tx1"/>
                </a:solidFill>
                <a:prstDash val="solid"/>
                <a:miter/>
              </a:ln>
            </p:spPr>
            <p:txBody>
              <a:bodyPr rtlCol="0" anchor="ctr"/>
              <a:lstStyle/>
              <a:p>
                <a:pPr defTabSz="731504">
                  <a:defRPr/>
                </a:pPr>
                <a:endParaRPr lang="en-US" sz="1800">
                  <a:solidFill>
                    <a:srgbClr val="FFFFFF"/>
                  </a:solidFill>
                </a:endParaRPr>
              </a:p>
            </p:txBody>
          </p:sp>
          <p:sp>
            <p:nvSpPr>
              <p:cNvPr id="491" name="Freeform: Shape 490">
                <a:extLst>
                  <a:ext uri="{FF2B5EF4-FFF2-40B4-BE49-F238E27FC236}">
                    <a16:creationId xmlns:a16="http://schemas.microsoft.com/office/drawing/2014/main" id="{F6E66C7A-BA71-489E-95A5-D966B16473B0}"/>
                  </a:ext>
                </a:extLst>
              </p:cNvPr>
              <p:cNvSpPr/>
              <p:nvPr/>
            </p:nvSpPr>
            <p:spPr>
              <a:xfrm>
                <a:off x="5032914" y="6426655"/>
                <a:ext cx="12874" cy="86898"/>
              </a:xfrm>
              <a:custGeom>
                <a:avLst/>
                <a:gdLst>
                  <a:gd name="connsiteX0" fmla="*/ 12238 w 12873"/>
                  <a:gd name="connsiteY0" fmla="*/ 86584 h 86898"/>
                  <a:gd name="connsiteX1" fmla="*/ 1617 w 12873"/>
                  <a:gd name="connsiteY1" fmla="*/ 1617 h 86898"/>
                </a:gdLst>
                <a:ahLst/>
                <a:cxnLst>
                  <a:cxn ang="0">
                    <a:pos x="connsiteX0" y="connsiteY0"/>
                  </a:cxn>
                  <a:cxn ang="0">
                    <a:pos x="connsiteX1" y="connsiteY1"/>
                  </a:cxn>
                </a:cxnLst>
                <a:rect l="l" t="t" r="r" b="b"/>
                <a:pathLst>
                  <a:path w="12873" h="86898">
                    <a:moveTo>
                      <a:pt x="12238" y="86584"/>
                    </a:moveTo>
                    <a:cubicBezTo>
                      <a:pt x="13847" y="60193"/>
                      <a:pt x="10629" y="31549"/>
                      <a:pt x="1617" y="1617"/>
                    </a:cubicBezTo>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492" name="Freeform: Shape 491">
                <a:extLst>
                  <a:ext uri="{FF2B5EF4-FFF2-40B4-BE49-F238E27FC236}">
                    <a16:creationId xmlns:a16="http://schemas.microsoft.com/office/drawing/2014/main" id="{C7B6264B-2CD9-4AC0-9EBD-4C0F3463A50B}"/>
                  </a:ext>
                </a:extLst>
              </p:cNvPr>
              <p:cNvSpPr/>
              <p:nvPr/>
            </p:nvSpPr>
            <p:spPr>
              <a:xfrm>
                <a:off x="5025190" y="6531255"/>
                <a:ext cx="19311" cy="61150"/>
              </a:xfrm>
              <a:custGeom>
                <a:avLst/>
                <a:gdLst>
                  <a:gd name="connsiteX0" fmla="*/ 1617 w 19310"/>
                  <a:gd name="connsiteY0" fmla="*/ 60193 h 61150"/>
                  <a:gd name="connsiteX1" fmla="*/ 18353 w 19310"/>
                  <a:gd name="connsiteY1" fmla="*/ 1617 h 61150"/>
                </a:gdLst>
                <a:ahLst/>
                <a:cxnLst>
                  <a:cxn ang="0">
                    <a:pos x="connsiteX0" y="connsiteY0"/>
                  </a:cxn>
                  <a:cxn ang="0">
                    <a:pos x="connsiteX1" y="connsiteY1"/>
                  </a:cxn>
                </a:cxnLst>
                <a:rect l="l" t="t" r="r" b="b"/>
                <a:pathLst>
                  <a:path w="19310" h="61150">
                    <a:moveTo>
                      <a:pt x="1617" y="60193"/>
                    </a:moveTo>
                    <a:cubicBezTo>
                      <a:pt x="9342" y="42170"/>
                      <a:pt x="15135" y="22537"/>
                      <a:pt x="18353" y="1617"/>
                    </a:cubicBezTo>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493" name="Freeform: Shape 492">
                <a:extLst>
                  <a:ext uri="{FF2B5EF4-FFF2-40B4-BE49-F238E27FC236}">
                    <a16:creationId xmlns:a16="http://schemas.microsoft.com/office/drawing/2014/main" id="{1443F378-300F-46AE-8302-76B6BD19C5E1}"/>
                  </a:ext>
                </a:extLst>
              </p:cNvPr>
              <p:cNvSpPr/>
              <p:nvPr/>
            </p:nvSpPr>
            <p:spPr>
              <a:xfrm>
                <a:off x="4701736" y="6612038"/>
                <a:ext cx="315408" cy="128738"/>
              </a:xfrm>
              <a:custGeom>
                <a:avLst/>
                <a:gdLst>
                  <a:gd name="connsiteX0" fmla="*/ 1617 w 315407"/>
                  <a:gd name="connsiteY0" fmla="*/ 106539 h 128737"/>
                  <a:gd name="connsiteX1" fmla="*/ 224012 w 315407"/>
                  <a:gd name="connsiteY1" fmla="*/ 95274 h 128737"/>
                  <a:gd name="connsiteX2" fmla="*/ 314450 w 315407"/>
                  <a:gd name="connsiteY2" fmla="*/ 1617 h 128737"/>
                </a:gdLst>
                <a:ahLst/>
                <a:cxnLst>
                  <a:cxn ang="0">
                    <a:pos x="connsiteX0" y="connsiteY0"/>
                  </a:cxn>
                  <a:cxn ang="0">
                    <a:pos x="connsiteX1" y="connsiteY1"/>
                  </a:cxn>
                  <a:cxn ang="0">
                    <a:pos x="connsiteX2" y="connsiteY2"/>
                  </a:cxn>
                </a:cxnLst>
                <a:rect l="l" t="t" r="r" b="b"/>
                <a:pathLst>
                  <a:path w="315407" h="128737">
                    <a:moveTo>
                      <a:pt x="1617" y="106539"/>
                    </a:moveTo>
                    <a:cubicBezTo>
                      <a:pt x="62768" y="135183"/>
                      <a:pt x="141941" y="142585"/>
                      <a:pt x="224012" y="95274"/>
                    </a:cubicBezTo>
                    <a:cubicBezTo>
                      <a:pt x="255553" y="76929"/>
                      <a:pt x="290312" y="44744"/>
                      <a:pt x="314450" y="1617"/>
                    </a:cubicBezTo>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494" name="Freeform: Shape 493">
                <a:extLst>
                  <a:ext uri="{FF2B5EF4-FFF2-40B4-BE49-F238E27FC236}">
                    <a16:creationId xmlns:a16="http://schemas.microsoft.com/office/drawing/2014/main" id="{E4AE16D0-64E3-446A-BBC5-C0C4B25209CF}"/>
                  </a:ext>
                </a:extLst>
              </p:cNvPr>
              <p:cNvSpPr/>
              <p:nvPr/>
            </p:nvSpPr>
            <p:spPr>
              <a:xfrm>
                <a:off x="4694503" y="6700392"/>
                <a:ext cx="41840" cy="51495"/>
              </a:xfrm>
              <a:custGeom>
                <a:avLst/>
                <a:gdLst>
                  <a:gd name="connsiteX0" fmla="*/ 17541 w 41839"/>
                  <a:gd name="connsiteY0" fmla="*/ 50691 h 51495"/>
                  <a:gd name="connsiteX1" fmla="*/ 23656 w 41839"/>
                  <a:gd name="connsiteY1" fmla="*/ 48116 h 51495"/>
                  <a:gd name="connsiteX2" fmla="*/ 11104 w 41839"/>
                  <a:gd name="connsiteY2" fmla="*/ 18828 h 51495"/>
                  <a:gd name="connsiteX3" fmla="*/ 41035 w 41839"/>
                  <a:gd name="connsiteY3" fmla="*/ 8529 h 51495"/>
                  <a:gd name="connsiteX4" fmla="*/ 39104 w 41839"/>
                  <a:gd name="connsiteY4" fmla="*/ 2414 h 51495"/>
                  <a:gd name="connsiteX5" fmla="*/ 2414 w 41839"/>
                  <a:gd name="connsiteY5" fmla="*/ 14966 h 5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39" h="51495">
                    <a:moveTo>
                      <a:pt x="17541" y="50691"/>
                    </a:moveTo>
                    <a:lnTo>
                      <a:pt x="23656" y="48116"/>
                    </a:lnTo>
                    <a:lnTo>
                      <a:pt x="11104" y="18828"/>
                    </a:lnTo>
                    <a:lnTo>
                      <a:pt x="41035" y="8529"/>
                    </a:lnTo>
                    <a:lnTo>
                      <a:pt x="39104" y="2414"/>
                    </a:lnTo>
                    <a:lnTo>
                      <a:pt x="2414" y="14966"/>
                    </a:lnTo>
                    <a:close/>
                  </a:path>
                </a:pathLst>
              </a:custGeom>
              <a:solidFill>
                <a:schemeClr val="tx1"/>
              </a:solidFill>
              <a:ln w="15875" cap="flat">
                <a:solidFill>
                  <a:schemeClr val="tx1"/>
                </a:solidFill>
                <a:prstDash val="solid"/>
                <a:miter/>
              </a:ln>
            </p:spPr>
            <p:txBody>
              <a:bodyPr rtlCol="0" anchor="ctr"/>
              <a:lstStyle/>
              <a:p>
                <a:pPr defTabSz="731504">
                  <a:defRPr/>
                </a:pPr>
                <a:endParaRPr lang="en-US" sz="1800">
                  <a:solidFill>
                    <a:srgbClr val="FFFFFF"/>
                  </a:solidFill>
                </a:endParaRPr>
              </a:p>
            </p:txBody>
          </p:sp>
        </p:grpSp>
        <p:grpSp>
          <p:nvGrpSpPr>
            <p:cNvPr id="484" name="Graphic 244">
              <a:extLst>
                <a:ext uri="{FF2B5EF4-FFF2-40B4-BE49-F238E27FC236}">
                  <a16:creationId xmlns:a16="http://schemas.microsoft.com/office/drawing/2014/main" id="{309992C6-2EDE-4AD1-A52D-AAB46D63F8D0}"/>
                </a:ext>
              </a:extLst>
            </p:cNvPr>
            <p:cNvGrpSpPr/>
            <p:nvPr/>
          </p:nvGrpSpPr>
          <p:grpSpPr>
            <a:xfrm>
              <a:off x="11885192" y="4863122"/>
              <a:ext cx="274189" cy="274189"/>
              <a:chOff x="7761796" y="567771"/>
              <a:chExt cx="164141" cy="164141"/>
            </a:xfrm>
          </p:grpSpPr>
          <p:sp>
            <p:nvSpPr>
              <p:cNvPr id="485" name="Freeform: Shape 484">
                <a:extLst>
                  <a:ext uri="{FF2B5EF4-FFF2-40B4-BE49-F238E27FC236}">
                    <a16:creationId xmlns:a16="http://schemas.microsoft.com/office/drawing/2014/main" id="{AC54433B-F673-4D08-A752-CEB7C78A69FC}"/>
                  </a:ext>
                </a:extLst>
              </p:cNvPr>
              <p:cNvSpPr/>
              <p:nvPr/>
            </p:nvSpPr>
            <p:spPr>
              <a:xfrm>
                <a:off x="7761796" y="567771"/>
                <a:ext cx="164141" cy="164141"/>
              </a:xfrm>
              <a:custGeom>
                <a:avLst/>
                <a:gdLst>
                  <a:gd name="connsiteX0" fmla="*/ 19311 w 164140"/>
                  <a:gd name="connsiteY0" fmla="*/ 128094 h 164140"/>
                  <a:gd name="connsiteX1" fmla="*/ 22529 w 164140"/>
                  <a:gd name="connsiteY1" fmla="*/ 131634 h 164140"/>
                  <a:gd name="connsiteX2" fmla="*/ 25748 w 164140"/>
                  <a:gd name="connsiteY2" fmla="*/ 135175 h 164140"/>
                  <a:gd name="connsiteX3" fmla="*/ 28966 w 164140"/>
                  <a:gd name="connsiteY3" fmla="*/ 138715 h 164140"/>
                  <a:gd name="connsiteX4" fmla="*/ 50530 w 164140"/>
                  <a:gd name="connsiteY4" fmla="*/ 127772 h 164140"/>
                  <a:gd name="connsiteX5" fmla="*/ 65978 w 164140"/>
                  <a:gd name="connsiteY5" fmla="*/ 135497 h 164140"/>
                  <a:gd name="connsiteX6" fmla="*/ 70162 w 164140"/>
                  <a:gd name="connsiteY6" fmla="*/ 159313 h 164140"/>
                  <a:gd name="connsiteX7" fmla="*/ 74990 w 164140"/>
                  <a:gd name="connsiteY7" fmla="*/ 159635 h 164140"/>
                  <a:gd name="connsiteX8" fmla="*/ 79817 w 164140"/>
                  <a:gd name="connsiteY8" fmla="*/ 159957 h 164140"/>
                  <a:gd name="connsiteX9" fmla="*/ 84645 w 164140"/>
                  <a:gd name="connsiteY9" fmla="*/ 160279 h 164140"/>
                  <a:gd name="connsiteX10" fmla="*/ 92048 w 164140"/>
                  <a:gd name="connsiteY10" fmla="*/ 137106 h 164140"/>
                  <a:gd name="connsiteX11" fmla="*/ 108140 w 164140"/>
                  <a:gd name="connsiteY11" fmla="*/ 131634 h 164140"/>
                  <a:gd name="connsiteX12" fmla="*/ 128094 w 164140"/>
                  <a:gd name="connsiteY12" fmla="*/ 145474 h 164140"/>
                  <a:gd name="connsiteX13" fmla="*/ 131634 w 164140"/>
                  <a:gd name="connsiteY13" fmla="*/ 142255 h 164140"/>
                  <a:gd name="connsiteX14" fmla="*/ 135175 w 164140"/>
                  <a:gd name="connsiteY14" fmla="*/ 139037 h 164140"/>
                  <a:gd name="connsiteX15" fmla="*/ 138715 w 164140"/>
                  <a:gd name="connsiteY15" fmla="*/ 135818 h 164140"/>
                  <a:gd name="connsiteX16" fmla="*/ 127772 w 164140"/>
                  <a:gd name="connsiteY16" fmla="*/ 114255 h 164140"/>
                  <a:gd name="connsiteX17" fmla="*/ 135497 w 164140"/>
                  <a:gd name="connsiteY17" fmla="*/ 99128 h 164140"/>
                  <a:gd name="connsiteX18" fmla="*/ 159313 w 164140"/>
                  <a:gd name="connsiteY18" fmla="*/ 94944 h 164140"/>
                  <a:gd name="connsiteX19" fmla="*/ 159635 w 164140"/>
                  <a:gd name="connsiteY19" fmla="*/ 90116 h 164140"/>
                  <a:gd name="connsiteX20" fmla="*/ 159957 w 164140"/>
                  <a:gd name="connsiteY20" fmla="*/ 85289 h 164140"/>
                  <a:gd name="connsiteX21" fmla="*/ 160279 w 164140"/>
                  <a:gd name="connsiteY21" fmla="*/ 80461 h 164140"/>
                  <a:gd name="connsiteX22" fmla="*/ 137106 w 164140"/>
                  <a:gd name="connsiteY22" fmla="*/ 73059 h 164140"/>
                  <a:gd name="connsiteX23" fmla="*/ 131634 w 164140"/>
                  <a:gd name="connsiteY23" fmla="*/ 56966 h 164140"/>
                  <a:gd name="connsiteX24" fmla="*/ 145474 w 164140"/>
                  <a:gd name="connsiteY24" fmla="*/ 37012 h 164140"/>
                  <a:gd name="connsiteX25" fmla="*/ 142255 w 164140"/>
                  <a:gd name="connsiteY25" fmla="*/ 33472 h 164140"/>
                  <a:gd name="connsiteX26" fmla="*/ 139037 w 164140"/>
                  <a:gd name="connsiteY26" fmla="*/ 29932 h 164140"/>
                  <a:gd name="connsiteX27" fmla="*/ 135818 w 164140"/>
                  <a:gd name="connsiteY27" fmla="*/ 26391 h 164140"/>
                  <a:gd name="connsiteX28" fmla="*/ 114255 w 164140"/>
                  <a:gd name="connsiteY28" fmla="*/ 37334 h 164140"/>
                  <a:gd name="connsiteX29" fmla="*/ 98806 w 164140"/>
                  <a:gd name="connsiteY29" fmla="*/ 29610 h 164140"/>
                  <a:gd name="connsiteX30" fmla="*/ 94622 w 164140"/>
                  <a:gd name="connsiteY30" fmla="*/ 5793 h 164140"/>
                  <a:gd name="connsiteX31" fmla="*/ 89795 w 164140"/>
                  <a:gd name="connsiteY31" fmla="*/ 5471 h 164140"/>
                  <a:gd name="connsiteX32" fmla="*/ 84967 w 164140"/>
                  <a:gd name="connsiteY32" fmla="*/ 5150 h 164140"/>
                  <a:gd name="connsiteX33" fmla="*/ 80139 w 164140"/>
                  <a:gd name="connsiteY33" fmla="*/ 4828 h 164140"/>
                  <a:gd name="connsiteX34" fmla="*/ 72737 w 164140"/>
                  <a:gd name="connsiteY34" fmla="*/ 27679 h 164140"/>
                  <a:gd name="connsiteX35" fmla="*/ 56323 w 164140"/>
                  <a:gd name="connsiteY35" fmla="*/ 33150 h 164140"/>
                  <a:gd name="connsiteX36" fmla="*/ 36690 w 164140"/>
                  <a:gd name="connsiteY36" fmla="*/ 19311 h 164140"/>
                  <a:gd name="connsiteX37" fmla="*/ 33150 w 164140"/>
                  <a:gd name="connsiteY37" fmla="*/ 22529 h 164140"/>
                  <a:gd name="connsiteX38" fmla="*/ 29610 w 164140"/>
                  <a:gd name="connsiteY38" fmla="*/ 25748 h 164140"/>
                  <a:gd name="connsiteX39" fmla="*/ 26069 w 164140"/>
                  <a:gd name="connsiteY39" fmla="*/ 28966 h 164140"/>
                  <a:gd name="connsiteX40" fmla="*/ 37012 w 164140"/>
                  <a:gd name="connsiteY40" fmla="*/ 50208 h 164140"/>
                  <a:gd name="connsiteX41" fmla="*/ 29288 w 164140"/>
                  <a:gd name="connsiteY41" fmla="*/ 65656 h 164140"/>
                  <a:gd name="connsiteX42" fmla="*/ 5793 w 164140"/>
                  <a:gd name="connsiteY42" fmla="*/ 69840 h 164140"/>
                  <a:gd name="connsiteX43" fmla="*/ 5471 w 164140"/>
                  <a:gd name="connsiteY43" fmla="*/ 74668 h 164140"/>
                  <a:gd name="connsiteX44" fmla="*/ 5150 w 164140"/>
                  <a:gd name="connsiteY44" fmla="*/ 79496 h 164140"/>
                  <a:gd name="connsiteX45" fmla="*/ 4828 w 164140"/>
                  <a:gd name="connsiteY45" fmla="*/ 84323 h 164140"/>
                  <a:gd name="connsiteX46" fmla="*/ 27679 w 164140"/>
                  <a:gd name="connsiteY46" fmla="*/ 91726 h 164140"/>
                  <a:gd name="connsiteX47" fmla="*/ 33150 w 164140"/>
                  <a:gd name="connsiteY47" fmla="*/ 108140 h 164140"/>
                  <a:gd name="connsiteX48" fmla="*/ 19311 w 164140"/>
                  <a:gd name="connsiteY48" fmla="*/ 128094 h 16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64140" h="164140">
                    <a:moveTo>
                      <a:pt x="19311" y="128094"/>
                    </a:moveTo>
                    <a:lnTo>
                      <a:pt x="22529" y="131634"/>
                    </a:lnTo>
                    <a:lnTo>
                      <a:pt x="25748" y="135175"/>
                    </a:lnTo>
                    <a:lnTo>
                      <a:pt x="28966" y="138715"/>
                    </a:lnTo>
                    <a:lnTo>
                      <a:pt x="50530" y="127772"/>
                    </a:lnTo>
                    <a:cubicBezTo>
                      <a:pt x="55357" y="130991"/>
                      <a:pt x="60507" y="133565"/>
                      <a:pt x="65978" y="135497"/>
                    </a:cubicBezTo>
                    <a:lnTo>
                      <a:pt x="70162" y="159313"/>
                    </a:lnTo>
                    <a:lnTo>
                      <a:pt x="74990" y="159635"/>
                    </a:lnTo>
                    <a:lnTo>
                      <a:pt x="79817" y="159957"/>
                    </a:lnTo>
                    <a:lnTo>
                      <a:pt x="84645" y="160279"/>
                    </a:lnTo>
                    <a:lnTo>
                      <a:pt x="92048" y="137106"/>
                    </a:lnTo>
                    <a:cubicBezTo>
                      <a:pt x="97519" y="136140"/>
                      <a:pt x="102990" y="134209"/>
                      <a:pt x="108140" y="131634"/>
                    </a:cubicBezTo>
                    <a:lnTo>
                      <a:pt x="128094" y="145474"/>
                    </a:lnTo>
                    <a:lnTo>
                      <a:pt x="131634" y="142255"/>
                    </a:lnTo>
                    <a:lnTo>
                      <a:pt x="135175" y="139037"/>
                    </a:lnTo>
                    <a:lnTo>
                      <a:pt x="138715" y="135818"/>
                    </a:lnTo>
                    <a:lnTo>
                      <a:pt x="127772" y="114255"/>
                    </a:lnTo>
                    <a:cubicBezTo>
                      <a:pt x="130991" y="109427"/>
                      <a:pt x="133565" y="104278"/>
                      <a:pt x="135497" y="99128"/>
                    </a:cubicBezTo>
                    <a:lnTo>
                      <a:pt x="159313" y="94944"/>
                    </a:lnTo>
                    <a:lnTo>
                      <a:pt x="159635" y="90116"/>
                    </a:lnTo>
                    <a:lnTo>
                      <a:pt x="159957" y="85289"/>
                    </a:lnTo>
                    <a:lnTo>
                      <a:pt x="160279" y="80461"/>
                    </a:lnTo>
                    <a:lnTo>
                      <a:pt x="137106" y="73059"/>
                    </a:lnTo>
                    <a:cubicBezTo>
                      <a:pt x="136140" y="67587"/>
                      <a:pt x="134209" y="62116"/>
                      <a:pt x="131634" y="56966"/>
                    </a:cubicBezTo>
                    <a:lnTo>
                      <a:pt x="145474" y="37012"/>
                    </a:lnTo>
                    <a:lnTo>
                      <a:pt x="142255" y="33472"/>
                    </a:lnTo>
                    <a:lnTo>
                      <a:pt x="139037" y="29932"/>
                    </a:lnTo>
                    <a:lnTo>
                      <a:pt x="135818" y="26391"/>
                    </a:lnTo>
                    <a:lnTo>
                      <a:pt x="114255" y="37334"/>
                    </a:lnTo>
                    <a:cubicBezTo>
                      <a:pt x="109427" y="33794"/>
                      <a:pt x="104278" y="31541"/>
                      <a:pt x="98806" y="29610"/>
                    </a:cubicBezTo>
                    <a:lnTo>
                      <a:pt x="94622" y="5793"/>
                    </a:lnTo>
                    <a:lnTo>
                      <a:pt x="89795" y="5471"/>
                    </a:lnTo>
                    <a:lnTo>
                      <a:pt x="84967" y="5150"/>
                    </a:lnTo>
                    <a:lnTo>
                      <a:pt x="80139" y="4828"/>
                    </a:lnTo>
                    <a:lnTo>
                      <a:pt x="72737" y="27679"/>
                    </a:lnTo>
                    <a:cubicBezTo>
                      <a:pt x="66944" y="28644"/>
                      <a:pt x="61472" y="30575"/>
                      <a:pt x="56323" y="33150"/>
                    </a:cubicBezTo>
                    <a:lnTo>
                      <a:pt x="36690" y="19311"/>
                    </a:lnTo>
                    <a:lnTo>
                      <a:pt x="33150" y="22529"/>
                    </a:lnTo>
                    <a:lnTo>
                      <a:pt x="29610" y="25748"/>
                    </a:lnTo>
                    <a:lnTo>
                      <a:pt x="26069" y="28966"/>
                    </a:lnTo>
                    <a:lnTo>
                      <a:pt x="37012" y="50208"/>
                    </a:lnTo>
                    <a:cubicBezTo>
                      <a:pt x="33472" y="55035"/>
                      <a:pt x="30897" y="60185"/>
                      <a:pt x="29288" y="65656"/>
                    </a:cubicBezTo>
                    <a:lnTo>
                      <a:pt x="5793" y="69840"/>
                    </a:lnTo>
                    <a:lnTo>
                      <a:pt x="5471" y="74668"/>
                    </a:lnTo>
                    <a:lnTo>
                      <a:pt x="5150" y="79496"/>
                    </a:lnTo>
                    <a:lnTo>
                      <a:pt x="4828" y="84323"/>
                    </a:lnTo>
                    <a:lnTo>
                      <a:pt x="27679" y="91726"/>
                    </a:lnTo>
                    <a:cubicBezTo>
                      <a:pt x="28644" y="97197"/>
                      <a:pt x="30575" y="102990"/>
                      <a:pt x="33150" y="108140"/>
                    </a:cubicBezTo>
                    <a:lnTo>
                      <a:pt x="19311" y="128094"/>
                    </a:lnTo>
                    <a:close/>
                  </a:path>
                </a:pathLst>
              </a:custGeom>
              <a:noFill/>
              <a:ln w="15875"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486" name="Freeform: Shape 485">
                <a:extLst>
                  <a:ext uri="{FF2B5EF4-FFF2-40B4-BE49-F238E27FC236}">
                    <a16:creationId xmlns:a16="http://schemas.microsoft.com/office/drawing/2014/main" id="{EA739EDF-BC05-47E4-9ADF-D95CE4726572}"/>
                  </a:ext>
                </a:extLst>
              </p:cNvPr>
              <p:cNvSpPr/>
              <p:nvPr/>
            </p:nvSpPr>
            <p:spPr>
              <a:xfrm>
                <a:off x="7808463" y="614438"/>
                <a:ext cx="70806" cy="70806"/>
              </a:xfrm>
              <a:custGeom>
                <a:avLst/>
                <a:gdLst>
                  <a:gd name="connsiteX0" fmla="*/ 66622 w 70805"/>
                  <a:gd name="connsiteY0" fmla="*/ 35725 h 70805"/>
                  <a:gd name="connsiteX1" fmla="*/ 35725 w 70805"/>
                  <a:gd name="connsiteY1" fmla="*/ 66622 h 70805"/>
                  <a:gd name="connsiteX2" fmla="*/ 4828 w 70805"/>
                  <a:gd name="connsiteY2" fmla="*/ 35725 h 70805"/>
                  <a:gd name="connsiteX3" fmla="*/ 35725 w 70805"/>
                  <a:gd name="connsiteY3" fmla="*/ 4828 h 70805"/>
                  <a:gd name="connsiteX4" fmla="*/ 66622 w 70805"/>
                  <a:gd name="connsiteY4" fmla="*/ 35725 h 70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5" h="70805">
                    <a:moveTo>
                      <a:pt x="66622" y="35725"/>
                    </a:moveTo>
                    <a:cubicBezTo>
                      <a:pt x="66622" y="52789"/>
                      <a:pt x="52789" y="66622"/>
                      <a:pt x="35725" y="66622"/>
                    </a:cubicBezTo>
                    <a:cubicBezTo>
                      <a:pt x="18661" y="66622"/>
                      <a:pt x="4828" y="52789"/>
                      <a:pt x="4828" y="35725"/>
                    </a:cubicBezTo>
                    <a:cubicBezTo>
                      <a:pt x="4828" y="18661"/>
                      <a:pt x="18661" y="4828"/>
                      <a:pt x="35725" y="4828"/>
                    </a:cubicBezTo>
                    <a:cubicBezTo>
                      <a:pt x="52789" y="4828"/>
                      <a:pt x="66622" y="18661"/>
                      <a:pt x="66622" y="35725"/>
                    </a:cubicBezTo>
                    <a:close/>
                  </a:path>
                </a:pathLst>
              </a:custGeom>
              <a:noFill/>
              <a:ln w="15875" cap="flat">
                <a:solidFill>
                  <a:srgbClr val="FDC500"/>
                </a:solidFill>
                <a:prstDash val="solid"/>
                <a:round/>
              </a:ln>
            </p:spPr>
            <p:txBody>
              <a:bodyPr rtlCol="0" anchor="ctr"/>
              <a:lstStyle/>
              <a:p>
                <a:pPr defTabSz="731504">
                  <a:defRPr/>
                </a:pPr>
                <a:endParaRPr lang="en-US" sz="1800">
                  <a:solidFill>
                    <a:srgbClr val="FFFFFF"/>
                  </a:solidFill>
                </a:endParaRPr>
              </a:p>
            </p:txBody>
          </p:sp>
        </p:grpSp>
      </p:grpSp>
      <p:cxnSp>
        <p:nvCxnSpPr>
          <p:cNvPr id="790" name="Connector: Elbow 789">
            <a:extLst>
              <a:ext uri="{FF2B5EF4-FFF2-40B4-BE49-F238E27FC236}">
                <a16:creationId xmlns:a16="http://schemas.microsoft.com/office/drawing/2014/main" id="{1862AF12-4802-46CE-8D3E-6373ECEE3F16}"/>
              </a:ext>
            </a:extLst>
          </p:cNvPr>
          <p:cNvCxnSpPr>
            <a:cxnSpLocks/>
          </p:cNvCxnSpPr>
          <p:nvPr/>
        </p:nvCxnSpPr>
        <p:spPr>
          <a:xfrm rot="5400000" flipH="1" flipV="1">
            <a:off x="11106964" y="3365030"/>
            <a:ext cx="166123" cy="288102"/>
          </a:xfrm>
          <a:prstGeom prst="bentConnector2">
            <a:avLst/>
          </a:prstGeom>
          <a:ln w="19050">
            <a:solidFill>
              <a:srgbClr val="FDC500"/>
            </a:solidFill>
            <a:tailEnd type="arrow" w="lg" len="med"/>
          </a:ln>
          <a:effectLst>
            <a:outerShdw blurRad="40000" dist="20000" dir="5400000" rotWithShape="0">
              <a:srgbClr val="000000">
                <a:alpha val="0"/>
              </a:srgbClr>
            </a:outerShdw>
          </a:effectLst>
        </p:spPr>
        <p:style>
          <a:lnRef idx="2">
            <a:schemeClr val="accent1"/>
          </a:lnRef>
          <a:fillRef idx="0">
            <a:schemeClr val="accent1"/>
          </a:fillRef>
          <a:effectRef idx="1">
            <a:schemeClr val="accent1"/>
          </a:effectRef>
          <a:fontRef idx="minor">
            <a:schemeClr val="tx1"/>
          </a:fontRef>
        </p:style>
      </p:cxnSp>
      <p:grpSp>
        <p:nvGrpSpPr>
          <p:cNvPr id="794" name="Group 793">
            <a:extLst>
              <a:ext uri="{FF2B5EF4-FFF2-40B4-BE49-F238E27FC236}">
                <a16:creationId xmlns:a16="http://schemas.microsoft.com/office/drawing/2014/main" id="{80037644-7AED-43FC-9070-DF00530D21BB}"/>
              </a:ext>
            </a:extLst>
          </p:cNvPr>
          <p:cNvGrpSpPr>
            <a:grpSpLocks noChangeAspect="1"/>
          </p:cNvGrpSpPr>
          <p:nvPr/>
        </p:nvGrpSpPr>
        <p:grpSpPr>
          <a:xfrm>
            <a:off x="11412343" y="3316185"/>
            <a:ext cx="312777" cy="265176"/>
            <a:chOff x="1251736" y="3105936"/>
            <a:chExt cx="1189635" cy="1008586"/>
          </a:xfrm>
        </p:grpSpPr>
        <p:sp>
          <p:nvSpPr>
            <p:cNvPr id="795" name="Freeform: Shape 794">
              <a:extLst>
                <a:ext uri="{FF2B5EF4-FFF2-40B4-BE49-F238E27FC236}">
                  <a16:creationId xmlns:a16="http://schemas.microsoft.com/office/drawing/2014/main" id="{B4A67BF0-8A0C-4B4C-8158-5F5481E9783A}"/>
                </a:ext>
              </a:extLst>
            </p:cNvPr>
            <p:cNvSpPr/>
            <p:nvPr/>
          </p:nvSpPr>
          <p:spPr>
            <a:xfrm>
              <a:off x="1382496" y="3573196"/>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796" name="Freeform: Shape 795">
              <a:extLst>
                <a:ext uri="{FF2B5EF4-FFF2-40B4-BE49-F238E27FC236}">
                  <a16:creationId xmlns:a16="http://schemas.microsoft.com/office/drawing/2014/main" id="{F4076F53-61BA-40AF-96F3-F9EF40BE89E8}"/>
                </a:ext>
              </a:extLst>
            </p:cNvPr>
            <p:cNvSpPr/>
            <p:nvPr/>
          </p:nvSpPr>
          <p:spPr>
            <a:xfrm>
              <a:off x="1622983" y="3573196"/>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797" name="Freeform: Shape 796">
              <a:extLst>
                <a:ext uri="{FF2B5EF4-FFF2-40B4-BE49-F238E27FC236}">
                  <a16:creationId xmlns:a16="http://schemas.microsoft.com/office/drawing/2014/main" id="{572C2372-5E68-4055-AE01-BB5F9B9D8C56}"/>
                </a:ext>
              </a:extLst>
            </p:cNvPr>
            <p:cNvSpPr/>
            <p:nvPr/>
          </p:nvSpPr>
          <p:spPr>
            <a:xfrm>
              <a:off x="1864384" y="3573196"/>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798" name="Freeform: Shape 797">
              <a:extLst>
                <a:ext uri="{FF2B5EF4-FFF2-40B4-BE49-F238E27FC236}">
                  <a16:creationId xmlns:a16="http://schemas.microsoft.com/office/drawing/2014/main" id="{BF5B016D-810F-48C5-A212-D565599901F1}"/>
                </a:ext>
              </a:extLst>
            </p:cNvPr>
            <p:cNvSpPr/>
            <p:nvPr/>
          </p:nvSpPr>
          <p:spPr>
            <a:xfrm>
              <a:off x="2105786" y="3573196"/>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799" name="Freeform: Shape 798">
              <a:extLst>
                <a:ext uri="{FF2B5EF4-FFF2-40B4-BE49-F238E27FC236}">
                  <a16:creationId xmlns:a16="http://schemas.microsoft.com/office/drawing/2014/main" id="{BBB366E5-C110-4B34-8919-97DE7429478D}"/>
                </a:ext>
              </a:extLst>
            </p:cNvPr>
            <p:cNvSpPr/>
            <p:nvPr/>
          </p:nvSpPr>
          <p:spPr>
            <a:xfrm>
              <a:off x="2037207" y="3180004"/>
              <a:ext cx="283465" cy="27431"/>
            </a:xfrm>
            <a:custGeom>
              <a:avLst/>
              <a:gdLst>
                <a:gd name="connsiteX0" fmla="*/ 94944 w 99771"/>
                <a:gd name="connsiteY0" fmla="*/ 4828 h 9655"/>
                <a:gd name="connsiteX1" fmla="*/ 4828 w 99771"/>
                <a:gd name="connsiteY1" fmla="*/ 4828 h 9655"/>
              </a:gdLst>
              <a:ahLst/>
              <a:cxnLst>
                <a:cxn ang="0">
                  <a:pos x="connsiteX0" y="connsiteY0"/>
                </a:cxn>
                <a:cxn ang="0">
                  <a:pos x="connsiteX1" y="connsiteY1"/>
                </a:cxn>
              </a:cxnLst>
              <a:rect l="l" t="t" r="r" b="b"/>
              <a:pathLst>
                <a:path w="99771" h="9655">
                  <a:moveTo>
                    <a:pt x="94944"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800" name="Freeform: Shape 799">
              <a:extLst>
                <a:ext uri="{FF2B5EF4-FFF2-40B4-BE49-F238E27FC236}">
                  <a16:creationId xmlns:a16="http://schemas.microsoft.com/office/drawing/2014/main" id="{008E2D64-54BC-4AA8-8829-6B87EC3622A8}"/>
                </a:ext>
              </a:extLst>
            </p:cNvPr>
            <p:cNvSpPr/>
            <p:nvPr/>
          </p:nvSpPr>
          <p:spPr>
            <a:xfrm>
              <a:off x="1718081" y="3180004"/>
              <a:ext cx="283465" cy="27431"/>
            </a:xfrm>
            <a:custGeom>
              <a:avLst/>
              <a:gdLst>
                <a:gd name="connsiteX0" fmla="*/ 95588 w 99771"/>
                <a:gd name="connsiteY0" fmla="*/ 4828 h 9655"/>
                <a:gd name="connsiteX1" fmla="*/ 4828 w 99771"/>
                <a:gd name="connsiteY1" fmla="*/ 5150 h 9655"/>
              </a:gdLst>
              <a:ahLst/>
              <a:cxnLst>
                <a:cxn ang="0">
                  <a:pos x="connsiteX0" y="connsiteY0"/>
                </a:cxn>
                <a:cxn ang="0">
                  <a:pos x="connsiteX1" y="connsiteY1"/>
                </a:cxn>
              </a:cxnLst>
              <a:rect l="l" t="t" r="r" b="b"/>
              <a:pathLst>
                <a:path w="99771" h="9655">
                  <a:moveTo>
                    <a:pt x="95588" y="4828"/>
                  </a:moveTo>
                  <a:lnTo>
                    <a:pt x="4828" y="5150"/>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801" name="Freeform: Shape 800">
              <a:extLst>
                <a:ext uri="{FF2B5EF4-FFF2-40B4-BE49-F238E27FC236}">
                  <a16:creationId xmlns:a16="http://schemas.microsoft.com/office/drawing/2014/main" id="{16656888-FF07-4A85-8B3E-E65630C40F04}"/>
                </a:ext>
              </a:extLst>
            </p:cNvPr>
            <p:cNvSpPr/>
            <p:nvPr/>
          </p:nvSpPr>
          <p:spPr>
            <a:xfrm>
              <a:off x="1252651" y="3180004"/>
              <a:ext cx="1188720" cy="155449"/>
            </a:xfrm>
            <a:custGeom>
              <a:avLst/>
              <a:gdLst>
                <a:gd name="connsiteX0" fmla="*/ 392650 w 418397"/>
                <a:gd name="connsiteY0" fmla="*/ 4828 h 54713"/>
                <a:gd name="connsiteX1" fmla="*/ 406811 w 418397"/>
                <a:gd name="connsiteY1" fmla="*/ 4828 h 54713"/>
                <a:gd name="connsiteX2" fmla="*/ 415501 w 418397"/>
                <a:gd name="connsiteY2" fmla="*/ 13517 h 54713"/>
                <a:gd name="connsiteX3" fmla="*/ 415501 w 418397"/>
                <a:gd name="connsiteY3" fmla="*/ 50530 h 54713"/>
                <a:gd name="connsiteX4" fmla="*/ 4828 w 418397"/>
                <a:gd name="connsiteY4" fmla="*/ 50851 h 54713"/>
                <a:gd name="connsiteX5" fmla="*/ 4828 w 418397"/>
                <a:gd name="connsiteY5" fmla="*/ 13839 h 54713"/>
                <a:gd name="connsiteX6" fmla="*/ 13517 w 418397"/>
                <a:gd name="connsiteY6" fmla="*/ 5150 h 54713"/>
                <a:gd name="connsiteX7" fmla="*/ 35725 w 418397"/>
                <a:gd name="connsiteY7" fmla="*/ 5150 h 5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8397" h="54713">
                  <a:moveTo>
                    <a:pt x="392650" y="4828"/>
                  </a:moveTo>
                  <a:lnTo>
                    <a:pt x="406811" y="4828"/>
                  </a:lnTo>
                  <a:cubicBezTo>
                    <a:pt x="411639" y="4828"/>
                    <a:pt x="415501" y="8690"/>
                    <a:pt x="415501" y="13517"/>
                  </a:cubicBezTo>
                  <a:lnTo>
                    <a:pt x="415501" y="50530"/>
                  </a:lnTo>
                  <a:lnTo>
                    <a:pt x="4828" y="50851"/>
                  </a:lnTo>
                  <a:lnTo>
                    <a:pt x="4828" y="13839"/>
                  </a:lnTo>
                  <a:cubicBezTo>
                    <a:pt x="4828" y="9012"/>
                    <a:pt x="8690" y="5150"/>
                    <a:pt x="13517" y="5150"/>
                  </a:cubicBezTo>
                  <a:lnTo>
                    <a:pt x="35725" y="5150"/>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802" name="Freeform: Shape 801">
              <a:extLst>
                <a:ext uri="{FF2B5EF4-FFF2-40B4-BE49-F238E27FC236}">
                  <a16:creationId xmlns:a16="http://schemas.microsoft.com/office/drawing/2014/main" id="{00560326-E810-44D6-A7ED-8A22270F0F9D}"/>
                </a:ext>
              </a:extLst>
            </p:cNvPr>
            <p:cNvSpPr/>
            <p:nvPr/>
          </p:nvSpPr>
          <p:spPr>
            <a:xfrm>
              <a:off x="1400784" y="3180919"/>
              <a:ext cx="283465" cy="27431"/>
            </a:xfrm>
            <a:custGeom>
              <a:avLst/>
              <a:gdLst>
                <a:gd name="connsiteX0" fmla="*/ 95266 w 99771"/>
                <a:gd name="connsiteY0" fmla="*/ 4828 h 9655"/>
                <a:gd name="connsiteX1" fmla="*/ 4828 w 99771"/>
                <a:gd name="connsiteY1" fmla="*/ 4828 h 9655"/>
              </a:gdLst>
              <a:ahLst/>
              <a:cxnLst>
                <a:cxn ang="0">
                  <a:pos x="connsiteX0" y="connsiteY0"/>
                </a:cxn>
                <a:cxn ang="0">
                  <a:pos x="connsiteX1" y="connsiteY1"/>
                </a:cxn>
              </a:cxnLst>
              <a:rect l="l" t="t" r="r" b="b"/>
              <a:pathLst>
                <a:path w="99771" h="9655">
                  <a:moveTo>
                    <a:pt x="95266"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803" name="Freeform: Shape 802">
              <a:extLst>
                <a:ext uri="{FF2B5EF4-FFF2-40B4-BE49-F238E27FC236}">
                  <a16:creationId xmlns:a16="http://schemas.microsoft.com/office/drawing/2014/main" id="{378D155C-4020-4163-AE5D-48AA5AC375AB}"/>
                </a:ext>
              </a:extLst>
            </p:cNvPr>
            <p:cNvSpPr/>
            <p:nvPr/>
          </p:nvSpPr>
          <p:spPr>
            <a:xfrm>
              <a:off x="1339518" y="3105936"/>
              <a:ext cx="27431" cy="164592"/>
            </a:xfrm>
            <a:custGeom>
              <a:avLst/>
              <a:gdLst>
                <a:gd name="connsiteX0" fmla="*/ 4828 w 9655"/>
                <a:gd name="connsiteY0" fmla="*/ 55679 h 57932"/>
                <a:gd name="connsiteX1" fmla="*/ 4828 w 9655"/>
                <a:gd name="connsiteY1" fmla="*/ 4828 h 57932"/>
              </a:gdLst>
              <a:ahLst/>
              <a:cxnLst>
                <a:cxn ang="0">
                  <a:pos x="connsiteX0" y="connsiteY0"/>
                </a:cxn>
                <a:cxn ang="0">
                  <a:pos x="connsiteX1" y="connsiteY1"/>
                </a:cxn>
              </a:cxnLst>
              <a:rect l="l" t="t" r="r" b="b"/>
              <a:pathLst>
                <a:path w="9655" h="57932">
                  <a:moveTo>
                    <a:pt x="4828" y="55679"/>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804" name="Freeform: Shape 803">
              <a:extLst>
                <a:ext uri="{FF2B5EF4-FFF2-40B4-BE49-F238E27FC236}">
                  <a16:creationId xmlns:a16="http://schemas.microsoft.com/office/drawing/2014/main" id="{78173AFC-1227-479A-8C1D-BADB085F0709}"/>
                </a:ext>
              </a:extLst>
            </p:cNvPr>
            <p:cNvSpPr/>
            <p:nvPr/>
          </p:nvSpPr>
          <p:spPr>
            <a:xfrm>
              <a:off x="1657730" y="3105936"/>
              <a:ext cx="27431" cy="164592"/>
            </a:xfrm>
            <a:custGeom>
              <a:avLst/>
              <a:gdLst>
                <a:gd name="connsiteX0" fmla="*/ 4828 w 9655"/>
                <a:gd name="connsiteY0" fmla="*/ 55679 h 57932"/>
                <a:gd name="connsiteX1" fmla="*/ 4828 w 9655"/>
                <a:gd name="connsiteY1" fmla="*/ 4828 h 57932"/>
              </a:gdLst>
              <a:ahLst/>
              <a:cxnLst>
                <a:cxn ang="0">
                  <a:pos x="connsiteX0" y="connsiteY0"/>
                </a:cxn>
                <a:cxn ang="0">
                  <a:pos x="connsiteX1" y="connsiteY1"/>
                </a:cxn>
              </a:cxnLst>
              <a:rect l="l" t="t" r="r" b="b"/>
              <a:pathLst>
                <a:path w="9655" h="57932">
                  <a:moveTo>
                    <a:pt x="4828" y="55679"/>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805" name="Freeform: Shape 804">
              <a:extLst>
                <a:ext uri="{FF2B5EF4-FFF2-40B4-BE49-F238E27FC236}">
                  <a16:creationId xmlns:a16="http://schemas.microsoft.com/office/drawing/2014/main" id="{CA7B71CB-CCF3-4EB6-93F5-DD0AE3613218}"/>
                </a:ext>
              </a:extLst>
            </p:cNvPr>
            <p:cNvSpPr/>
            <p:nvPr/>
          </p:nvSpPr>
          <p:spPr>
            <a:xfrm>
              <a:off x="2293238" y="3105936"/>
              <a:ext cx="27431" cy="164592"/>
            </a:xfrm>
            <a:custGeom>
              <a:avLst/>
              <a:gdLst>
                <a:gd name="connsiteX0" fmla="*/ 4828 w 9655"/>
                <a:gd name="connsiteY0" fmla="*/ 55679 h 57932"/>
                <a:gd name="connsiteX1" fmla="*/ 4828 w 9655"/>
                <a:gd name="connsiteY1" fmla="*/ 4828 h 57932"/>
              </a:gdLst>
              <a:ahLst/>
              <a:cxnLst>
                <a:cxn ang="0">
                  <a:pos x="connsiteX0" y="connsiteY0"/>
                </a:cxn>
                <a:cxn ang="0">
                  <a:pos x="connsiteX1" y="connsiteY1"/>
                </a:cxn>
              </a:cxnLst>
              <a:rect l="l" t="t" r="r" b="b"/>
              <a:pathLst>
                <a:path w="9655" h="57932">
                  <a:moveTo>
                    <a:pt x="4828" y="55679"/>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806" name="Freeform: Shape 805">
              <a:extLst>
                <a:ext uri="{FF2B5EF4-FFF2-40B4-BE49-F238E27FC236}">
                  <a16:creationId xmlns:a16="http://schemas.microsoft.com/office/drawing/2014/main" id="{06EE904E-6E5D-4B4C-8B44-4D98237D4BB7}"/>
                </a:ext>
              </a:extLst>
            </p:cNvPr>
            <p:cNvSpPr/>
            <p:nvPr/>
          </p:nvSpPr>
          <p:spPr>
            <a:xfrm>
              <a:off x="1975941" y="3105936"/>
              <a:ext cx="27431" cy="164592"/>
            </a:xfrm>
            <a:custGeom>
              <a:avLst/>
              <a:gdLst>
                <a:gd name="connsiteX0" fmla="*/ 4828 w 9655"/>
                <a:gd name="connsiteY0" fmla="*/ 55679 h 57932"/>
                <a:gd name="connsiteX1" fmla="*/ 4828 w 9655"/>
                <a:gd name="connsiteY1" fmla="*/ 4828 h 57932"/>
              </a:gdLst>
              <a:ahLst/>
              <a:cxnLst>
                <a:cxn ang="0">
                  <a:pos x="connsiteX0" y="connsiteY0"/>
                </a:cxn>
                <a:cxn ang="0">
                  <a:pos x="connsiteX1" y="connsiteY1"/>
                </a:cxn>
              </a:cxnLst>
              <a:rect l="l" t="t" r="r" b="b"/>
              <a:pathLst>
                <a:path w="9655" h="57932">
                  <a:moveTo>
                    <a:pt x="4828" y="55679"/>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807" name="Freeform: Shape 806">
              <a:extLst>
                <a:ext uri="{FF2B5EF4-FFF2-40B4-BE49-F238E27FC236}">
                  <a16:creationId xmlns:a16="http://schemas.microsoft.com/office/drawing/2014/main" id="{02F15A25-0E7F-4AFE-A1EA-40149E5FF26C}"/>
                </a:ext>
              </a:extLst>
            </p:cNvPr>
            <p:cNvSpPr/>
            <p:nvPr/>
          </p:nvSpPr>
          <p:spPr>
            <a:xfrm>
              <a:off x="1382496" y="3759733"/>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808" name="Freeform: Shape 807">
              <a:extLst>
                <a:ext uri="{FF2B5EF4-FFF2-40B4-BE49-F238E27FC236}">
                  <a16:creationId xmlns:a16="http://schemas.microsoft.com/office/drawing/2014/main" id="{101E750F-02F1-4211-BDA8-0C05D2E50BDA}"/>
                </a:ext>
              </a:extLst>
            </p:cNvPr>
            <p:cNvSpPr/>
            <p:nvPr/>
          </p:nvSpPr>
          <p:spPr>
            <a:xfrm>
              <a:off x="1622983" y="3759733"/>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809" name="Freeform: Shape 808">
              <a:extLst>
                <a:ext uri="{FF2B5EF4-FFF2-40B4-BE49-F238E27FC236}">
                  <a16:creationId xmlns:a16="http://schemas.microsoft.com/office/drawing/2014/main" id="{1A44D13A-F6C1-4379-9CE5-7C00EC4676C5}"/>
                </a:ext>
              </a:extLst>
            </p:cNvPr>
            <p:cNvSpPr/>
            <p:nvPr/>
          </p:nvSpPr>
          <p:spPr>
            <a:xfrm>
              <a:off x="1864384" y="3759733"/>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810" name="Freeform: Shape 809">
              <a:extLst>
                <a:ext uri="{FF2B5EF4-FFF2-40B4-BE49-F238E27FC236}">
                  <a16:creationId xmlns:a16="http://schemas.microsoft.com/office/drawing/2014/main" id="{5FB7DFD3-C0B3-4417-AB91-1C1EB221514C}"/>
                </a:ext>
              </a:extLst>
            </p:cNvPr>
            <p:cNvSpPr/>
            <p:nvPr/>
          </p:nvSpPr>
          <p:spPr>
            <a:xfrm>
              <a:off x="2105786" y="3759733"/>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811" name="Freeform: Shape 810">
              <a:extLst>
                <a:ext uri="{FF2B5EF4-FFF2-40B4-BE49-F238E27FC236}">
                  <a16:creationId xmlns:a16="http://schemas.microsoft.com/office/drawing/2014/main" id="{47224DE2-CE2B-4D41-AECB-B8635E86A157}"/>
                </a:ext>
              </a:extLst>
            </p:cNvPr>
            <p:cNvSpPr/>
            <p:nvPr/>
          </p:nvSpPr>
          <p:spPr>
            <a:xfrm>
              <a:off x="1382496" y="3935297"/>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812" name="Freeform: Shape 811">
              <a:extLst>
                <a:ext uri="{FF2B5EF4-FFF2-40B4-BE49-F238E27FC236}">
                  <a16:creationId xmlns:a16="http://schemas.microsoft.com/office/drawing/2014/main" id="{C3684E49-13A6-4301-8D7A-34D9A6FC3928}"/>
                </a:ext>
              </a:extLst>
            </p:cNvPr>
            <p:cNvSpPr/>
            <p:nvPr/>
          </p:nvSpPr>
          <p:spPr>
            <a:xfrm>
              <a:off x="1622983" y="3935297"/>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813" name="Freeform: Shape 812">
              <a:extLst>
                <a:ext uri="{FF2B5EF4-FFF2-40B4-BE49-F238E27FC236}">
                  <a16:creationId xmlns:a16="http://schemas.microsoft.com/office/drawing/2014/main" id="{695E02DD-251A-4511-B8ED-07756A7DF24D}"/>
                </a:ext>
              </a:extLst>
            </p:cNvPr>
            <p:cNvSpPr/>
            <p:nvPr/>
          </p:nvSpPr>
          <p:spPr>
            <a:xfrm>
              <a:off x="1864384" y="3935297"/>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814" name="Freeform: Shape 813">
              <a:extLst>
                <a:ext uri="{FF2B5EF4-FFF2-40B4-BE49-F238E27FC236}">
                  <a16:creationId xmlns:a16="http://schemas.microsoft.com/office/drawing/2014/main" id="{50879D4C-DF65-4947-BA6D-6C5AACB1B0B7}"/>
                </a:ext>
              </a:extLst>
            </p:cNvPr>
            <p:cNvSpPr/>
            <p:nvPr/>
          </p:nvSpPr>
          <p:spPr>
            <a:xfrm>
              <a:off x="1251736" y="3309850"/>
              <a:ext cx="1188720" cy="804672"/>
            </a:xfrm>
            <a:custGeom>
              <a:avLst/>
              <a:gdLst>
                <a:gd name="connsiteX0" fmla="*/ 5150 w 418397"/>
                <a:gd name="connsiteY0" fmla="*/ 5150 h 283223"/>
                <a:gd name="connsiteX1" fmla="*/ 415823 w 418397"/>
                <a:gd name="connsiteY1" fmla="*/ 4828 h 283223"/>
                <a:gd name="connsiteX2" fmla="*/ 415823 w 418397"/>
                <a:gd name="connsiteY2" fmla="*/ 270671 h 283223"/>
                <a:gd name="connsiteX3" fmla="*/ 407133 w 418397"/>
                <a:gd name="connsiteY3" fmla="*/ 279361 h 283223"/>
                <a:gd name="connsiteX4" fmla="*/ 13517 w 418397"/>
                <a:gd name="connsiteY4" fmla="*/ 279683 h 283223"/>
                <a:gd name="connsiteX5" fmla="*/ 4828 w 418397"/>
                <a:gd name="connsiteY5" fmla="*/ 270993 h 283223"/>
                <a:gd name="connsiteX6" fmla="*/ 4828 w 418397"/>
                <a:gd name="connsiteY6" fmla="*/ 48277 h 283223"/>
                <a:gd name="connsiteX7" fmla="*/ 35725 w 418397"/>
                <a:gd name="connsiteY7" fmla="*/ 48277 h 283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8397" h="283223">
                  <a:moveTo>
                    <a:pt x="5150" y="5150"/>
                  </a:moveTo>
                  <a:lnTo>
                    <a:pt x="415823" y="4828"/>
                  </a:lnTo>
                  <a:lnTo>
                    <a:pt x="415823" y="270671"/>
                  </a:lnTo>
                  <a:cubicBezTo>
                    <a:pt x="415823" y="275499"/>
                    <a:pt x="411961" y="279361"/>
                    <a:pt x="407133" y="279361"/>
                  </a:cubicBezTo>
                  <a:lnTo>
                    <a:pt x="13517" y="279683"/>
                  </a:lnTo>
                  <a:cubicBezTo>
                    <a:pt x="8690" y="279683"/>
                    <a:pt x="4828" y="275821"/>
                    <a:pt x="4828" y="270993"/>
                  </a:cubicBezTo>
                  <a:lnTo>
                    <a:pt x="4828" y="48277"/>
                  </a:lnTo>
                  <a:lnTo>
                    <a:pt x="35725" y="48277"/>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815" name="Freeform: Shape 814">
              <a:extLst>
                <a:ext uri="{FF2B5EF4-FFF2-40B4-BE49-F238E27FC236}">
                  <a16:creationId xmlns:a16="http://schemas.microsoft.com/office/drawing/2014/main" id="{0B3DED41-23FB-4201-97CD-7E4F45866DD0}"/>
                </a:ext>
              </a:extLst>
            </p:cNvPr>
            <p:cNvSpPr/>
            <p:nvPr/>
          </p:nvSpPr>
          <p:spPr>
            <a:xfrm>
              <a:off x="2131390" y="3867633"/>
              <a:ext cx="164592" cy="164592"/>
            </a:xfrm>
            <a:custGeom>
              <a:avLst/>
              <a:gdLst>
                <a:gd name="connsiteX0" fmla="*/ 4828 w 57932"/>
                <a:gd name="connsiteY0" fmla="*/ 4828 h 57932"/>
                <a:gd name="connsiteX1" fmla="*/ 54070 w 57932"/>
                <a:gd name="connsiteY1" fmla="*/ 54070 h 57932"/>
              </a:gdLst>
              <a:ahLst/>
              <a:cxnLst>
                <a:cxn ang="0">
                  <a:pos x="connsiteX0" y="connsiteY0"/>
                </a:cxn>
                <a:cxn ang="0">
                  <a:pos x="connsiteX1" y="connsiteY1"/>
                </a:cxn>
              </a:cxnLst>
              <a:rect l="l" t="t" r="r" b="b"/>
              <a:pathLst>
                <a:path w="57932" h="57932">
                  <a:moveTo>
                    <a:pt x="4828" y="4828"/>
                  </a:moveTo>
                  <a:lnTo>
                    <a:pt x="54070" y="54070"/>
                  </a:lnTo>
                </a:path>
              </a:pathLst>
            </a:custGeom>
            <a:ln w="12700" cap="flat">
              <a:solidFill>
                <a:srgbClr val="FDC500"/>
              </a:solidFill>
              <a:prstDash val="solid"/>
              <a:round/>
            </a:ln>
          </p:spPr>
          <p:txBody>
            <a:bodyPr rtlCol="0" anchor="ctr"/>
            <a:lstStyle/>
            <a:p>
              <a:pPr defTabSz="731504">
                <a:defRPr/>
              </a:pPr>
              <a:endParaRPr lang="en-US" sz="1800" dirty="0">
                <a:solidFill>
                  <a:srgbClr val="FFFFFF"/>
                </a:solidFill>
              </a:endParaRPr>
            </a:p>
          </p:txBody>
        </p:sp>
        <p:sp>
          <p:nvSpPr>
            <p:cNvPr id="816" name="Freeform: Shape 815">
              <a:extLst>
                <a:ext uri="{FF2B5EF4-FFF2-40B4-BE49-F238E27FC236}">
                  <a16:creationId xmlns:a16="http://schemas.microsoft.com/office/drawing/2014/main" id="{226DC695-0E46-411C-9C67-8740D8ECC4A9}"/>
                </a:ext>
              </a:extLst>
            </p:cNvPr>
            <p:cNvSpPr/>
            <p:nvPr/>
          </p:nvSpPr>
          <p:spPr>
            <a:xfrm>
              <a:off x="2131390" y="3867633"/>
              <a:ext cx="164592" cy="164592"/>
            </a:xfrm>
            <a:custGeom>
              <a:avLst/>
              <a:gdLst>
                <a:gd name="connsiteX0" fmla="*/ 54070 w 57932"/>
                <a:gd name="connsiteY0" fmla="*/ 4828 h 57932"/>
                <a:gd name="connsiteX1" fmla="*/ 4828 w 57932"/>
                <a:gd name="connsiteY1" fmla="*/ 54392 h 57932"/>
              </a:gdLst>
              <a:ahLst/>
              <a:cxnLst>
                <a:cxn ang="0">
                  <a:pos x="connsiteX0" y="connsiteY0"/>
                </a:cxn>
                <a:cxn ang="0">
                  <a:pos x="connsiteX1" y="connsiteY1"/>
                </a:cxn>
              </a:cxnLst>
              <a:rect l="l" t="t" r="r" b="b"/>
              <a:pathLst>
                <a:path w="57932" h="57932">
                  <a:moveTo>
                    <a:pt x="54070" y="4828"/>
                  </a:moveTo>
                  <a:lnTo>
                    <a:pt x="4828" y="54392"/>
                  </a:lnTo>
                </a:path>
              </a:pathLst>
            </a:custGeom>
            <a:ln w="12700" cap="flat">
              <a:solidFill>
                <a:srgbClr val="FDC500"/>
              </a:solidFill>
              <a:prstDash val="solid"/>
              <a:round/>
            </a:ln>
          </p:spPr>
          <p:txBody>
            <a:bodyPr rtlCol="0" anchor="ctr"/>
            <a:lstStyle/>
            <a:p>
              <a:pPr defTabSz="731504">
                <a:defRPr/>
              </a:pPr>
              <a:endParaRPr lang="en-US" sz="1800" dirty="0">
                <a:solidFill>
                  <a:srgbClr val="FFFFFF"/>
                </a:solidFill>
              </a:endParaRPr>
            </a:p>
          </p:txBody>
        </p:sp>
      </p:grpSp>
      <p:graphicFrame>
        <p:nvGraphicFramePr>
          <p:cNvPr id="900" name="Table 899">
            <a:extLst>
              <a:ext uri="{FF2B5EF4-FFF2-40B4-BE49-F238E27FC236}">
                <a16:creationId xmlns:a16="http://schemas.microsoft.com/office/drawing/2014/main" id="{51910E1B-8AF9-4C58-85E4-2C74D65727FC}"/>
              </a:ext>
            </a:extLst>
          </p:cNvPr>
          <p:cNvGraphicFramePr>
            <a:graphicFrameLocks noGrp="1"/>
          </p:cNvGraphicFramePr>
          <p:nvPr/>
        </p:nvGraphicFramePr>
        <p:xfrm>
          <a:off x="4194421" y="2450744"/>
          <a:ext cx="5475332" cy="3121380"/>
        </p:xfrm>
        <a:graphic>
          <a:graphicData uri="http://schemas.openxmlformats.org/drawingml/2006/table">
            <a:tbl>
              <a:tblPr firstRow="1" bandRow="1">
                <a:tableStyleId>{5C22544A-7EE6-4342-B048-85BDC9FD1C3A}</a:tableStyleId>
              </a:tblPr>
              <a:tblGrid>
                <a:gridCol w="1368833">
                  <a:extLst>
                    <a:ext uri="{9D8B030D-6E8A-4147-A177-3AD203B41FA5}">
                      <a16:colId xmlns:a16="http://schemas.microsoft.com/office/drawing/2014/main" val="3266020685"/>
                    </a:ext>
                  </a:extLst>
                </a:gridCol>
                <a:gridCol w="1368833">
                  <a:extLst>
                    <a:ext uri="{9D8B030D-6E8A-4147-A177-3AD203B41FA5}">
                      <a16:colId xmlns:a16="http://schemas.microsoft.com/office/drawing/2014/main" val="1541681817"/>
                    </a:ext>
                  </a:extLst>
                </a:gridCol>
                <a:gridCol w="1368833">
                  <a:extLst>
                    <a:ext uri="{9D8B030D-6E8A-4147-A177-3AD203B41FA5}">
                      <a16:colId xmlns:a16="http://schemas.microsoft.com/office/drawing/2014/main" val="178349560"/>
                    </a:ext>
                  </a:extLst>
                </a:gridCol>
                <a:gridCol w="1368833">
                  <a:extLst>
                    <a:ext uri="{9D8B030D-6E8A-4147-A177-3AD203B41FA5}">
                      <a16:colId xmlns:a16="http://schemas.microsoft.com/office/drawing/2014/main" val="785960985"/>
                    </a:ext>
                  </a:extLst>
                </a:gridCol>
              </a:tblGrid>
              <a:tr h="1560690">
                <a:tc>
                  <a:txBody>
                    <a:bodyPr/>
                    <a:lstStyle/>
                    <a:p>
                      <a:pPr algn="ctr"/>
                      <a:r>
                        <a:rPr lang="en-US" sz="1300" b="0" dirty="0">
                          <a:solidFill>
                            <a:schemeClr val="tx2"/>
                          </a:solidFill>
                          <a:latin typeface="Amazon Ember" panose="02000000000000000000" pitchFamily="2" charset="0"/>
                          <a:ea typeface="Amazon Ember" panose="02000000000000000000" pitchFamily="2" charset="0"/>
                        </a:rPr>
                        <a:t>Discovery</a:t>
                      </a:r>
                      <a:r>
                        <a:rPr lang="en-US" sz="1300" b="0" baseline="0" dirty="0">
                          <a:solidFill>
                            <a:schemeClr val="tx2"/>
                          </a:solidFill>
                          <a:latin typeface="Amazon Ember" panose="02000000000000000000" pitchFamily="2" charset="0"/>
                          <a:ea typeface="Amazon Ember" panose="02000000000000000000" pitchFamily="2" charset="0"/>
                        </a:rPr>
                        <a:t> &amp; planning</a:t>
                      </a:r>
                      <a:endParaRPr lang="en-US" sz="1300" b="0" dirty="0">
                        <a:solidFill>
                          <a:schemeClr val="tx2"/>
                        </a:solidFill>
                        <a:latin typeface="Amazon Ember" panose="02000000000000000000" pitchFamily="2" charset="0"/>
                        <a:ea typeface="Amazon Ember" panose="02000000000000000000" pitchFamily="2" charset="0"/>
                      </a:endParaRPr>
                    </a:p>
                  </a:txBody>
                  <a:tcPr marL="109356" marR="109356" marT="54678" marB="54678"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300" b="0" dirty="0">
                          <a:solidFill>
                            <a:schemeClr val="tx2"/>
                          </a:solidFill>
                          <a:latin typeface="Amazon Ember" panose="02000000000000000000" pitchFamily="2" charset="0"/>
                          <a:ea typeface="Amazon Ember" panose="02000000000000000000" pitchFamily="2" charset="0"/>
                        </a:rPr>
                        <a:t>Migration </a:t>
                      </a:r>
                      <a:br>
                        <a:rPr lang="en-US" sz="1300" b="0" dirty="0">
                          <a:solidFill>
                            <a:schemeClr val="tx2"/>
                          </a:solidFill>
                          <a:latin typeface="Amazon Ember" panose="02000000000000000000" pitchFamily="2" charset="0"/>
                          <a:ea typeface="Amazon Ember" panose="02000000000000000000" pitchFamily="2" charset="0"/>
                        </a:rPr>
                      </a:br>
                      <a:r>
                        <a:rPr lang="en-US" sz="1300" b="0" dirty="0">
                          <a:solidFill>
                            <a:schemeClr val="tx2"/>
                          </a:solidFill>
                          <a:latin typeface="Amazon Ember" panose="02000000000000000000" pitchFamily="2" charset="0"/>
                          <a:ea typeface="Amazon Ember" panose="02000000000000000000" pitchFamily="2" charset="0"/>
                        </a:rPr>
                        <a:t>plan</a:t>
                      </a:r>
                    </a:p>
                  </a:txBody>
                  <a:tcPr marL="109356" marR="109356" marT="54678" marB="54678"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0" dirty="0">
                          <a:solidFill>
                            <a:schemeClr val="tx2"/>
                          </a:solidFill>
                          <a:latin typeface="Amazon Ember" panose="02000000000000000000" pitchFamily="2" charset="0"/>
                          <a:ea typeface="Amazon Ember" panose="02000000000000000000" pitchFamily="2" charset="0"/>
                        </a:rPr>
                        <a:t>Business case/</a:t>
                      </a:r>
                      <a:br>
                        <a:rPr lang="en-US" sz="1300" b="0" dirty="0">
                          <a:solidFill>
                            <a:schemeClr val="tx2"/>
                          </a:solidFill>
                          <a:latin typeface="Amazon Ember" panose="02000000000000000000" pitchFamily="2" charset="0"/>
                          <a:ea typeface="Amazon Ember" panose="02000000000000000000" pitchFamily="2" charset="0"/>
                        </a:rPr>
                      </a:br>
                      <a:r>
                        <a:rPr lang="en-US" sz="1300" b="0" dirty="0" err="1">
                          <a:solidFill>
                            <a:schemeClr val="tx2"/>
                          </a:solidFill>
                          <a:latin typeface="Amazon Ember" panose="02000000000000000000" pitchFamily="2" charset="0"/>
                          <a:ea typeface="Amazon Ember" panose="02000000000000000000" pitchFamily="2" charset="0"/>
                        </a:rPr>
                        <a:t>Mig</a:t>
                      </a:r>
                      <a:r>
                        <a:rPr lang="en-US" sz="1300" b="0" dirty="0">
                          <a:solidFill>
                            <a:schemeClr val="tx2"/>
                          </a:solidFill>
                          <a:latin typeface="Amazon Ember" panose="02000000000000000000" pitchFamily="2" charset="0"/>
                          <a:ea typeface="Amazon Ember" panose="02000000000000000000" pitchFamily="2" charset="0"/>
                        </a:rPr>
                        <a:t>. Evaluator</a:t>
                      </a:r>
                    </a:p>
                  </a:txBody>
                  <a:tcPr marL="109356" marR="109356" marT="54678" marB="54678"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300" b="0" dirty="0">
                          <a:solidFill>
                            <a:schemeClr val="tx2"/>
                          </a:solidFill>
                          <a:latin typeface="Amazon Ember" panose="02000000000000000000" pitchFamily="2" charset="0"/>
                          <a:ea typeface="Amazon Ember" panose="02000000000000000000" pitchFamily="2" charset="0"/>
                        </a:rPr>
                        <a:t>Migration &amp; modernization</a:t>
                      </a:r>
                      <a:br>
                        <a:rPr lang="en-US" sz="1300" b="0" dirty="0">
                          <a:solidFill>
                            <a:schemeClr val="tx2"/>
                          </a:solidFill>
                          <a:latin typeface="Amazon Ember" panose="02000000000000000000" pitchFamily="2" charset="0"/>
                          <a:ea typeface="Amazon Ember" panose="02000000000000000000" pitchFamily="2" charset="0"/>
                        </a:rPr>
                      </a:br>
                      <a:r>
                        <a:rPr lang="en-US" sz="1300" b="0" dirty="0">
                          <a:solidFill>
                            <a:schemeClr val="tx2"/>
                          </a:solidFill>
                          <a:latin typeface="Amazon Ember" panose="02000000000000000000" pitchFamily="2" charset="0"/>
                          <a:ea typeface="Amazon Ember" panose="02000000000000000000" pitchFamily="2" charset="0"/>
                        </a:rPr>
                        <a:t>experience</a:t>
                      </a:r>
                    </a:p>
                  </a:txBody>
                  <a:tcPr marL="109356" marR="109356" marT="54678" marB="54678"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60125974"/>
                  </a:ext>
                </a:extLst>
              </a:tr>
              <a:tr h="1560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0" dirty="0">
                          <a:solidFill>
                            <a:schemeClr val="tx2"/>
                          </a:solidFill>
                          <a:latin typeface="Amazon Ember" panose="02000000000000000000" pitchFamily="2" charset="0"/>
                          <a:ea typeface="Amazon Ember" panose="02000000000000000000" pitchFamily="2" charset="0"/>
                        </a:rPr>
                        <a:t>Skills</a:t>
                      </a:r>
                      <a:r>
                        <a:rPr lang="en-US" sz="1300" b="0" baseline="0" dirty="0">
                          <a:solidFill>
                            <a:schemeClr val="tx2"/>
                          </a:solidFill>
                          <a:latin typeface="Amazon Ember" panose="02000000000000000000" pitchFamily="2" charset="0"/>
                          <a:ea typeface="Amazon Ember" panose="02000000000000000000" pitchFamily="2" charset="0"/>
                        </a:rPr>
                        <a:t>/center</a:t>
                      </a:r>
                      <a:br>
                        <a:rPr lang="en-US" sz="1300" b="0" baseline="0" dirty="0">
                          <a:solidFill>
                            <a:schemeClr val="tx2"/>
                          </a:solidFill>
                          <a:latin typeface="Amazon Ember" panose="02000000000000000000" pitchFamily="2" charset="0"/>
                          <a:ea typeface="Amazon Ember" panose="02000000000000000000" pitchFamily="2" charset="0"/>
                        </a:rPr>
                      </a:br>
                      <a:r>
                        <a:rPr lang="en-US" sz="1300" b="0" baseline="0" dirty="0">
                          <a:solidFill>
                            <a:schemeClr val="tx2"/>
                          </a:solidFill>
                          <a:latin typeface="Amazon Ember" panose="02000000000000000000" pitchFamily="2" charset="0"/>
                          <a:ea typeface="Amazon Ember" panose="02000000000000000000" pitchFamily="2" charset="0"/>
                        </a:rPr>
                        <a:t>of excellence</a:t>
                      </a:r>
                      <a:endParaRPr lang="en-US" sz="1300" b="0" dirty="0">
                        <a:solidFill>
                          <a:schemeClr val="tx2"/>
                        </a:solidFill>
                        <a:latin typeface="Amazon Ember" panose="02000000000000000000" pitchFamily="2" charset="0"/>
                        <a:ea typeface="Amazon Ember" panose="02000000000000000000" pitchFamily="2" charset="0"/>
                      </a:endParaRPr>
                    </a:p>
                  </a:txBody>
                  <a:tcPr marL="109356" marR="109356" marT="54678" marB="54678"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dirty="0">
                          <a:solidFill>
                            <a:schemeClr val="tx2"/>
                          </a:solidFill>
                          <a:latin typeface="Amazon Ember" panose="02000000000000000000" pitchFamily="2" charset="0"/>
                          <a:ea typeface="Amazon Ember" panose="02000000000000000000" pitchFamily="2" charset="0"/>
                        </a:rPr>
                        <a:t>      Landing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0" dirty="0">
                          <a:solidFill>
                            <a:schemeClr val="tx2"/>
                          </a:solidFill>
                          <a:latin typeface="Amazon Ember" panose="02000000000000000000" pitchFamily="2" charset="0"/>
                          <a:ea typeface="Amazon Ember" panose="02000000000000000000" pitchFamily="2" charset="0"/>
                        </a:rPr>
                        <a:t>zone</a:t>
                      </a:r>
                    </a:p>
                  </a:txBody>
                  <a:tcPr marL="109356" marR="109356" marT="54678" marB="54678"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300" b="0" dirty="0">
                          <a:solidFill>
                            <a:schemeClr val="tx2"/>
                          </a:solidFill>
                          <a:latin typeface="Amazon Ember" panose="02000000000000000000" pitchFamily="2" charset="0"/>
                          <a:ea typeface="Amazon Ember" panose="02000000000000000000" pitchFamily="2" charset="0"/>
                        </a:rPr>
                        <a:t>Operating model</a:t>
                      </a:r>
                    </a:p>
                  </a:txBody>
                  <a:tcPr marL="109356" marR="109356" marT="54678" marB="54678"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300" b="0" dirty="0">
                          <a:solidFill>
                            <a:schemeClr val="tx2"/>
                          </a:solidFill>
                          <a:latin typeface="Amazon Ember" panose="02000000000000000000" pitchFamily="2" charset="0"/>
                          <a:ea typeface="Amazon Ember" panose="02000000000000000000" pitchFamily="2" charset="0"/>
                        </a:rPr>
                        <a:t>Security &amp; compliance</a:t>
                      </a:r>
                    </a:p>
                  </a:txBody>
                  <a:tcPr marL="109356" marR="109356" marT="54678" marB="54678"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99425567"/>
                  </a:ext>
                </a:extLst>
              </a:tr>
            </a:tbl>
          </a:graphicData>
        </a:graphic>
      </p:graphicFrame>
      <p:grpSp>
        <p:nvGrpSpPr>
          <p:cNvPr id="901" name="Group 900">
            <a:extLst>
              <a:ext uri="{FF2B5EF4-FFF2-40B4-BE49-F238E27FC236}">
                <a16:creationId xmlns:a16="http://schemas.microsoft.com/office/drawing/2014/main" id="{AAB08B7B-93B2-45A4-BC81-4A78B8389342}"/>
              </a:ext>
            </a:extLst>
          </p:cNvPr>
          <p:cNvGrpSpPr/>
          <p:nvPr/>
        </p:nvGrpSpPr>
        <p:grpSpPr>
          <a:xfrm>
            <a:off x="4515184" y="4314618"/>
            <a:ext cx="658681" cy="658678"/>
            <a:chOff x="11738104" y="3067017"/>
            <a:chExt cx="560418" cy="560417"/>
          </a:xfrm>
        </p:grpSpPr>
        <p:grpSp>
          <p:nvGrpSpPr>
            <p:cNvPr id="902" name="Graphic 194">
              <a:extLst>
                <a:ext uri="{FF2B5EF4-FFF2-40B4-BE49-F238E27FC236}">
                  <a16:creationId xmlns:a16="http://schemas.microsoft.com/office/drawing/2014/main" id="{3618BB2D-375E-4C3C-902E-9BC6C2ED73CA}"/>
                </a:ext>
              </a:extLst>
            </p:cNvPr>
            <p:cNvGrpSpPr/>
            <p:nvPr/>
          </p:nvGrpSpPr>
          <p:grpSpPr>
            <a:xfrm>
              <a:off x="11906957" y="3256020"/>
              <a:ext cx="222713" cy="242691"/>
              <a:chOff x="8395794" y="4567573"/>
              <a:chExt cx="218854" cy="238486"/>
            </a:xfrm>
          </p:grpSpPr>
          <p:sp>
            <p:nvSpPr>
              <p:cNvPr id="904" name="Freeform: Shape 903">
                <a:extLst>
                  <a:ext uri="{FF2B5EF4-FFF2-40B4-BE49-F238E27FC236}">
                    <a16:creationId xmlns:a16="http://schemas.microsoft.com/office/drawing/2014/main" id="{E27AF87A-E50E-45EA-A9F6-A913211D1B77}"/>
                  </a:ext>
                </a:extLst>
              </p:cNvPr>
              <p:cNvSpPr/>
              <p:nvPr/>
            </p:nvSpPr>
            <p:spPr>
              <a:xfrm>
                <a:off x="8441174" y="4567573"/>
                <a:ext cx="128738" cy="128738"/>
              </a:xfrm>
              <a:custGeom>
                <a:avLst/>
                <a:gdLst>
                  <a:gd name="connsiteX0" fmla="*/ 4828 w 128737"/>
                  <a:gd name="connsiteY0" fmla="*/ 64369 h 128737"/>
                  <a:gd name="connsiteX1" fmla="*/ 64369 w 128737"/>
                  <a:gd name="connsiteY1" fmla="*/ 4828 h 128737"/>
                  <a:gd name="connsiteX2" fmla="*/ 123910 w 128737"/>
                  <a:gd name="connsiteY2" fmla="*/ 64369 h 128737"/>
                  <a:gd name="connsiteX3" fmla="*/ 64369 w 128737"/>
                  <a:gd name="connsiteY3" fmla="*/ 123910 h 128737"/>
                  <a:gd name="connsiteX4" fmla="*/ 4828 w 128737"/>
                  <a:gd name="connsiteY4" fmla="*/ 64369 h 1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37" h="128737">
                    <a:moveTo>
                      <a:pt x="4828" y="64369"/>
                    </a:moveTo>
                    <a:cubicBezTo>
                      <a:pt x="4828" y="31541"/>
                      <a:pt x="31541" y="4828"/>
                      <a:pt x="64369" y="4828"/>
                    </a:cubicBezTo>
                    <a:cubicBezTo>
                      <a:pt x="97197" y="4828"/>
                      <a:pt x="123910" y="31541"/>
                      <a:pt x="123910" y="64369"/>
                    </a:cubicBezTo>
                    <a:cubicBezTo>
                      <a:pt x="123910" y="97197"/>
                      <a:pt x="97197" y="123910"/>
                      <a:pt x="64369" y="123910"/>
                    </a:cubicBezTo>
                    <a:cubicBezTo>
                      <a:pt x="31541" y="124232"/>
                      <a:pt x="4828" y="97519"/>
                      <a:pt x="4828" y="64369"/>
                    </a:cubicBezTo>
                  </a:path>
                </a:pathLst>
              </a:custGeom>
              <a:noFill/>
              <a:ln w="15875" cap="flat">
                <a:solidFill>
                  <a:srgbClr val="A166FF"/>
                </a:solidFill>
                <a:prstDash val="solid"/>
                <a:round/>
              </a:ln>
            </p:spPr>
            <p:txBody>
              <a:bodyPr rtlCol="0" anchor="ctr"/>
              <a:lstStyle/>
              <a:p>
                <a:pPr defTabSz="731504">
                  <a:defRPr/>
                </a:pPr>
                <a:endParaRPr lang="en-US" sz="1800" dirty="0">
                  <a:solidFill>
                    <a:srgbClr val="FFFFFF"/>
                  </a:solidFill>
                </a:endParaRPr>
              </a:p>
            </p:txBody>
          </p:sp>
          <p:sp>
            <p:nvSpPr>
              <p:cNvPr id="905" name="Freeform: Shape 904">
                <a:extLst>
                  <a:ext uri="{FF2B5EF4-FFF2-40B4-BE49-F238E27FC236}">
                    <a16:creationId xmlns:a16="http://schemas.microsoft.com/office/drawing/2014/main" id="{29D43E5D-463F-4E6D-9BFD-94CF9DCFF0BD}"/>
                  </a:ext>
                </a:extLst>
              </p:cNvPr>
              <p:cNvSpPr/>
              <p:nvPr/>
            </p:nvSpPr>
            <p:spPr>
              <a:xfrm>
                <a:off x="8395794" y="4690195"/>
                <a:ext cx="218854" cy="115864"/>
              </a:xfrm>
              <a:custGeom>
                <a:avLst/>
                <a:gdLst>
                  <a:gd name="connsiteX0" fmla="*/ 4828 w 218854"/>
                  <a:gd name="connsiteY0" fmla="*/ 113611 h 115864"/>
                  <a:gd name="connsiteX1" fmla="*/ 214348 w 218854"/>
                  <a:gd name="connsiteY1" fmla="*/ 113611 h 115864"/>
                  <a:gd name="connsiteX2" fmla="*/ 163175 w 218854"/>
                  <a:gd name="connsiteY2" fmla="*/ 20276 h 115864"/>
                  <a:gd name="connsiteX3" fmla="*/ 109427 w 218854"/>
                  <a:gd name="connsiteY3" fmla="*/ 4828 h 115864"/>
                  <a:gd name="connsiteX4" fmla="*/ 4828 w 218854"/>
                  <a:gd name="connsiteY4" fmla="*/ 113611 h 115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854" h="115864">
                    <a:moveTo>
                      <a:pt x="4828" y="113611"/>
                    </a:moveTo>
                    <a:lnTo>
                      <a:pt x="214348" y="113611"/>
                    </a:lnTo>
                    <a:cubicBezTo>
                      <a:pt x="214348" y="74024"/>
                      <a:pt x="193750" y="39265"/>
                      <a:pt x="163175" y="20276"/>
                    </a:cubicBezTo>
                    <a:cubicBezTo>
                      <a:pt x="147405" y="10621"/>
                      <a:pt x="129060" y="4828"/>
                      <a:pt x="109427" y="4828"/>
                    </a:cubicBezTo>
                    <a:cubicBezTo>
                      <a:pt x="51817" y="4828"/>
                      <a:pt x="4828" y="53748"/>
                      <a:pt x="4828" y="113611"/>
                    </a:cubicBezTo>
                    <a:close/>
                  </a:path>
                </a:pathLst>
              </a:custGeom>
              <a:noFill/>
              <a:ln w="15875" cap="flat">
                <a:solidFill>
                  <a:srgbClr val="A166FF"/>
                </a:solidFill>
                <a:prstDash val="solid"/>
                <a:round/>
              </a:ln>
            </p:spPr>
            <p:txBody>
              <a:bodyPr rtlCol="0" anchor="ctr"/>
              <a:lstStyle/>
              <a:p>
                <a:pPr defTabSz="731504">
                  <a:defRPr/>
                </a:pPr>
                <a:endParaRPr lang="en-US" sz="1800" dirty="0">
                  <a:solidFill>
                    <a:srgbClr val="FFFFFF"/>
                  </a:solidFill>
                </a:endParaRPr>
              </a:p>
            </p:txBody>
          </p:sp>
        </p:grpSp>
        <p:sp>
          <p:nvSpPr>
            <p:cNvPr id="903" name="Freeform: Shape 902">
              <a:extLst>
                <a:ext uri="{FF2B5EF4-FFF2-40B4-BE49-F238E27FC236}">
                  <a16:creationId xmlns:a16="http://schemas.microsoft.com/office/drawing/2014/main" id="{69837284-0CDC-428A-BDE9-A521F4DF03A3}"/>
                </a:ext>
              </a:extLst>
            </p:cNvPr>
            <p:cNvSpPr/>
            <p:nvPr/>
          </p:nvSpPr>
          <p:spPr>
            <a:xfrm>
              <a:off x="11738104" y="3067017"/>
              <a:ext cx="560418" cy="560417"/>
            </a:xfrm>
            <a:custGeom>
              <a:avLst/>
              <a:gdLst>
                <a:gd name="connsiteX0" fmla="*/ 280040 w 560418"/>
                <a:gd name="connsiteY0" fmla="*/ 129268 h 560417"/>
                <a:gd name="connsiteX1" fmla="*/ 129269 w 560418"/>
                <a:gd name="connsiteY1" fmla="*/ 280039 h 560417"/>
                <a:gd name="connsiteX2" fmla="*/ 280040 w 560418"/>
                <a:gd name="connsiteY2" fmla="*/ 430811 h 560417"/>
                <a:gd name="connsiteX3" fmla="*/ 430812 w 560418"/>
                <a:gd name="connsiteY3" fmla="*/ 280039 h 560417"/>
                <a:gd name="connsiteX4" fmla="*/ 280040 w 560418"/>
                <a:gd name="connsiteY4" fmla="*/ 129268 h 560417"/>
                <a:gd name="connsiteX5" fmla="*/ 271505 w 560418"/>
                <a:gd name="connsiteY5" fmla="*/ 0 h 560417"/>
                <a:gd name="connsiteX6" fmla="*/ 288910 w 560418"/>
                <a:gd name="connsiteY6" fmla="*/ 1161 h 560417"/>
                <a:gd name="connsiteX7" fmla="*/ 306315 w 560418"/>
                <a:gd name="connsiteY7" fmla="*/ 2318 h 560417"/>
                <a:gd name="connsiteX8" fmla="*/ 323717 w 560418"/>
                <a:gd name="connsiteY8" fmla="*/ 3479 h 560417"/>
                <a:gd name="connsiteX9" fmla="*/ 338801 w 560418"/>
                <a:gd name="connsiteY9" fmla="*/ 89341 h 560417"/>
                <a:gd name="connsiteX10" fmla="*/ 394496 w 560418"/>
                <a:gd name="connsiteY10" fmla="*/ 117187 h 560417"/>
                <a:gd name="connsiteX11" fmla="*/ 472233 w 560418"/>
                <a:gd name="connsiteY11" fmla="*/ 77737 h 560417"/>
                <a:gd name="connsiteX12" fmla="*/ 483838 w 560418"/>
                <a:gd name="connsiteY12" fmla="*/ 90502 h 560417"/>
                <a:gd name="connsiteX13" fmla="*/ 495439 w 560418"/>
                <a:gd name="connsiteY13" fmla="*/ 103264 h 560417"/>
                <a:gd name="connsiteX14" fmla="*/ 507044 w 560418"/>
                <a:gd name="connsiteY14" fmla="*/ 116026 h 560417"/>
                <a:gd name="connsiteX15" fmla="*/ 457149 w 560418"/>
                <a:gd name="connsiteY15" fmla="*/ 187963 h 560417"/>
                <a:gd name="connsiteX16" fmla="*/ 476877 w 560418"/>
                <a:gd name="connsiteY16" fmla="*/ 245980 h 560417"/>
                <a:gd name="connsiteX17" fmla="*/ 560418 w 560418"/>
                <a:gd name="connsiteY17" fmla="*/ 272665 h 560417"/>
                <a:gd name="connsiteX18" fmla="*/ 559257 w 560418"/>
                <a:gd name="connsiteY18" fmla="*/ 290070 h 560417"/>
                <a:gd name="connsiteX19" fmla="*/ 558096 w 560418"/>
                <a:gd name="connsiteY19" fmla="*/ 307472 h 560417"/>
                <a:gd name="connsiteX20" fmla="*/ 556935 w 560418"/>
                <a:gd name="connsiteY20" fmla="*/ 324877 h 560417"/>
                <a:gd name="connsiteX21" fmla="*/ 471076 w 560418"/>
                <a:gd name="connsiteY21" fmla="*/ 339961 h 560417"/>
                <a:gd name="connsiteX22" fmla="*/ 443227 w 560418"/>
                <a:gd name="connsiteY22" fmla="*/ 394496 h 560417"/>
                <a:gd name="connsiteX23" fmla="*/ 482677 w 560418"/>
                <a:gd name="connsiteY23" fmla="*/ 472232 h 560417"/>
                <a:gd name="connsiteX24" fmla="*/ 469915 w 560418"/>
                <a:gd name="connsiteY24" fmla="*/ 483837 h 560417"/>
                <a:gd name="connsiteX25" fmla="*/ 457149 w 560418"/>
                <a:gd name="connsiteY25" fmla="*/ 495439 h 560417"/>
                <a:gd name="connsiteX26" fmla="*/ 444387 w 560418"/>
                <a:gd name="connsiteY26" fmla="*/ 507043 h 560417"/>
                <a:gd name="connsiteX27" fmla="*/ 372451 w 560418"/>
                <a:gd name="connsiteY27" fmla="*/ 457149 h 560417"/>
                <a:gd name="connsiteX28" fmla="*/ 314438 w 560418"/>
                <a:gd name="connsiteY28" fmla="*/ 476876 h 560417"/>
                <a:gd name="connsiteX29" fmla="*/ 287749 w 560418"/>
                <a:gd name="connsiteY29" fmla="*/ 560417 h 560417"/>
                <a:gd name="connsiteX30" fmla="*/ 270344 w 560418"/>
                <a:gd name="connsiteY30" fmla="*/ 559256 h 560417"/>
                <a:gd name="connsiteX31" fmla="*/ 252942 w 560418"/>
                <a:gd name="connsiteY31" fmla="*/ 558095 h 560417"/>
                <a:gd name="connsiteX32" fmla="*/ 235536 w 560418"/>
                <a:gd name="connsiteY32" fmla="*/ 556934 h 560417"/>
                <a:gd name="connsiteX33" fmla="*/ 220453 w 560418"/>
                <a:gd name="connsiteY33" fmla="*/ 471075 h 560417"/>
                <a:gd name="connsiteX34" fmla="*/ 164761 w 560418"/>
                <a:gd name="connsiteY34" fmla="*/ 443226 h 560417"/>
                <a:gd name="connsiteX35" fmla="*/ 87020 w 560418"/>
                <a:gd name="connsiteY35" fmla="*/ 482676 h 560417"/>
                <a:gd name="connsiteX36" fmla="*/ 75419 w 560418"/>
                <a:gd name="connsiteY36" fmla="*/ 469914 h 560417"/>
                <a:gd name="connsiteX37" fmla="*/ 63814 w 560418"/>
                <a:gd name="connsiteY37" fmla="*/ 457149 h 560417"/>
                <a:gd name="connsiteX38" fmla="*/ 52213 w 560418"/>
                <a:gd name="connsiteY38" fmla="*/ 444387 h 560417"/>
                <a:gd name="connsiteX39" fmla="*/ 102104 w 560418"/>
                <a:gd name="connsiteY39" fmla="*/ 372450 h 560417"/>
                <a:gd name="connsiteX40" fmla="*/ 82381 w 560418"/>
                <a:gd name="connsiteY40" fmla="*/ 313276 h 560417"/>
                <a:gd name="connsiteX41" fmla="*/ 0 w 560418"/>
                <a:gd name="connsiteY41" fmla="*/ 286588 h 560417"/>
                <a:gd name="connsiteX42" fmla="*/ 1161 w 560418"/>
                <a:gd name="connsiteY42" fmla="*/ 269186 h 560417"/>
                <a:gd name="connsiteX43" fmla="*/ 2319 w 560418"/>
                <a:gd name="connsiteY43" fmla="*/ 251780 h 560417"/>
                <a:gd name="connsiteX44" fmla="*/ 3479 w 560418"/>
                <a:gd name="connsiteY44" fmla="*/ 234375 h 560417"/>
                <a:gd name="connsiteX45" fmla="*/ 88181 w 560418"/>
                <a:gd name="connsiteY45" fmla="*/ 219291 h 560417"/>
                <a:gd name="connsiteX46" fmla="*/ 116027 w 560418"/>
                <a:gd name="connsiteY46" fmla="*/ 163599 h 560417"/>
                <a:gd name="connsiteX47" fmla="*/ 76576 w 560418"/>
                <a:gd name="connsiteY47" fmla="*/ 87020 h 560417"/>
                <a:gd name="connsiteX48" fmla="*/ 89342 w 560418"/>
                <a:gd name="connsiteY48" fmla="*/ 75418 h 560417"/>
                <a:gd name="connsiteX49" fmla="*/ 102104 w 560418"/>
                <a:gd name="connsiteY49" fmla="*/ 63814 h 560417"/>
                <a:gd name="connsiteX50" fmla="*/ 114866 w 560418"/>
                <a:gd name="connsiteY50" fmla="*/ 52212 h 560417"/>
                <a:gd name="connsiteX51" fmla="*/ 185645 w 560418"/>
                <a:gd name="connsiteY51" fmla="*/ 102103 h 560417"/>
                <a:gd name="connsiteX52" fmla="*/ 244820 w 560418"/>
                <a:gd name="connsiteY52" fmla="*/ 82380 h 560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60418" h="560417">
                  <a:moveTo>
                    <a:pt x="280040" y="129268"/>
                  </a:moveTo>
                  <a:cubicBezTo>
                    <a:pt x="196771" y="129268"/>
                    <a:pt x="129269" y="196770"/>
                    <a:pt x="129269" y="280039"/>
                  </a:cubicBezTo>
                  <a:cubicBezTo>
                    <a:pt x="129269" y="363309"/>
                    <a:pt x="196771" y="430811"/>
                    <a:pt x="280040" y="430811"/>
                  </a:cubicBezTo>
                  <a:cubicBezTo>
                    <a:pt x="363309" y="430811"/>
                    <a:pt x="430812" y="363309"/>
                    <a:pt x="430812" y="280039"/>
                  </a:cubicBezTo>
                  <a:cubicBezTo>
                    <a:pt x="430812" y="196770"/>
                    <a:pt x="363309" y="129268"/>
                    <a:pt x="280040" y="129268"/>
                  </a:cubicBezTo>
                  <a:close/>
                  <a:moveTo>
                    <a:pt x="271505" y="0"/>
                  </a:moveTo>
                  <a:lnTo>
                    <a:pt x="288910" y="1161"/>
                  </a:lnTo>
                  <a:lnTo>
                    <a:pt x="306315" y="2318"/>
                  </a:lnTo>
                  <a:lnTo>
                    <a:pt x="323717" y="3479"/>
                  </a:lnTo>
                  <a:lnTo>
                    <a:pt x="338801" y="89341"/>
                  </a:lnTo>
                  <a:cubicBezTo>
                    <a:pt x="358528" y="96303"/>
                    <a:pt x="377091" y="104425"/>
                    <a:pt x="394496" y="117187"/>
                  </a:cubicBezTo>
                  <a:lnTo>
                    <a:pt x="472233" y="77737"/>
                  </a:lnTo>
                  <a:lnTo>
                    <a:pt x="483838" y="90502"/>
                  </a:lnTo>
                  <a:lnTo>
                    <a:pt x="495439" y="103264"/>
                  </a:lnTo>
                  <a:lnTo>
                    <a:pt x="507044" y="116026"/>
                  </a:lnTo>
                  <a:lnTo>
                    <a:pt x="457149" y="187963"/>
                  </a:lnTo>
                  <a:cubicBezTo>
                    <a:pt x="466433" y="206529"/>
                    <a:pt x="473394" y="226253"/>
                    <a:pt x="476877" y="245980"/>
                  </a:cubicBezTo>
                  <a:lnTo>
                    <a:pt x="560418" y="272665"/>
                  </a:lnTo>
                  <a:lnTo>
                    <a:pt x="559257" y="290070"/>
                  </a:lnTo>
                  <a:lnTo>
                    <a:pt x="558096" y="307472"/>
                  </a:lnTo>
                  <a:lnTo>
                    <a:pt x="556935" y="324877"/>
                  </a:lnTo>
                  <a:lnTo>
                    <a:pt x="471076" y="339961"/>
                  </a:lnTo>
                  <a:cubicBezTo>
                    <a:pt x="464111" y="358527"/>
                    <a:pt x="454831" y="377090"/>
                    <a:pt x="443227" y="394496"/>
                  </a:cubicBezTo>
                  <a:lnTo>
                    <a:pt x="482677" y="472232"/>
                  </a:lnTo>
                  <a:lnTo>
                    <a:pt x="469915" y="483837"/>
                  </a:lnTo>
                  <a:lnTo>
                    <a:pt x="457149" y="495439"/>
                  </a:lnTo>
                  <a:lnTo>
                    <a:pt x="444387" y="507043"/>
                  </a:lnTo>
                  <a:lnTo>
                    <a:pt x="372451" y="457149"/>
                  </a:lnTo>
                  <a:cubicBezTo>
                    <a:pt x="353885" y="466432"/>
                    <a:pt x="334161" y="473393"/>
                    <a:pt x="314438" y="476876"/>
                  </a:cubicBezTo>
                  <a:lnTo>
                    <a:pt x="287749" y="560417"/>
                  </a:lnTo>
                  <a:lnTo>
                    <a:pt x="270344" y="559256"/>
                  </a:lnTo>
                  <a:lnTo>
                    <a:pt x="252942" y="558095"/>
                  </a:lnTo>
                  <a:lnTo>
                    <a:pt x="235536" y="556934"/>
                  </a:lnTo>
                  <a:lnTo>
                    <a:pt x="220453" y="471075"/>
                  </a:lnTo>
                  <a:cubicBezTo>
                    <a:pt x="200729" y="464110"/>
                    <a:pt x="182163" y="454831"/>
                    <a:pt x="164761" y="443226"/>
                  </a:cubicBezTo>
                  <a:lnTo>
                    <a:pt x="87020" y="482676"/>
                  </a:lnTo>
                  <a:lnTo>
                    <a:pt x="75419" y="469914"/>
                  </a:lnTo>
                  <a:lnTo>
                    <a:pt x="63814" y="457149"/>
                  </a:lnTo>
                  <a:lnTo>
                    <a:pt x="52213" y="444387"/>
                  </a:lnTo>
                  <a:lnTo>
                    <a:pt x="102104" y="372450"/>
                  </a:lnTo>
                  <a:cubicBezTo>
                    <a:pt x="92821" y="353884"/>
                    <a:pt x="85860" y="333000"/>
                    <a:pt x="82381" y="313276"/>
                  </a:cubicBezTo>
                  <a:lnTo>
                    <a:pt x="0" y="286588"/>
                  </a:lnTo>
                  <a:lnTo>
                    <a:pt x="1161" y="269186"/>
                  </a:lnTo>
                  <a:lnTo>
                    <a:pt x="2319" y="251780"/>
                  </a:lnTo>
                  <a:lnTo>
                    <a:pt x="3479" y="234375"/>
                  </a:lnTo>
                  <a:lnTo>
                    <a:pt x="88181" y="219291"/>
                  </a:lnTo>
                  <a:cubicBezTo>
                    <a:pt x="93982" y="199568"/>
                    <a:pt x="103265" y="181001"/>
                    <a:pt x="116027" y="163599"/>
                  </a:cubicBezTo>
                  <a:lnTo>
                    <a:pt x="76576" y="87020"/>
                  </a:lnTo>
                  <a:lnTo>
                    <a:pt x="89342" y="75418"/>
                  </a:lnTo>
                  <a:lnTo>
                    <a:pt x="102104" y="63814"/>
                  </a:lnTo>
                  <a:lnTo>
                    <a:pt x="114866" y="52212"/>
                  </a:lnTo>
                  <a:lnTo>
                    <a:pt x="185645" y="102103"/>
                  </a:lnTo>
                  <a:cubicBezTo>
                    <a:pt x="204208" y="92820"/>
                    <a:pt x="223935" y="85859"/>
                    <a:pt x="244820" y="82380"/>
                  </a:cubicBezTo>
                  <a:close/>
                </a:path>
              </a:pathLst>
            </a:custGeom>
            <a:solidFill>
              <a:schemeClr val="bg1"/>
            </a:solidFill>
            <a:ln w="15875" cap="flat">
              <a:solidFill>
                <a:schemeClr val="tx1"/>
              </a:solidFill>
              <a:prstDash val="solid"/>
              <a:round/>
            </a:ln>
          </p:spPr>
          <p:txBody>
            <a:bodyPr wrap="square" rtlCol="0" anchor="ctr">
              <a:noAutofit/>
            </a:bodyPr>
            <a:lstStyle/>
            <a:p>
              <a:pPr defTabSz="731504">
                <a:defRPr/>
              </a:pPr>
              <a:endParaRPr lang="en-US" sz="1800">
                <a:solidFill>
                  <a:srgbClr val="FFFFFF"/>
                </a:solidFill>
              </a:endParaRPr>
            </a:p>
          </p:txBody>
        </p:sp>
      </p:grpSp>
      <p:grpSp>
        <p:nvGrpSpPr>
          <p:cNvPr id="906" name="Group 905">
            <a:extLst>
              <a:ext uri="{FF2B5EF4-FFF2-40B4-BE49-F238E27FC236}">
                <a16:creationId xmlns:a16="http://schemas.microsoft.com/office/drawing/2014/main" id="{853DE1FB-D136-4882-8BB8-CCCF760EC6A3}"/>
              </a:ext>
            </a:extLst>
          </p:cNvPr>
          <p:cNvGrpSpPr/>
          <p:nvPr/>
        </p:nvGrpSpPr>
        <p:grpSpPr>
          <a:xfrm>
            <a:off x="7267278" y="4270495"/>
            <a:ext cx="727543" cy="746924"/>
            <a:chOff x="11775652" y="4756665"/>
            <a:chExt cx="483729" cy="496615"/>
          </a:xfrm>
        </p:grpSpPr>
        <p:grpSp>
          <p:nvGrpSpPr>
            <p:cNvPr id="907" name="Graphic 268">
              <a:extLst>
                <a:ext uri="{FF2B5EF4-FFF2-40B4-BE49-F238E27FC236}">
                  <a16:creationId xmlns:a16="http://schemas.microsoft.com/office/drawing/2014/main" id="{E97FB1F6-AB5C-43FC-A166-3AA881F3BB77}"/>
                </a:ext>
              </a:extLst>
            </p:cNvPr>
            <p:cNvGrpSpPr/>
            <p:nvPr/>
          </p:nvGrpSpPr>
          <p:grpSpPr>
            <a:xfrm>
              <a:off x="11775652" y="4756665"/>
              <a:ext cx="483729" cy="496615"/>
              <a:chOff x="4562059" y="6255271"/>
              <a:chExt cx="483729" cy="496616"/>
            </a:xfrm>
          </p:grpSpPr>
          <p:sp>
            <p:nvSpPr>
              <p:cNvPr id="911" name="Freeform: Shape 910">
                <a:extLst>
                  <a:ext uri="{FF2B5EF4-FFF2-40B4-BE49-F238E27FC236}">
                    <a16:creationId xmlns:a16="http://schemas.microsoft.com/office/drawing/2014/main" id="{97D8EDBA-27C7-45DE-91D7-63FD1FBDFA43}"/>
                  </a:ext>
                </a:extLst>
              </p:cNvPr>
              <p:cNvSpPr/>
              <p:nvPr/>
            </p:nvSpPr>
            <p:spPr>
              <a:xfrm>
                <a:off x="4566562" y="6542841"/>
                <a:ext cx="80461" cy="138393"/>
              </a:xfrm>
              <a:custGeom>
                <a:avLst/>
                <a:gdLst>
                  <a:gd name="connsiteX0" fmla="*/ 1617 w 80461"/>
                  <a:gd name="connsiteY0" fmla="*/ 1617 h 138393"/>
                  <a:gd name="connsiteX1" fmla="*/ 79825 w 80461"/>
                  <a:gd name="connsiteY1" fmla="*/ 139367 h 138393"/>
                </a:gdLst>
                <a:ahLst/>
                <a:cxnLst>
                  <a:cxn ang="0">
                    <a:pos x="connsiteX0" y="connsiteY0"/>
                  </a:cxn>
                  <a:cxn ang="0">
                    <a:pos x="connsiteX1" y="connsiteY1"/>
                  </a:cxn>
                </a:cxnLst>
                <a:rect l="l" t="t" r="r" b="b"/>
                <a:pathLst>
                  <a:path w="80461" h="138393">
                    <a:moveTo>
                      <a:pt x="1617" y="1617"/>
                    </a:moveTo>
                    <a:cubicBezTo>
                      <a:pt x="9342" y="45066"/>
                      <a:pt x="29296" y="99458"/>
                      <a:pt x="79825" y="139367"/>
                    </a:cubicBezTo>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912" name="Freeform: Shape 911">
                <a:extLst>
                  <a:ext uri="{FF2B5EF4-FFF2-40B4-BE49-F238E27FC236}">
                    <a16:creationId xmlns:a16="http://schemas.microsoft.com/office/drawing/2014/main" id="{796A6D49-D5B8-4E17-9AF9-CCEAFEB8AEAA}"/>
                  </a:ext>
                </a:extLst>
              </p:cNvPr>
              <p:cNvSpPr/>
              <p:nvPr/>
            </p:nvSpPr>
            <p:spPr>
              <a:xfrm>
                <a:off x="4562059" y="6283113"/>
                <a:ext cx="131956" cy="231728"/>
              </a:xfrm>
              <a:custGeom>
                <a:avLst/>
                <a:gdLst>
                  <a:gd name="connsiteX0" fmla="*/ 132926 w 131956"/>
                  <a:gd name="connsiteY0" fmla="*/ 1617 h 231728"/>
                  <a:gd name="connsiteX1" fmla="*/ 121340 w 131956"/>
                  <a:gd name="connsiteY1" fmla="*/ 8054 h 231728"/>
                  <a:gd name="connsiteX2" fmla="*/ 2579 w 131956"/>
                  <a:gd name="connsiteY2" fmla="*/ 191506 h 231728"/>
                  <a:gd name="connsiteX3" fmla="*/ 2258 w 131956"/>
                  <a:gd name="connsiteY3" fmla="*/ 230127 h 231728"/>
                </a:gdLst>
                <a:ahLst/>
                <a:cxnLst>
                  <a:cxn ang="0">
                    <a:pos x="connsiteX0" y="connsiteY0"/>
                  </a:cxn>
                  <a:cxn ang="0">
                    <a:pos x="connsiteX1" y="connsiteY1"/>
                  </a:cxn>
                  <a:cxn ang="0">
                    <a:pos x="connsiteX2" y="connsiteY2"/>
                  </a:cxn>
                  <a:cxn ang="0">
                    <a:pos x="connsiteX3" y="connsiteY3"/>
                  </a:cxn>
                </a:cxnLst>
                <a:rect l="l" t="t" r="r" b="b"/>
                <a:pathLst>
                  <a:path w="131956" h="231728">
                    <a:moveTo>
                      <a:pt x="132926" y="1617"/>
                    </a:moveTo>
                    <a:cubicBezTo>
                      <a:pt x="129064" y="3548"/>
                      <a:pt x="125202" y="5801"/>
                      <a:pt x="121340" y="8054"/>
                    </a:cubicBezTo>
                    <a:cubicBezTo>
                      <a:pt x="70810" y="37342"/>
                      <a:pt x="11591" y="102998"/>
                      <a:pt x="2579" y="191506"/>
                    </a:cubicBezTo>
                    <a:cubicBezTo>
                      <a:pt x="2579" y="191506"/>
                      <a:pt x="648" y="206954"/>
                      <a:pt x="2258" y="230127"/>
                    </a:cubicBezTo>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913" name="Freeform: Shape 912">
                <a:extLst>
                  <a:ext uri="{FF2B5EF4-FFF2-40B4-BE49-F238E27FC236}">
                    <a16:creationId xmlns:a16="http://schemas.microsoft.com/office/drawing/2014/main" id="{7F3BD53D-118E-4E80-9057-E416145B1E79}"/>
                  </a:ext>
                </a:extLst>
              </p:cNvPr>
              <p:cNvSpPr/>
              <p:nvPr/>
            </p:nvSpPr>
            <p:spPr>
              <a:xfrm>
                <a:off x="4721369" y="6255271"/>
                <a:ext cx="280005" cy="106209"/>
              </a:xfrm>
              <a:custGeom>
                <a:avLst/>
                <a:gdLst>
                  <a:gd name="connsiteX0" fmla="*/ 281300 w 280004"/>
                  <a:gd name="connsiteY0" fmla="*/ 105737 h 106208"/>
                  <a:gd name="connsiteX1" fmla="*/ 1617 w 280004"/>
                  <a:gd name="connsiteY1" fmla="*/ 16908 h 106208"/>
                </a:gdLst>
                <a:ahLst/>
                <a:cxnLst>
                  <a:cxn ang="0">
                    <a:pos x="connsiteX0" y="connsiteY0"/>
                  </a:cxn>
                  <a:cxn ang="0">
                    <a:pos x="connsiteX1" y="connsiteY1"/>
                  </a:cxn>
                </a:cxnLst>
                <a:rect l="l" t="t" r="r" b="b"/>
                <a:pathLst>
                  <a:path w="280004" h="106208">
                    <a:moveTo>
                      <a:pt x="281300" y="105737"/>
                    </a:moveTo>
                    <a:cubicBezTo>
                      <a:pt x="240104" y="41368"/>
                      <a:pt x="127137" y="-30404"/>
                      <a:pt x="1617" y="16908"/>
                    </a:cubicBezTo>
                  </a:path>
                </a:pathLst>
              </a:custGeom>
              <a:noFill/>
              <a:ln w="15875" cap="flat">
                <a:solidFill>
                  <a:schemeClr val="tx1"/>
                </a:solidFill>
                <a:prstDash val="solid"/>
                <a:round/>
              </a:ln>
            </p:spPr>
            <p:txBody>
              <a:bodyPr rtlCol="0" anchor="ctr"/>
              <a:lstStyle/>
              <a:p>
                <a:pPr defTabSz="731504">
                  <a:defRPr/>
                </a:pPr>
                <a:endParaRPr lang="en-US" sz="1800" dirty="0">
                  <a:solidFill>
                    <a:srgbClr val="FFFFFF"/>
                  </a:solidFill>
                </a:endParaRPr>
              </a:p>
            </p:txBody>
          </p:sp>
          <p:sp>
            <p:nvSpPr>
              <p:cNvPr id="914" name="Freeform: Shape 913">
                <a:extLst>
                  <a:ext uri="{FF2B5EF4-FFF2-40B4-BE49-F238E27FC236}">
                    <a16:creationId xmlns:a16="http://schemas.microsoft.com/office/drawing/2014/main" id="{5CE865C5-530C-4F4C-A423-CCCA36895954}"/>
                  </a:ext>
                </a:extLst>
              </p:cNvPr>
              <p:cNvSpPr/>
              <p:nvPr/>
            </p:nvSpPr>
            <p:spPr>
              <a:xfrm>
                <a:off x="4966139" y="6325122"/>
                <a:ext cx="45058" cy="41840"/>
              </a:xfrm>
              <a:custGeom>
                <a:avLst/>
                <a:gdLst>
                  <a:gd name="connsiteX0" fmla="*/ 45541 w 45058"/>
                  <a:gd name="connsiteY0" fmla="*/ 3379 h 41839"/>
                  <a:gd name="connsiteX1" fmla="*/ 39104 w 45058"/>
                  <a:gd name="connsiteY1" fmla="*/ 2414 h 41839"/>
                  <a:gd name="connsiteX2" fmla="*/ 34598 w 45058"/>
                  <a:gd name="connsiteY2" fmla="*/ 33955 h 41839"/>
                  <a:gd name="connsiteX3" fmla="*/ 3701 w 45058"/>
                  <a:gd name="connsiteY3" fmla="*/ 27196 h 41839"/>
                  <a:gd name="connsiteX4" fmla="*/ 2414 w 45058"/>
                  <a:gd name="connsiteY4" fmla="*/ 33311 h 41839"/>
                  <a:gd name="connsiteX5" fmla="*/ 40070 w 45058"/>
                  <a:gd name="connsiteY5" fmla="*/ 41679 h 4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58" h="41839">
                    <a:moveTo>
                      <a:pt x="45541" y="3379"/>
                    </a:moveTo>
                    <a:lnTo>
                      <a:pt x="39104" y="2414"/>
                    </a:lnTo>
                    <a:lnTo>
                      <a:pt x="34598" y="33955"/>
                    </a:lnTo>
                    <a:lnTo>
                      <a:pt x="3701" y="27196"/>
                    </a:lnTo>
                    <a:lnTo>
                      <a:pt x="2414" y="33311"/>
                    </a:lnTo>
                    <a:lnTo>
                      <a:pt x="40070" y="41679"/>
                    </a:lnTo>
                    <a:close/>
                  </a:path>
                </a:pathLst>
              </a:custGeom>
              <a:solidFill>
                <a:schemeClr val="tx1"/>
              </a:solidFill>
              <a:ln w="15875" cap="flat">
                <a:solidFill>
                  <a:schemeClr val="tx1"/>
                </a:solidFill>
                <a:prstDash val="solid"/>
                <a:miter/>
              </a:ln>
            </p:spPr>
            <p:txBody>
              <a:bodyPr rtlCol="0" anchor="ctr"/>
              <a:lstStyle/>
              <a:p>
                <a:pPr defTabSz="731504">
                  <a:defRPr/>
                </a:pPr>
                <a:endParaRPr lang="en-US" sz="1800">
                  <a:solidFill>
                    <a:srgbClr val="FFFFFF"/>
                  </a:solidFill>
                </a:endParaRPr>
              </a:p>
            </p:txBody>
          </p:sp>
          <p:sp>
            <p:nvSpPr>
              <p:cNvPr id="915" name="Freeform: Shape 914">
                <a:extLst>
                  <a:ext uri="{FF2B5EF4-FFF2-40B4-BE49-F238E27FC236}">
                    <a16:creationId xmlns:a16="http://schemas.microsoft.com/office/drawing/2014/main" id="{FDF9B5F2-14E1-4CED-BE74-36982E68519D}"/>
                  </a:ext>
                </a:extLst>
              </p:cNvPr>
              <p:cNvSpPr/>
              <p:nvPr/>
            </p:nvSpPr>
            <p:spPr>
              <a:xfrm>
                <a:off x="5032914" y="6426655"/>
                <a:ext cx="12874" cy="86898"/>
              </a:xfrm>
              <a:custGeom>
                <a:avLst/>
                <a:gdLst>
                  <a:gd name="connsiteX0" fmla="*/ 12238 w 12873"/>
                  <a:gd name="connsiteY0" fmla="*/ 86584 h 86898"/>
                  <a:gd name="connsiteX1" fmla="*/ 1617 w 12873"/>
                  <a:gd name="connsiteY1" fmla="*/ 1617 h 86898"/>
                </a:gdLst>
                <a:ahLst/>
                <a:cxnLst>
                  <a:cxn ang="0">
                    <a:pos x="connsiteX0" y="connsiteY0"/>
                  </a:cxn>
                  <a:cxn ang="0">
                    <a:pos x="connsiteX1" y="connsiteY1"/>
                  </a:cxn>
                </a:cxnLst>
                <a:rect l="l" t="t" r="r" b="b"/>
                <a:pathLst>
                  <a:path w="12873" h="86898">
                    <a:moveTo>
                      <a:pt x="12238" y="86584"/>
                    </a:moveTo>
                    <a:cubicBezTo>
                      <a:pt x="13847" y="60193"/>
                      <a:pt x="10629" y="31549"/>
                      <a:pt x="1617" y="1617"/>
                    </a:cubicBezTo>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916" name="Freeform: Shape 915">
                <a:extLst>
                  <a:ext uri="{FF2B5EF4-FFF2-40B4-BE49-F238E27FC236}">
                    <a16:creationId xmlns:a16="http://schemas.microsoft.com/office/drawing/2014/main" id="{0CBA5158-7E49-40C4-A1E2-1311D2B68BFC}"/>
                  </a:ext>
                </a:extLst>
              </p:cNvPr>
              <p:cNvSpPr/>
              <p:nvPr/>
            </p:nvSpPr>
            <p:spPr>
              <a:xfrm>
                <a:off x="5025190" y="6531255"/>
                <a:ext cx="19311" cy="61150"/>
              </a:xfrm>
              <a:custGeom>
                <a:avLst/>
                <a:gdLst>
                  <a:gd name="connsiteX0" fmla="*/ 1617 w 19310"/>
                  <a:gd name="connsiteY0" fmla="*/ 60193 h 61150"/>
                  <a:gd name="connsiteX1" fmla="*/ 18353 w 19310"/>
                  <a:gd name="connsiteY1" fmla="*/ 1617 h 61150"/>
                </a:gdLst>
                <a:ahLst/>
                <a:cxnLst>
                  <a:cxn ang="0">
                    <a:pos x="connsiteX0" y="connsiteY0"/>
                  </a:cxn>
                  <a:cxn ang="0">
                    <a:pos x="connsiteX1" y="connsiteY1"/>
                  </a:cxn>
                </a:cxnLst>
                <a:rect l="l" t="t" r="r" b="b"/>
                <a:pathLst>
                  <a:path w="19310" h="61150">
                    <a:moveTo>
                      <a:pt x="1617" y="60193"/>
                    </a:moveTo>
                    <a:cubicBezTo>
                      <a:pt x="9342" y="42170"/>
                      <a:pt x="15135" y="22537"/>
                      <a:pt x="18353" y="1617"/>
                    </a:cubicBezTo>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917" name="Freeform: Shape 916">
                <a:extLst>
                  <a:ext uri="{FF2B5EF4-FFF2-40B4-BE49-F238E27FC236}">
                    <a16:creationId xmlns:a16="http://schemas.microsoft.com/office/drawing/2014/main" id="{E5D9872B-0835-4FA1-91AF-C5668DA9A753}"/>
                  </a:ext>
                </a:extLst>
              </p:cNvPr>
              <p:cNvSpPr/>
              <p:nvPr/>
            </p:nvSpPr>
            <p:spPr>
              <a:xfrm>
                <a:off x="4701736" y="6612038"/>
                <a:ext cx="315408" cy="128738"/>
              </a:xfrm>
              <a:custGeom>
                <a:avLst/>
                <a:gdLst>
                  <a:gd name="connsiteX0" fmla="*/ 1617 w 315407"/>
                  <a:gd name="connsiteY0" fmla="*/ 106539 h 128737"/>
                  <a:gd name="connsiteX1" fmla="*/ 224012 w 315407"/>
                  <a:gd name="connsiteY1" fmla="*/ 95274 h 128737"/>
                  <a:gd name="connsiteX2" fmla="*/ 314450 w 315407"/>
                  <a:gd name="connsiteY2" fmla="*/ 1617 h 128737"/>
                </a:gdLst>
                <a:ahLst/>
                <a:cxnLst>
                  <a:cxn ang="0">
                    <a:pos x="connsiteX0" y="connsiteY0"/>
                  </a:cxn>
                  <a:cxn ang="0">
                    <a:pos x="connsiteX1" y="connsiteY1"/>
                  </a:cxn>
                  <a:cxn ang="0">
                    <a:pos x="connsiteX2" y="connsiteY2"/>
                  </a:cxn>
                </a:cxnLst>
                <a:rect l="l" t="t" r="r" b="b"/>
                <a:pathLst>
                  <a:path w="315407" h="128737">
                    <a:moveTo>
                      <a:pt x="1617" y="106539"/>
                    </a:moveTo>
                    <a:cubicBezTo>
                      <a:pt x="62768" y="135183"/>
                      <a:pt x="141941" y="142585"/>
                      <a:pt x="224012" y="95274"/>
                    </a:cubicBezTo>
                    <a:cubicBezTo>
                      <a:pt x="255553" y="76929"/>
                      <a:pt x="290312" y="44744"/>
                      <a:pt x="314450" y="1617"/>
                    </a:cubicBezTo>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918" name="Freeform: Shape 917">
                <a:extLst>
                  <a:ext uri="{FF2B5EF4-FFF2-40B4-BE49-F238E27FC236}">
                    <a16:creationId xmlns:a16="http://schemas.microsoft.com/office/drawing/2014/main" id="{F47FD08C-C696-43E5-A9CB-D31AE404D444}"/>
                  </a:ext>
                </a:extLst>
              </p:cNvPr>
              <p:cNvSpPr/>
              <p:nvPr/>
            </p:nvSpPr>
            <p:spPr>
              <a:xfrm>
                <a:off x="4694503" y="6700392"/>
                <a:ext cx="41840" cy="51495"/>
              </a:xfrm>
              <a:custGeom>
                <a:avLst/>
                <a:gdLst>
                  <a:gd name="connsiteX0" fmla="*/ 17541 w 41839"/>
                  <a:gd name="connsiteY0" fmla="*/ 50691 h 51495"/>
                  <a:gd name="connsiteX1" fmla="*/ 23656 w 41839"/>
                  <a:gd name="connsiteY1" fmla="*/ 48116 h 51495"/>
                  <a:gd name="connsiteX2" fmla="*/ 11104 w 41839"/>
                  <a:gd name="connsiteY2" fmla="*/ 18828 h 51495"/>
                  <a:gd name="connsiteX3" fmla="*/ 41035 w 41839"/>
                  <a:gd name="connsiteY3" fmla="*/ 8529 h 51495"/>
                  <a:gd name="connsiteX4" fmla="*/ 39104 w 41839"/>
                  <a:gd name="connsiteY4" fmla="*/ 2414 h 51495"/>
                  <a:gd name="connsiteX5" fmla="*/ 2414 w 41839"/>
                  <a:gd name="connsiteY5" fmla="*/ 14966 h 5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39" h="51495">
                    <a:moveTo>
                      <a:pt x="17541" y="50691"/>
                    </a:moveTo>
                    <a:lnTo>
                      <a:pt x="23656" y="48116"/>
                    </a:lnTo>
                    <a:lnTo>
                      <a:pt x="11104" y="18828"/>
                    </a:lnTo>
                    <a:lnTo>
                      <a:pt x="41035" y="8529"/>
                    </a:lnTo>
                    <a:lnTo>
                      <a:pt x="39104" y="2414"/>
                    </a:lnTo>
                    <a:lnTo>
                      <a:pt x="2414" y="14966"/>
                    </a:lnTo>
                    <a:close/>
                  </a:path>
                </a:pathLst>
              </a:custGeom>
              <a:solidFill>
                <a:schemeClr val="tx1"/>
              </a:solidFill>
              <a:ln w="15875" cap="flat">
                <a:solidFill>
                  <a:schemeClr val="tx1"/>
                </a:solidFill>
                <a:prstDash val="solid"/>
                <a:miter/>
              </a:ln>
            </p:spPr>
            <p:txBody>
              <a:bodyPr rtlCol="0" anchor="ctr"/>
              <a:lstStyle/>
              <a:p>
                <a:pPr defTabSz="731504">
                  <a:defRPr/>
                </a:pPr>
                <a:endParaRPr lang="en-US" sz="1800">
                  <a:solidFill>
                    <a:srgbClr val="FFFFFF"/>
                  </a:solidFill>
                </a:endParaRPr>
              </a:p>
            </p:txBody>
          </p:sp>
        </p:grpSp>
        <p:grpSp>
          <p:nvGrpSpPr>
            <p:cNvPr id="908" name="Graphic 244">
              <a:extLst>
                <a:ext uri="{FF2B5EF4-FFF2-40B4-BE49-F238E27FC236}">
                  <a16:creationId xmlns:a16="http://schemas.microsoft.com/office/drawing/2014/main" id="{3BE60685-3344-4448-A62B-F816D89C8677}"/>
                </a:ext>
              </a:extLst>
            </p:cNvPr>
            <p:cNvGrpSpPr/>
            <p:nvPr/>
          </p:nvGrpSpPr>
          <p:grpSpPr>
            <a:xfrm>
              <a:off x="11885192" y="4863122"/>
              <a:ext cx="274189" cy="274189"/>
              <a:chOff x="7761796" y="567771"/>
              <a:chExt cx="164141" cy="164141"/>
            </a:xfrm>
          </p:grpSpPr>
          <p:sp>
            <p:nvSpPr>
              <p:cNvPr id="909" name="Freeform: Shape 908">
                <a:extLst>
                  <a:ext uri="{FF2B5EF4-FFF2-40B4-BE49-F238E27FC236}">
                    <a16:creationId xmlns:a16="http://schemas.microsoft.com/office/drawing/2014/main" id="{83CCB7B8-CACE-4A4A-993A-74BAF4E6C53C}"/>
                  </a:ext>
                </a:extLst>
              </p:cNvPr>
              <p:cNvSpPr/>
              <p:nvPr/>
            </p:nvSpPr>
            <p:spPr>
              <a:xfrm>
                <a:off x="7761796" y="567771"/>
                <a:ext cx="164141" cy="164141"/>
              </a:xfrm>
              <a:custGeom>
                <a:avLst/>
                <a:gdLst>
                  <a:gd name="connsiteX0" fmla="*/ 19311 w 164140"/>
                  <a:gd name="connsiteY0" fmla="*/ 128094 h 164140"/>
                  <a:gd name="connsiteX1" fmla="*/ 22529 w 164140"/>
                  <a:gd name="connsiteY1" fmla="*/ 131634 h 164140"/>
                  <a:gd name="connsiteX2" fmla="*/ 25748 w 164140"/>
                  <a:gd name="connsiteY2" fmla="*/ 135175 h 164140"/>
                  <a:gd name="connsiteX3" fmla="*/ 28966 w 164140"/>
                  <a:gd name="connsiteY3" fmla="*/ 138715 h 164140"/>
                  <a:gd name="connsiteX4" fmla="*/ 50530 w 164140"/>
                  <a:gd name="connsiteY4" fmla="*/ 127772 h 164140"/>
                  <a:gd name="connsiteX5" fmla="*/ 65978 w 164140"/>
                  <a:gd name="connsiteY5" fmla="*/ 135497 h 164140"/>
                  <a:gd name="connsiteX6" fmla="*/ 70162 w 164140"/>
                  <a:gd name="connsiteY6" fmla="*/ 159313 h 164140"/>
                  <a:gd name="connsiteX7" fmla="*/ 74990 w 164140"/>
                  <a:gd name="connsiteY7" fmla="*/ 159635 h 164140"/>
                  <a:gd name="connsiteX8" fmla="*/ 79817 w 164140"/>
                  <a:gd name="connsiteY8" fmla="*/ 159957 h 164140"/>
                  <a:gd name="connsiteX9" fmla="*/ 84645 w 164140"/>
                  <a:gd name="connsiteY9" fmla="*/ 160279 h 164140"/>
                  <a:gd name="connsiteX10" fmla="*/ 92048 w 164140"/>
                  <a:gd name="connsiteY10" fmla="*/ 137106 h 164140"/>
                  <a:gd name="connsiteX11" fmla="*/ 108140 w 164140"/>
                  <a:gd name="connsiteY11" fmla="*/ 131634 h 164140"/>
                  <a:gd name="connsiteX12" fmla="*/ 128094 w 164140"/>
                  <a:gd name="connsiteY12" fmla="*/ 145474 h 164140"/>
                  <a:gd name="connsiteX13" fmla="*/ 131634 w 164140"/>
                  <a:gd name="connsiteY13" fmla="*/ 142255 h 164140"/>
                  <a:gd name="connsiteX14" fmla="*/ 135175 w 164140"/>
                  <a:gd name="connsiteY14" fmla="*/ 139037 h 164140"/>
                  <a:gd name="connsiteX15" fmla="*/ 138715 w 164140"/>
                  <a:gd name="connsiteY15" fmla="*/ 135818 h 164140"/>
                  <a:gd name="connsiteX16" fmla="*/ 127772 w 164140"/>
                  <a:gd name="connsiteY16" fmla="*/ 114255 h 164140"/>
                  <a:gd name="connsiteX17" fmla="*/ 135497 w 164140"/>
                  <a:gd name="connsiteY17" fmla="*/ 99128 h 164140"/>
                  <a:gd name="connsiteX18" fmla="*/ 159313 w 164140"/>
                  <a:gd name="connsiteY18" fmla="*/ 94944 h 164140"/>
                  <a:gd name="connsiteX19" fmla="*/ 159635 w 164140"/>
                  <a:gd name="connsiteY19" fmla="*/ 90116 h 164140"/>
                  <a:gd name="connsiteX20" fmla="*/ 159957 w 164140"/>
                  <a:gd name="connsiteY20" fmla="*/ 85289 h 164140"/>
                  <a:gd name="connsiteX21" fmla="*/ 160279 w 164140"/>
                  <a:gd name="connsiteY21" fmla="*/ 80461 h 164140"/>
                  <a:gd name="connsiteX22" fmla="*/ 137106 w 164140"/>
                  <a:gd name="connsiteY22" fmla="*/ 73059 h 164140"/>
                  <a:gd name="connsiteX23" fmla="*/ 131634 w 164140"/>
                  <a:gd name="connsiteY23" fmla="*/ 56966 h 164140"/>
                  <a:gd name="connsiteX24" fmla="*/ 145474 w 164140"/>
                  <a:gd name="connsiteY24" fmla="*/ 37012 h 164140"/>
                  <a:gd name="connsiteX25" fmla="*/ 142255 w 164140"/>
                  <a:gd name="connsiteY25" fmla="*/ 33472 h 164140"/>
                  <a:gd name="connsiteX26" fmla="*/ 139037 w 164140"/>
                  <a:gd name="connsiteY26" fmla="*/ 29932 h 164140"/>
                  <a:gd name="connsiteX27" fmla="*/ 135818 w 164140"/>
                  <a:gd name="connsiteY27" fmla="*/ 26391 h 164140"/>
                  <a:gd name="connsiteX28" fmla="*/ 114255 w 164140"/>
                  <a:gd name="connsiteY28" fmla="*/ 37334 h 164140"/>
                  <a:gd name="connsiteX29" fmla="*/ 98806 w 164140"/>
                  <a:gd name="connsiteY29" fmla="*/ 29610 h 164140"/>
                  <a:gd name="connsiteX30" fmla="*/ 94622 w 164140"/>
                  <a:gd name="connsiteY30" fmla="*/ 5793 h 164140"/>
                  <a:gd name="connsiteX31" fmla="*/ 89795 w 164140"/>
                  <a:gd name="connsiteY31" fmla="*/ 5471 h 164140"/>
                  <a:gd name="connsiteX32" fmla="*/ 84967 w 164140"/>
                  <a:gd name="connsiteY32" fmla="*/ 5150 h 164140"/>
                  <a:gd name="connsiteX33" fmla="*/ 80139 w 164140"/>
                  <a:gd name="connsiteY33" fmla="*/ 4828 h 164140"/>
                  <a:gd name="connsiteX34" fmla="*/ 72737 w 164140"/>
                  <a:gd name="connsiteY34" fmla="*/ 27679 h 164140"/>
                  <a:gd name="connsiteX35" fmla="*/ 56323 w 164140"/>
                  <a:gd name="connsiteY35" fmla="*/ 33150 h 164140"/>
                  <a:gd name="connsiteX36" fmla="*/ 36690 w 164140"/>
                  <a:gd name="connsiteY36" fmla="*/ 19311 h 164140"/>
                  <a:gd name="connsiteX37" fmla="*/ 33150 w 164140"/>
                  <a:gd name="connsiteY37" fmla="*/ 22529 h 164140"/>
                  <a:gd name="connsiteX38" fmla="*/ 29610 w 164140"/>
                  <a:gd name="connsiteY38" fmla="*/ 25748 h 164140"/>
                  <a:gd name="connsiteX39" fmla="*/ 26069 w 164140"/>
                  <a:gd name="connsiteY39" fmla="*/ 28966 h 164140"/>
                  <a:gd name="connsiteX40" fmla="*/ 37012 w 164140"/>
                  <a:gd name="connsiteY40" fmla="*/ 50208 h 164140"/>
                  <a:gd name="connsiteX41" fmla="*/ 29288 w 164140"/>
                  <a:gd name="connsiteY41" fmla="*/ 65656 h 164140"/>
                  <a:gd name="connsiteX42" fmla="*/ 5793 w 164140"/>
                  <a:gd name="connsiteY42" fmla="*/ 69840 h 164140"/>
                  <a:gd name="connsiteX43" fmla="*/ 5471 w 164140"/>
                  <a:gd name="connsiteY43" fmla="*/ 74668 h 164140"/>
                  <a:gd name="connsiteX44" fmla="*/ 5150 w 164140"/>
                  <a:gd name="connsiteY44" fmla="*/ 79496 h 164140"/>
                  <a:gd name="connsiteX45" fmla="*/ 4828 w 164140"/>
                  <a:gd name="connsiteY45" fmla="*/ 84323 h 164140"/>
                  <a:gd name="connsiteX46" fmla="*/ 27679 w 164140"/>
                  <a:gd name="connsiteY46" fmla="*/ 91726 h 164140"/>
                  <a:gd name="connsiteX47" fmla="*/ 33150 w 164140"/>
                  <a:gd name="connsiteY47" fmla="*/ 108140 h 164140"/>
                  <a:gd name="connsiteX48" fmla="*/ 19311 w 164140"/>
                  <a:gd name="connsiteY48" fmla="*/ 128094 h 16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64140" h="164140">
                    <a:moveTo>
                      <a:pt x="19311" y="128094"/>
                    </a:moveTo>
                    <a:lnTo>
                      <a:pt x="22529" y="131634"/>
                    </a:lnTo>
                    <a:lnTo>
                      <a:pt x="25748" y="135175"/>
                    </a:lnTo>
                    <a:lnTo>
                      <a:pt x="28966" y="138715"/>
                    </a:lnTo>
                    <a:lnTo>
                      <a:pt x="50530" y="127772"/>
                    </a:lnTo>
                    <a:cubicBezTo>
                      <a:pt x="55357" y="130991"/>
                      <a:pt x="60507" y="133565"/>
                      <a:pt x="65978" y="135497"/>
                    </a:cubicBezTo>
                    <a:lnTo>
                      <a:pt x="70162" y="159313"/>
                    </a:lnTo>
                    <a:lnTo>
                      <a:pt x="74990" y="159635"/>
                    </a:lnTo>
                    <a:lnTo>
                      <a:pt x="79817" y="159957"/>
                    </a:lnTo>
                    <a:lnTo>
                      <a:pt x="84645" y="160279"/>
                    </a:lnTo>
                    <a:lnTo>
                      <a:pt x="92048" y="137106"/>
                    </a:lnTo>
                    <a:cubicBezTo>
                      <a:pt x="97519" y="136140"/>
                      <a:pt x="102990" y="134209"/>
                      <a:pt x="108140" y="131634"/>
                    </a:cubicBezTo>
                    <a:lnTo>
                      <a:pt x="128094" y="145474"/>
                    </a:lnTo>
                    <a:lnTo>
                      <a:pt x="131634" y="142255"/>
                    </a:lnTo>
                    <a:lnTo>
                      <a:pt x="135175" y="139037"/>
                    </a:lnTo>
                    <a:lnTo>
                      <a:pt x="138715" y="135818"/>
                    </a:lnTo>
                    <a:lnTo>
                      <a:pt x="127772" y="114255"/>
                    </a:lnTo>
                    <a:cubicBezTo>
                      <a:pt x="130991" y="109427"/>
                      <a:pt x="133565" y="104278"/>
                      <a:pt x="135497" y="99128"/>
                    </a:cubicBezTo>
                    <a:lnTo>
                      <a:pt x="159313" y="94944"/>
                    </a:lnTo>
                    <a:lnTo>
                      <a:pt x="159635" y="90116"/>
                    </a:lnTo>
                    <a:lnTo>
                      <a:pt x="159957" y="85289"/>
                    </a:lnTo>
                    <a:lnTo>
                      <a:pt x="160279" y="80461"/>
                    </a:lnTo>
                    <a:lnTo>
                      <a:pt x="137106" y="73059"/>
                    </a:lnTo>
                    <a:cubicBezTo>
                      <a:pt x="136140" y="67587"/>
                      <a:pt x="134209" y="62116"/>
                      <a:pt x="131634" y="56966"/>
                    </a:cubicBezTo>
                    <a:lnTo>
                      <a:pt x="145474" y="37012"/>
                    </a:lnTo>
                    <a:lnTo>
                      <a:pt x="142255" y="33472"/>
                    </a:lnTo>
                    <a:lnTo>
                      <a:pt x="139037" y="29932"/>
                    </a:lnTo>
                    <a:lnTo>
                      <a:pt x="135818" y="26391"/>
                    </a:lnTo>
                    <a:lnTo>
                      <a:pt x="114255" y="37334"/>
                    </a:lnTo>
                    <a:cubicBezTo>
                      <a:pt x="109427" y="33794"/>
                      <a:pt x="104278" y="31541"/>
                      <a:pt x="98806" y="29610"/>
                    </a:cubicBezTo>
                    <a:lnTo>
                      <a:pt x="94622" y="5793"/>
                    </a:lnTo>
                    <a:lnTo>
                      <a:pt x="89795" y="5471"/>
                    </a:lnTo>
                    <a:lnTo>
                      <a:pt x="84967" y="5150"/>
                    </a:lnTo>
                    <a:lnTo>
                      <a:pt x="80139" y="4828"/>
                    </a:lnTo>
                    <a:lnTo>
                      <a:pt x="72737" y="27679"/>
                    </a:lnTo>
                    <a:cubicBezTo>
                      <a:pt x="66944" y="28644"/>
                      <a:pt x="61472" y="30575"/>
                      <a:pt x="56323" y="33150"/>
                    </a:cubicBezTo>
                    <a:lnTo>
                      <a:pt x="36690" y="19311"/>
                    </a:lnTo>
                    <a:lnTo>
                      <a:pt x="33150" y="22529"/>
                    </a:lnTo>
                    <a:lnTo>
                      <a:pt x="29610" y="25748"/>
                    </a:lnTo>
                    <a:lnTo>
                      <a:pt x="26069" y="28966"/>
                    </a:lnTo>
                    <a:lnTo>
                      <a:pt x="37012" y="50208"/>
                    </a:lnTo>
                    <a:cubicBezTo>
                      <a:pt x="33472" y="55035"/>
                      <a:pt x="30897" y="60185"/>
                      <a:pt x="29288" y="65656"/>
                    </a:cubicBezTo>
                    <a:lnTo>
                      <a:pt x="5793" y="69840"/>
                    </a:lnTo>
                    <a:lnTo>
                      <a:pt x="5471" y="74668"/>
                    </a:lnTo>
                    <a:lnTo>
                      <a:pt x="5150" y="79496"/>
                    </a:lnTo>
                    <a:lnTo>
                      <a:pt x="4828" y="84323"/>
                    </a:lnTo>
                    <a:lnTo>
                      <a:pt x="27679" y="91726"/>
                    </a:lnTo>
                    <a:cubicBezTo>
                      <a:pt x="28644" y="97197"/>
                      <a:pt x="30575" y="102990"/>
                      <a:pt x="33150" y="108140"/>
                    </a:cubicBezTo>
                    <a:lnTo>
                      <a:pt x="19311" y="128094"/>
                    </a:lnTo>
                    <a:close/>
                  </a:path>
                </a:pathLst>
              </a:custGeom>
              <a:noFill/>
              <a:ln w="15875" cap="flat">
                <a:solidFill>
                  <a:srgbClr val="A166FF"/>
                </a:solidFill>
                <a:prstDash val="solid"/>
                <a:round/>
              </a:ln>
            </p:spPr>
            <p:txBody>
              <a:bodyPr rtlCol="0" anchor="ctr"/>
              <a:lstStyle/>
              <a:p>
                <a:pPr defTabSz="731504">
                  <a:defRPr/>
                </a:pPr>
                <a:endParaRPr lang="en-US" sz="1800">
                  <a:solidFill>
                    <a:srgbClr val="FFFFFF"/>
                  </a:solidFill>
                </a:endParaRPr>
              </a:p>
            </p:txBody>
          </p:sp>
          <p:sp>
            <p:nvSpPr>
              <p:cNvPr id="910" name="Freeform: Shape 909">
                <a:extLst>
                  <a:ext uri="{FF2B5EF4-FFF2-40B4-BE49-F238E27FC236}">
                    <a16:creationId xmlns:a16="http://schemas.microsoft.com/office/drawing/2014/main" id="{1C2518BA-DDBF-470F-8825-6EA1C088A872}"/>
                  </a:ext>
                </a:extLst>
              </p:cNvPr>
              <p:cNvSpPr/>
              <p:nvPr/>
            </p:nvSpPr>
            <p:spPr>
              <a:xfrm>
                <a:off x="7808463" y="614438"/>
                <a:ext cx="70806" cy="70806"/>
              </a:xfrm>
              <a:custGeom>
                <a:avLst/>
                <a:gdLst>
                  <a:gd name="connsiteX0" fmla="*/ 66622 w 70805"/>
                  <a:gd name="connsiteY0" fmla="*/ 35725 h 70805"/>
                  <a:gd name="connsiteX1" fmla="*/ 35725 w 70805"/>
                  <a:gd name="connsiteY1" fmla="*/ 66622 h 70805"/>
                  <a:gd name="connsiteX2" fmla="*/ 4828 w 70805"/>
                  <a:gd name="connsiteY2" fmla="*/ 35725 h 70805"/>
                  <a:gd name="connsiteX3" fmla="*/ 35725 w 70805"/>
                  <a:gd name="connsiteY3" fmla="*/ 4828 h 70805"/>
                  <a:gd name="connsiteX4" fmla="*/ 66622 w 70805"/>
                  <a:gd name="connsiteY4" fmla="*/ 35725 h 70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05" h="70805">
                    <a:moveTo>
                      <a:pt x="66622" y="35725"/>
                    </a:moveTo>
                    <a:cubicBezTo>
                      <a:pt x="66622" y="52789"/>
                      <a:pt x="52789" y="66622"/>
                      <a:pt x="35725" y="66622"/>
                    </a:cubicBezTo>
                    <a:cubicBezTo>
                      <a:pt x="18661" y="66622"/>
                      <a:pt x="4828" y="52789"/>
                      <a:pt x="4828" y="35725"/>
                    </a:cubicBezTo>
                    <a:cubicBezTo>
                      <a:pt x="4828" y="18661"/>
                      <a:pt x="18661" y="4828"/>
                      <a:pt x="35725" y="4828"/>
                    </a:cubicBezTo>
                    <a:cubicBezTo>
                      <a:pt x="52789" y="4828"/>
                      <a:pt x="66622" y="18661"/>
                      <a:pt x="66622" y="35725"/>
                    </a:cubicBezTo>
                    <a:close/>
                  </a:path>
                </a:pathLst>
              </a:custGeom>
              <a:noFill/>
              <a:ln w="15875" cap="flat">
                <a:solidFill>
                  <a:srgbClr val="A166FF"/>
                </a:solidFill>
                <a:prstDash val="solid"/>
                <a:round/>
              </a:ln>
            </p:spPr>
            <p:txBody>
              <a:bodyPr rtlCol="0" anchor="ctr"/>
              <a:lstStyle/>
              <a:p>
                <a:pPr defTabSz="731504">
                  <a:defRPr/>
                </a:pPr>
                <a:endParaRPr lang="en-US" sz="1800">
                  <a:solidFill>
                    <a:srgbClr val="FFFFFF"/>
                  </a:solidFill>
                </a:endParaRPr>
              </a:p>
            </p:txBody>
          </p:sp>
        </p:grpSp>
      </p:grpSp>
      <p:grpSp>
        <p:nvGrpSpPr>
          <p:cNvPr id="919" name="Graphic 326">
            <a:extLst>
              <a:ext uri="{FF2B5EF4-FFF2-40B4-BE49-F238E27FC236}">
                <a16:creationId xmlns:a16="http://schemas.microsoft.com/office/drawing/2014/main" id="{01DC375A-9756-41F2-BF98-CDFA24D2AE47}"/>
              </a:ext>
            </a:extLst>
          </p:cNvPr>
          <p:cNvGrpSpPr/>
          <p:nvPr/>
        </p:nvGrpSpPr>
        <p:grpSpPr>
          <a:xfrm>
            <a:off x="8672092" y="2743298"/>
            <a:ext cx="795933" cy="582821"/>
            <a:chOff x="2187719" y="6922499"/>
            <a:chExt cx="567729" cy="413244"/>
          </a:xfrm>
        </p:grpSpPr>
        <p:sp>
          <p:nvSpPr>
            <p:cNvPr id="920" name="Freeform: Shape 919">
              <a:extLst>
                <a:ext uri="{FF2B5EF4-FFF2-40B4-BE49-F238E27FC236}">
                  <a16:creationId xmlns:a16="http://schemas.microsoft.com/office/drawing/2014/main" id="{06C6BFDF-BAB6-4518-9FBB-AEC9C532D92C}"/>
                </a:ext>
              </a:extLst>
            </p:cNvPr>
            <p:cNvSpPr/>
            <p:nvPr/>
          </p:nvSpPr>
          <p:spPr>
            <a:xfrm>
              <a:off x="2187719" y="7147139"/>
              <a:ext cx="370119" cy="135173"/>
            </a:xfrm>
            <a:custGeom>
              <a:avLst/>
              <a:gdLst>
                <a:gd name="connsiteX0" fmla="*/ 337937 w 370121"/>
                <a:gd name="connsiteY0" fmla="*/ 131313 h 135174"/>
                <a:gd name="connsiteX1" fmla="*/ 368512 w 370121"/>
                <a:gd name="connsiteY1" fmla="*/ 131634 h 135174"/>
                <a:gd name="connsiteX2" fmla="*/ 343730 w 370121"/>
                <a:gd name="connsiteY2" fmla="*/ 47955 h 135174"/>
                <a:gd name="connsiteX3" fmla="*/ 251039 w 370121"/>
                <a:gd name="connsiteY3" fmla="*/ 47633 h 135174"/>
                <a:gd name="connsiteX4" fmla="*/ 243958 w 370121"/>
                <a:gd name="connsiteY4" fmla="*/ 4828 h 135174"/>
                <a:gd name="connsiteX5" fmla="*/ 15770 w 370121"/>
                <a:gd name="connsiteY5" fmla="*/ 4828 h 135174"/>
                <a:gd name="connsiteX6" fmla="*/ 4828 w 370121"/>
                <a:gd name="connsiteY6" fmla="*/ 131313 h 135174"/>
                <a:gd name="connsiteX7" fmla="*/ 18667 w 370121"/>
                <a:gd name="connsiteY7" fmla="*/ 131313 h 135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0121" h="135174">
                  <a:moveTo>
                    <a:pt x="337937" y="131313"/>
                  </a:moveTo>
                  <a:lnTo>
                    <a:pt x="368512" y="131634"/>
                  </a:lnTo>
                  <a:lnTo>
                    <a:pt x="343730" y="47955"/>
                  </a:lnTo>
                  <a:lnTo>
                    <a:pt x="251039" y="47633"/>
                  </a:lnTo>
                  <a:lnTo>
                    <a:pt x="243958" y="4828"/>
                  </a:lnTo>
                  <a:lnTo>
                    <a:pt x="15770" y="4828"/>
                  </a:lnTo>
                  <a:lnTo>
                    <a:pt x="4828" y="131313"/>
                  </a:lnTo>
                  <a:lnTo>
                    <a:pt x="18667" y="131313"/>
                  </a:lnTo>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921" name="Freeform: Shape 920">
              <a:extLst>
                <a:ext uri="{FF2B5EF4-FFF2-40B4-BE49-F238E27FC236}">
                  <a16:creationId xmlns:a16="http://schemas.microsoft.com/office/drawing/2014/main" id="{BFCD01F5-36F2-4003-9286-3E3C40468FC1}"/>
                </a:ext>
              </a:extLst>
            </p:cNvPr>
            <p:cNvSpPr/>
            <p:nvPr/>
          </p:nvSpPr>
          <p:spPr>
            <a:xfrm>
              <a:off x="2326433" y="7273623"/>
              <a:ext cx="77243" cy="9655"/>
            </a:xfrm>
            <a:custGeom>
              <a:avLst/>
              <a:gdLst>
                <a:gd name="connsiteX0" fmla="*/ 4828 w 77242"/>
                <a:gd name="connsiteY0" fmla="*/ 4828 h 9655"/>
                <a:gd name="connsiteX1" fmla="*/ 74024 w 77242"/>
                <a:gd name="connsiteY1" fmla="*/ 4828 h 9655"/>
              </a:gdLst>
              <a:ahLst/>
              <a:cxnLst>
                <a:cxn ang="0">
                  <a:pos x="connsiteX0" y="connsiteY0"/>
                </a:cxn>
                <a:cxn ang="0">
                  <a:pos x="connsiteX1" y="connsiteY1"/>
                </a:cxn>
              </a:cxnLst>
              <a:rect l="l" t="t" r="r" b="b"/>
              <a:pathLst>
                <a:path w="77242" h="9655">
                  <a:moveTo>
                    <a:pt x="4828" y="4828"/>
                  </a:moveTo>
                  <a:lnTo>
                    <a:pt x="74024" y="4828"/>
                  </a:lnTo>
                </a:path>
              </a:pathLst>
            </a:custGeom>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922" name="Freeform: Shape 921">
              <a:extLst>
                <a:ext uri="{FF2B5EF4-FFF2-40B4-BE49-F238E27FC236}">
                  <a16:creationId xmlns:a16="http://schemas.microsoft.com/office/drawing/2014/main" id="{AAD1183F-5890-4C19-B6DE-C04B0753C171}"/>
                </a:ext>
              </a:extLst>
            </p:cNvPr>
            <p:cNvSpPr/>
            <p:nvPr/>
          </p:nvSpPr>
          <p:spPr>
            <a:xfrm>
              <a:off x="2459353" y="6988150"/>
              <a:ext cx="32184" cy="199541"/>
            </a:xfrm>
            <a:custGeom>
              <a:avLst/>
              <a:gdLst>
                <a:gd name="connsiteX0" fmla="*/ 4828 w 32184"/>
                <a:gd name="connsiteY0" fmla="*/ 4828 h 199543"/>
                <a:gd name="connsiteX1" fmla="*/ 30253 w 32184"/>
                <a:gd name="connsiteY1" fmla="*/ 196003 h 199543"/>
              </a:gdLst>
              <a:ahLst/>
              <a:cxnLst>
                <a:cxn ang="0">
                  <a:pos x="connsiteX0" y="connsiteY0"/>
                </a:cxn>
                <a:cxn ang="0">
                  <a:pos x="connsiteX1" y="connsiteY1"/>
                </a:cxn>
              </a:cxnLst>
              <a:rect l="l" t="t" r="r" b="b"/>
              <a:pathLst>
                <a:path w="32184" h="199543">
                  <a:moveTo>
                    <a:pt x="4828" y="4828"/>
                  </a:moveTo>
                  <a:lnTo>
                    <a:pt x="30253" y="196003"/>
                  </a:lnTo>
                </a:path>
              </a:pathLst>
            </a:custGeom>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923" name="Freeform: Shape 922">
              <a:extLst>
                <a:ext uri="{FF2B5EF4-FFF2-40B4-BE49-F238E27FC236}">
                  <a16:creationId xmlns:a16="http://schemas.microsoft.com/office/drawing/2014/main" id="{A26496E5-C11C-4338-9183-A4472213A412}"/>
                </a:ext>
              </a:extLst>
            </p:cNvPr>
            <p:cNvSpPr/>
            <p:nvPr/>
          </p:nvSpPr>
          <p:spPr>
            <a:xfrm>
              <a:off x="2236639" y="6988150"/>
              <a:ext cx="16092" cy="154483"/>
            </a:xfrm>
            <a:custGeom>
              <a:avLst/>
              <a:gdLst>
                <a:gd name="connsiteX0" fmla="*/ 4828 w 16092"/>
                <a:gd name="connsiteY0" fmla="*/ 151267 h 154485"/>
                <a:gd name="connsiteX1" fmla="*/ 12552 w 16092"/>
                <a:gd name="connsiteY1" fmla="*/ 4828 h 154485"/>
              </a:gdLst>
              <a:ahLst/>
              <a:cxnLst>
                <a:cxn ang="0">
                  <a:pos x="connsiteX0" y="connsiteY0"/>
                </a:cxn>
                <a:cxn ang="0">
                  <a:pos x="connsiteX1" y="connsiteY1"/>
                </a:cxn>
              </a:cxnLst>
              <a:rect l="l" t="t" r="r" b="b"/>
              <a:pathLst>
                <a:path w="16092" h="154485">
                  <a:moveTo>
                    <a:pt x="4828" y="151267"/>
                  </a:moveTo>
                  <a:lnTo>
                    <a:pt x="12552" y="4828"/>
                  </a:lnTo>
                </a:path>
              </a:pathLst>
            </a:custGeom>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924" name="Freeform: Shape 923">
              <a:extLst>
                <a:ext uri="{FF2B5EF4-FFF2-40B4-BE49-F238E27FC236}">
                  <a16:creationId xmlns:a16="http://schemas.microsoft.com/office/drawing/2014/main" id="{9E24E2D7-78FB-4103-BCBB-FDC5A0105E0D}"/>
                </a:ext>
              </a:extLst>
            </p:cNvPr>
            <p:cNvSpPr/>
            <p:nvPr/>
          </p:nvSpPr>
          <p:spPr>
            <a:xfrm>
              <a:off x="2240501" y="6929254"/>
              <a:ext cx="234944" cy="51494"/>
            </a:xfrm>
            <a:custGeom>
              <a:avLst/>
              <a:gdLst>
                <a:gd name="connsiteX0" fmla="*/ 230441 w 234946"/>
                <a:gd name="connsiteY0" fmla="*/ 47955 h 51495"/>
                <a:gd name="connsiteX1" fmla="*/ 4828 w 234946"/>
                <a:gd name="connsiteY1" fmla="*/ 47955 h 51495"/>
                <a:gd name="connsiteX2" fmla="*/ 7402 w 234946"/>
                <a:gd name="connsiteY2" fmla="*/ 4828 h 51495"/>
                <a:gd name="connsiteX3" fmla="*/ 221107 w 234946"/>
                <a:gd name="connsiteY3" fmla="*/ 4828 h 51495"/>
              </a:gdLst>
              <a:ahLst/>
              <a:cxnLst>
                <a:cxn ang="0">
                  <a:pos x="connsiteX0" y="connsiteY0"/>
                </a:cxn>
                <a:cxn ang="0">
                  <a:pos x="connsiteX1" y="connsiteY1"/>
                </a:cxn>
                <a:cxn ang="0">
                  <a:pos x="connsiteX2" y="connsiteY2"/>
                </a:cxn>
                <a:cxn ang="0">
                  <a:pos x="connsiteX3" y="connsiteY3"/>
                </a:cxn>
              </a:cxnLst>
              <a:rect l="l" t="t" r="r" b="b"/>
              <a:pathLst>
                <a:path w="234946" h="51495">
                  <a:moveTo>
                    <a:pt x="230441" y="47955"/>
                  </a:moveTo>
                  <a:lnTo>
                    <a:pt x="4828" y="47955"/>
                  </a:lnTo>
                  <a:lnTo>
                    <a:pt x="7402" y="4828"/>
                  </a:lnTo>
                  <a:lnTo>
                    <a:pt x="221107" y="4828"/>
                  </a:lnTo>
                  <a:close/>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925" name="Freeform: Shape 924">
              <a:extLst>
                <a:ext uri="{FF2B5EF4-FFF2-40B4-BE49-F238E27FC236}">
                  <a16:creationId xmlns:a16="http://schemas.microsoft.com/office/drawing/2014/main" id="{2BAF2469-6CA2-4E4C-8A0C-E718E242F3F6}"/>
                </a:ext>
              </a:extLst>
            </p:cNvPr>
            <p:cNvSpPr/>
            <p:nvPr/>
          </p:nvSpPr>
          <p:spPr>
            <a:xfrm>
              <a:off x="2224730" y="7176104"/>
              <a:ext cx="183450" cy="41839"/>
            </a:xfrm>
            <a:custGeom>
              <a:avLst/>
              <a:gdLst>
                <a:gd name="connsiteX0" fmla="*/ 180555 w 183451"/>
                <a:gd name="connsiteY0" fmla="*/ 39265 h 41839"/>
                <a:gd name="connsiteX1" fmla="*/ 4828 w 183451"/>
                <a:gd name="connsiteY1" fmla="*/ 39265 h 41839"/>
                <a:gd name="connsiteX2" fmla="*/ 8368 w 183451"/>
                <a:gd name="connsiteY2" fmla="*/ 4828 h 41839"/>
                <a:gd name="connsiteX3" fmla="*/ 174762 w 183451"/>
                <a:gd name="connsiteY3" fmla="*/ 4828 h 41839"/>
              </a:gdLst>
              <a:ahLst/>
              <a:cxnLst>
                <a:cxn ang="0">
                  <a:pos x="connsiteX0" y="connsiteY0"/>
                </a:cxn>
                <a:cxn ang="0">
                  <a:pos x="connsiteX1" y="connsiteY1"/>
                </a:cxn>
                <a:cxn ang="0">
                  <a:pos x="connsiteX2" y="connsiteY2"/>
                </a:cxn>
                <a:cxn ang="0">
                  <a:pos x="connsiteX3" y="connsiteY3"/>
                </a:cxn>
              </a:cxnLst>
              <a:rect l="l" t="t" r="r" b="b"/>
              <a:pathLst>
                <a:path w="183451" h="41839">
                  <a:moveTo>
                    <a:pt x="180555" y="39265"/>
                  </a:moveTo>
                  <a:lnTo>
                    <a:pt x="4828" y="39265"/>
                  </a:lnTo>
                  <a:lnTo>
                    <a:pt x="8368" y="4828"/>
                  </a:lnTo>
                  <a:lnTo>
                    <a:pt x="174762" y="4828"/>
                  </a:lnTo>
                  <a:close/>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926" name="Freeform: Shape 925">
              <a:extLst>
                <a:ext uri="{FF2B5EF4-FFF2-40B4-BE49-F238E27FC236}">
                  <a16:creationId xmlns:a16="http://schemas.microsoft.com/office/drawing/2014/main" id="{127ACB0B-E99F-492D-9F3E-2E743489E5D4}"/>
                </a:ext>
              </a:extLst>
            </p:cNvPr>
            <p:cNvSpPr/>
            <p:nvPr/>
          </p:nvSpPr>
          <p:spPr>
            <a:xfrm>
              <a:off x="2278156" y="7011967"/>
              <a:ext cx="22529" cy="125517"/>
            </a:xfrm>
            <a:custGeom>
              <a:avLst/>
              <a:gdLst>
                <a:gd name="connsiteX0" fmla="*/ 19311 w 22529"/>
                <a:gd name="connsiteY0" fmla="*/ 4828 h 125519"/>
                <a:gd name="connsiteX1" fmla="*/ 4828 w 22529"/>
                <a:gd name="connsiteY1" fmla="*/ 4828 h 125519"/>
                <a:gd name="connsiteX2" fmla="*/ 19311 w 22529"/>
                <a:gd name="connsiteY2" fmla="*/ 122945 h 125519"/>
              </a:gdLst>
              <a:ahLst/>
              <a:cxnLst>
                <a:cxn ang="0">
                  <a:pos x="connsiteX0" y="connsiteY0"/>
                </a:cxn>
                <a:cxn ang="0">
                  <a:pos x="connsiteX1" y="connsiteY1"/>
                </a:cxn>
                <a:cxn ang="0">
                  <a:pos x="connsiteX2" y="connsiteY2"/>
                </a:cxn>
              </a:cxnLst>
              <a:rect l="l" t="t" r="r" b="b"/>
              <a:pathLst>
                <a:path w="22529" h="125519">
                  <a:moveTo>
                    <a:pt x="19311" y="4828"/>
                  </a:moveTo>
                  <a:lnTo>
                    <a:pt x="4828" y="4828"/>
                  </a:lnTo>
                  <a:lnTo>
                    <a:pt x="19311" y="122945"/>
                  </a:lnTo>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927" name="Freeform: Shape 926">
              <a:extLst>
                <a:ext uri="{FF2B5EF4-FFF2-40B4-BE49-F238E27FC236}">
                  <a16:creationId xmlns:a16="http://schemas.microsoft.com/office/drawing/2014/main" id="{56D8C5B7-175E-4425-B972-2C189A56AFD1}"/>
                </a:ext>
              </a:extLst>
            </p:cNvPr>
            <p:cNvSpPr/>
            <p:nvPr/>
          </p:nvSpPr>
          <p:spPr>
            <a:xfrm>
              <a:off x="2292639" y="7011967"/>
              <a:ext cx="115864" cy="128736"/>
            </a:xfrm>
            <a:custGeom>
              <a:avLst/>
              <a:gdLst>
                <a:gd name="connsiteX0" fmla="*/ 112646 w 115864"/>
                <a:gd name="connsiteY0" fmla="*/ 126485 h 128737"/>
                <a:gd name="connsiteX1" fmla="*/ 112646 w 115864"/>
                <a:gd name="connsiteY1" fmla="*/ 102025 h 128737"/>
                <a:gd name="connsiteX2" fmla="*/ 40874 w 115864"/>
                <a:gd name="connsiteY2" fmla="*/ 102025 h 128737"/>
                <a:gd name="connsiteX3" fmla="*/ 29610 w 115864"/>
                <a:gd name="connsiteY3" fmla="*/ 4828 h 128737"/>
                <a:gd name="connsiteX4" fmla="*/ 4828 w 115864"/>
                <a:gd name="connsiteY4" fmla="*/ 4828 h 128737"/>
                <a:gd name="connsiteX5" fmla="*/ 21885 w 115864"/>
                <a:gd name="connsiteY5" fmla="*/ 122945 h 1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864" h="128737">
                  <a:moveTo>
                    <a:pt x="112646" y="126485"/>
                  </a:moveTo>
                  <a:lnTo>
                    <a:pt x="112646" y="102025"/>
                  </a:lnTo>
                  <a:lnTo>
                    <a:pt x="40874" y="102025"/>
                  </a:lnTo>
                  <a:lnTo>
                    <a:pt x="29610" y="4828"/>
                  </a:lnTo>
                  <a:lnTo>
                    <a:pt x="4828" y="4828"/>
                  </a:lnTo>
                  <a:lnTo>
                    <a:pt x="21885" y="122945"/>
                  </a:lnTo>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928" name="Freeform: Shape 927">
              <a:extLst>
                <a:ext uri="{FF2B5EF4-FFF2-40B4-BE49-F238E27FC236}">
                  <a16:creationId xmlns:a16="http://schemas.microsoft.com/office/drawing/2014/main" id="{113A4BEE-A672-4E93-8CC8-910F6FCEBCC4}"/>
                </a:ext>
              </a:extLst>
            </p:cNvPr>
            <p:cNvSpPr/>
            <p:nvPr/>
          </p:nvSpPr>
          <p:spPr>
            <a:xfrm>
              <a:off x="2322892" y="7234358"/>
              <a:ext cx="83680" cy="19311"/>
            </a:xfrm>
            <a:custGeom>
              <a:avLst/>
              <a:gdLst>
                <a:gd name="connsiteX0" fmla="*/ 4828 w 83679"/>
                <a:gd name="connsiteY0" fmla="*/ 4828 h 19310"/>
                <a:gd name="connsiteX1" fmla="*/ 4828 w 83679"/>
                <a:gd name="connsiteY1" fmla="*/ 17380 h 19310"/>
                <a:gd name="connsiteX2" fmla="*/ 79174 w 83679"/>
                <a:gd name="connsiteY2" fmla="*/ 17380 h 19310"/>
                <a:gd name="connsiteX3" fmla="*/ 79174 w 83679"/>
                <a:gd name="connsiteY3" fmla="*/ 5793 h 19310"/>
              </a:gdLst>
              <a:ahLst/>
              <a:cxnLst>
                <a:cxn ang="0">
                  <a:pos x="connsiteX0" y="connsiteY0"/>
                </a:cxn>
                <a:cxn ang="0">
                  <a:pos x="connsiteX1" y="connsiteY1"/>
                </a:cxn>
                <a:cxn ang="0">
                  <a:pos x="connsiteX2" y="connsiteY2"/>
                </a:cxn>
                <a:cxn ang="0">
                  <a:pos x="connsiteX3" y="connsiteY3"/>
                </a:cxn>
              </a:cxnLst>
              <a:rect l="l" t="t" r="r" b="b"/>
              <a:pathLst>
                <a:path w="83679" h="19310">
                  <a:moveTo>
                    <a:pt x="4828" y="4828"/>
                  </a:moveTo>
                  <a:lnTo>
                    <a:pt x="4828" y="17380"/>
                  </a:lnTo>
                  <a:lnTo>
                    <a:pt x="79174" y="17380"/>
                  </a:lnTo>
                  <a:lnTo>
                    <a:pt x="79174" y="5793"/>
                  </a:lnTo>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929" name="Freeform: Shape 928">
              <a:extLst>
                <a:ext uri="{FF2B5EF4-FFF2-40B4-BE49-F238E27FC236}">
                  <a16:creationId xmlns:a16="http://schemas.microsoft.com/office/drawing/2014/main" id="{FF03BA6F-36D8-471E-90AF-C28F16628A11}"/>
                </a:ext>
              </a:extLst>
            </p:cNvPr>
            <p:cNvSpPr/>
            <p:nvPr/>
          </p:nvSpPr>
          <p:spPr>
            <a:xfrm>
              <a:off x="2581653" y="6922499"/>
              <a:ext cx="173795" cy="389427"/>
            </a:xfrm>
            <a:custGeom>
              <a:avLst/>
              <a:gdLst>
                <a:gd name="connsiteX0" fmla="*/ 141933 w 173796"/>
                <a:gd name="connsiteY0" fmla="*/ 386213 h 389431"/>
                <a:gd name="connsiteX1" fmla="*/ 169290 w 173796"/>
                <a:gd name="connsiteY1" fmla="*/ 386213 h 389431"/>
                <a:gd name="connsiteX2" fmla="*/ 169290 w 173796"/>
                <a:gd name="connsiteY2" fmla="*/ 361110 h 389431"/>
                <a:gd name="connsiteX3" fmla="*/ 32184 w 173796"/>
                <a:gd name="connsiteY3" fmla="*/ 361110 h 389431"/>
                <a:gd name="connsiteX4" fmla="*/ 32184 w 173796"/>
                <a:gd name="connsiteY4" fmla="*/ 4828 h 389431"/>
                <a:gd name="connsiteX5" fmla="*/ 4828 w 173796"/>
                <a:gd name="connsiteY5" fmla="*/ 4828 h 389431"/>
                <a:gd name="connsiteX6" fmla="*/ 4828 w 173796"/>
                <a:gd name="connsiteY6" fmla="*/ 54714 h 389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796" h="389431">
                  <a:moveTo>
                    <a:pt x="141933" y="386213"/>
                  </a:moveTo>
                  <a:lnTo>
                    <a:pt x="169290" y="386213"/>
                  </a:lnTo>
                  <a:lnTo>
                    <a:pt x="169290" y="361110"/>
                  </a:lnTo>
                  <a:lnTo>
                    <a:pt x="32184" y="361110"/>
                  </a:lnTo>
                  <a:lnTo>
                    <a:pt x="32184" y="4828"/>
                  </a:lnTo>
                  <a:lnTo>
                    <a:pt x="4828" y="4828"/>
                  </a:lnTo>
                  <a:lnTo>
                    <a:pt x="4828" y="54714"/>
                  </a:lnTo>
                </a:path>
              </a:pathLst>
            </a:custGeom>
            <a:noFill/>
            <a:ln w="15875" cap="flat">
              <a:solidFill>
                <a:srgbClr val="A166FF"/>
              </a:solidFill>
              <a:prstDash val="solid"/>
              <a:round/>
            </a:ln>
          </p:spPr>
          <p:txBody>
            <a:bodyPr rtlCol="0" anchor="ctr"/>
            <a:lstStyle/>
            <a:p>
              <a:pPr defTabSz="731504">
                <a:defRPr/>
              </a:pPr>
              <a:endParaRPr lang="en-US" sz="1800" dirty="0">
                <a:solidFill>
                  <a:srgbClr val="FFFFFF"/>
                </a:solidFill>
              </a:endParaRPr>
            </a:p>
          </p:txBody>
        </p:sp>
        <p:sp>
          <p:nvSpPr>
            <p:cNvPr id="930" name="Freeform: Shape 929">
              <a:extLst>
                <a:ext uri="{FF2B5EF4-FFF2-40B4-BE49-F238E27FC236}">
                  <a16:creationId xmlns:a16="http://schemas.microsoft.com/office/drawing/2014/main" id="{D146B86A-A1D6-4321-A88F-27CEEF28D409}"/>
                </a:ext>
              </a:extLst>
            </p:cNvPr>
            <p:cNvSpPr/>
            <p:nvPr/>
          </p:nvSpPr>
          <p:spPr>
            <a:xfrm>
              <a:off x="2581652" y="7053166"/>
              <a:ext cx="125518" cy="257473"/>
            </a:xfrm>
            <a:custGeom>
              <a:avLst/>
              <a:gdLst>
                <a:gd name="connsiteX0" fmla="*/ 4828 w 125519"/>
                <a:gd name="connsiteY0" fmla="*/ 4828 h 257475"/>
                <a:gd name="connsiteX1" fmla="*/ 4828 w 125519"/>
                <a:gd name="connsiteY1" fmla="*/ 255545 h 257475"/>
                <a:gd name="connsiteX2" fmla="*/ 121657 w 125519"/>
                <a:gd name="connsiteY2" fmla="*/ 255545 h 257475"/>
              </a:gdLst>
              <a:ahLst/>
              <a:cxnLst>
                <a:cxn ang="0">
                  <a:pos x="connsiteX0" y="connsiteY0"/>
                </a:cxn>
                <a:cxn ang="0">
                  <a:pos x="connsiteX1" y="connsiteY1"/>
                </a:cxn>
                <a:cxn ang="0">
                  <a:pos x="connsiteX2" y="connsiteY2"/>
                </a:cxn>
              </a:cxnLst>
              <a:rect l="l" t="t" r="r" b="b"/>
              <a:pathLst>
                <a:path w="125519" h="257475">
                  <a:moveTo>
                    <a:pt x="4828" y="4828"/>
                  </a:moveTo>
                  <a:lnTo>
                    <a:pt x="4828" y="255545"/>
                  </a:lnTo>
                  <a:lnTo>
                    <a:pt x="121657" y="255545"/>
                  </a:lnTo>
                </a:path>
              </a:pathLst>
            </a:custGeom>
            <a:noFill/>
            <a:ln w="15875" cap="flat">
              <a:solidFill>
                <a:srgbClr val="A166FF"/>
              </a:solidFill>
              <a:prstDash val="solid"/>
              <a:round/>
            </a:ln>
          </p:spPr>
          <p:txBody>
            <a:bodyPr rtlCol="0" anchor="ctr"/>
            <a:lstStyle/>
            <a:p>
              <a:pPr defTabSz="731504">
                <a:defRPr/>
              </a:pPr>
              <a:endParaRPr lang="en-US" sz="1800">
                <a:solidFill>
                  <a:srgbClr val="FFFFFF"/>
                </a:solidFill>
              </a:endParaRPr>
            </a:p>
          </p:txBody>
        </p:sp>
        <p:sp>
          <p:nvSpPr>
            <p:cNvPr id="931" name="Freeform: Shape 930">
              <a:extLst>
                <a:ext uri="{FF2B5EF4-FFF2-40B4-BE49-F238E27FC236}">
                  <a16:creationId xmlns:a16="http://schemas.microsoft.com/office/drawing/2014/main" id="{1A94C9D2-ACDA-4585-A88A-DFDA75ADABDC}"/>
                </a:ext>
              </a:extLst>
            </p:cNvPr>
            <p:cNvSpPr/>
            <p:nvPr/>
          </p:nvSpPr>
          <p:spPr>
            <a:xfrm>
              <a:off x="2581650" y="6988148"/>
              <a:ext cx="9655" cy="54713"/>
            </a:xfrm>
            <a:custGeom>
              <a:avLst/>
              <a:gdLst>
                <a:gd name="connsiteX0" fmla="*/ 4828 w 9655"/>
                <a:gd name="connsiteY0" fmla="*/ 4828 h 54713"/>
                <a:gd name="connsiteX1" fmla="*/ 4828 w 9655"/>
                <a:gd name="connsiteY1" fmla="*/ 52461 h 54713"/>
              </a:gdLst>
              <a:ahLst/>
              <a:cxnLst>
                <a:cxn ang="0">
                  <a:pos x="connsiteX0" y="connsiteY0"/>
                </a:cxn>
                <a:cxn ang="0">
                  <a:pos x="connsiteX1" y="connsiteY1"/>
                </a:cxn>
              </a:cxnLst>
              <a:rect l="l" t="t" r="r" b="b"/>
              <a:pathLst>
                <a:path w="9655" h="54713">
                  <a:moveTo>
                    <a:pt x="4828" y="4828"/>
                  </a:moveTo>
                  <a:lnTo>
                    <a:pt x="4828" y="52461"/>
                  </a:lnTo>
                </a:path>
              </a:pathLst>
            </a:custGeom>
            <a:noFill/>
            <a:ln w="15875" cap="flat">
              <a:solidFill>
                <a:srgbClr val="A166FF"/>
              </a:solidFill>
              <a:prstDash val="solid"/>
              <a:round/>
            </a:ln>
          </p:spPr>
          <p:txBody>
            <a:bodyPr rtlCol="0" anchor="ctr"/>
            <a:lstStyle/>
            <a:p>
              <a:pPr defTabSz="731504">
                <a:defRPr/>
              </a:pPr>
              <a:endParaRPr lang="en-US" sz="1800" dirty="0">
                <a:solidFill>
                  <a:srgbClr val="FFFFFF"/>
                </a:solidFill>
              </a:endParaRPr>
            </a:p>
          </p:txBody>
        </p:sp>
        <p:sp>
          <p:nvSpPr>
            <p:cNvPr id="932" name="Freeform: Shape 931">
              <a:extLst>
                <a:ext uri="{FF2B5EF4-FFF2-40B4-BE49-F238E27FC236}">
                  <a16:creationId xmlns:a16="http://schemas.microsoft.com/office/drawing/2014/main" id="{2D2CAF31-2F08-4AD3-81A9-A5AF0472BB1F}"/>
                </a:ext>
              </a:extLst>
            </p:cNvPr>
            <p:cNvSpPr/>
            <p:nvPr/>
          </p:nvSpPr>
          <p:spPr>
            <a:xfrm>
              <a:off x="2412362" y="7235972"/>
              <a:ext cx="99771" cy="99771"/>
            </a:xfrm>
            <a:custGeom>
              <a:avLst/>
              <a:gdLst>
                <a:gd name="connsiteX0" fmla="*/ 96875 w 99771"/>
                <a:gd name="connsiteY0" fmla="*/ 50851 h 99771"/>
                <a:gd name="connsiteX1" fmla="*/ 50851 w 99771"/>
                <a:gd name="connsiteY1" fmla="*/ 96875 h 99771"/>
                <a:gd name="connsiteX2" fmla="*/ 4828 w 99771"/>
                <a:gd name="connsiteY2" fmla="*/ 50851 h 99771"/>
                <a:gd name="connsiteX3" fmla="*/ 50851 w 99771"/>
                <a:gd name="connsiteY3" fmla="*/ 4828 h 99771"/>
                <a:gd name="connsiteX4" fmla="*/ 96875 w 99771"/>
                <a:gd name="connsiteY4" fmla="*/ 50851 h 99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771" h="99771">
                  <a:moveTo>
                    <a:pt x="96875" y="50851"/>
                  </a:moveTo>
                  <a:cubicBezTo>
                    <a:pt x="96875" y="76270"/>
                    <a:pt x="76270" y="96875"/>
                    <a:pt x="50851" y="96875"/>
                  </a:cubicBezTo>
                  <a:cubicBezTo>
                    <a:pt x="25433" y="96875"/>
                    <a:pt x="4828" y="76270"/>
                    <a:pt x="4828" y="50851"/>
                  </a:cubicBezTo>
                  <a:cubicBezTo>
                    <a:pt x="4828" y="25433"/>
                    <a:pt x="25433" y="4828"/>
                    <a:pt x="50851" y="4828"/>
                  </a:cubicBezTo>
                  <a:cubicBezTo>
                    <a:pt x="76270" y="4828"/>
                    <a:pt x="96875" y="25433"/>
                    <a:pt x="96875" y="50851"/>
                  </a:cubicBezTo>
                  <a:close/>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933" name="Freeform: Shape 932">
              <a:extLst>
                <a:ext uri="{FF2B5EF4-FFF2-40B4-BE49-F238E27FC236}">
                  <a16:creationId xmlns:a16="http://schemas.microsoft.com/office/drawing/2014/main" id="{B6B38B87-C302-4D73-8684-15F3175ABD54}"/>
                </a:ext>
              </a:extLst>
            </p:cNvPr>
            <p:cNvSpPr/>
            <p:nvPr/>
          </p:nvSpPr>
          <p:spPr>
            <a:xfrm>
              <a:off x="2432637" y="7256248"/>
              <a:ext cx="61150" cy="61149"/>
            </a:xfrm>
            <a:custGeom>
              <a:avLst/>
              <a:gdLst>
                <a:gd name="connsiteX0" fmla="*/ 56323 w 61150"/>
                <a:gd name="connsiteY0" fmla="*/ 30575 h 61150"/>
                <a:gd name="connsiteX1" fmla="*/ 30575 w 61150"/>
                <a:gd name="connsiteY1" fmla="*/ 56323 h 61150"/>
                <a:gd name="connsiteX2" fmla="*/ 4828 w 61150"/>
                <a:gd name="connsiteY2" fmla="*/ 30575 h 61150"/>
                <a:gd name="connsiteX3" fmla="*/ 30575 w 61150"/>
                <a:gd name="connsiteY3" fmla="*/ 4828 h 61150"/>
                <a:gd name="connsiteX4" fmla="*/ 56323 w 61150"/>
                <a:gd name="connsiteY4" fmla="*/ 30575 h 61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150" h="61150">
                  <a:moveTo>
                    <a:pt x="56323" y="30575"/>
                  </a:moveTo>
                  <a:cubicBezTo>
                    <a:pt x="56323" y="44795"/>
                    <a:pt x="44795" y="56323"/>
                    <a:pt x="30575" y="56323"/>
                  </a:cubicBezTo>
                  <a:cubicBezTo>
                    <a:pt x="16355" y="56323"/>
                    <a:pt x="4828" y="44795"/>
                    <a:pt x="4828" y="30575"/>
                  </a:cubicBezTo>
                  <a:cubicBezTo>
                    <a:pt x="4828" y="16355"/>
                    <a:pt x="16355" y="4828"/>
                    <a:pt x="30575" y="4828"/>
                  </a:cubicBezTo>
                  <a:cubicBezTo>
                    <a:pt x="44795" y="4828"/>
                    <a:pt x="56323" y="16355"/>
                    <a:pt x="56323" y="30575"/>
                  </a:cubicBezTo>
                  <a:close/>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934" name="Freeform: Shape 933">
              <a:extLst>
                <a:ext uri="{FF2B5EF4-FFF2-40B4-BE49-F238E27FC236}">
                  <a16:creationId xmlns:a16="http://schemas.microsoft.com/office/drawing/2014/main" id="{E36BE67A-6E35-4F2B-A7A0-30759ADA5C5E}"/>
                </a:ext>
              </a:extLst>
            </p:cNvPr>
            <p:cNvSpPr/>
            <p:nvPr/>
          </p:nvSpPr>
          <p:spPr>
            <a:xfrm>
              <a:off x="2219254" y="7235956"/>
              <a:ext cx="99771" cy="99770"/>
            </a:xfrm>
            <a:custGeom>
              <a:avLst/>
              <a:gdLst>
                <a:gd name="connsiteX0" fmla="*/ 96875 w 99771"/>
                <a:gd name="connsiteY0" fmla="*/ 50851 h 99771"/>
                <a:gd name="connsiteX1" fmla="*/ 50851 w 99771"/>
                <a:gd name="connsiteY1" fmla="*/ 96875 h 99771"/>
                <a:gd name="connsiteX2" fmla="*/ 4828 w 99771"/>
                <a:gd name="connsiteY2" fmla="*/ 50851 h 99771"/>
                <a:gd name="connsiteX3" fmla="*/ 50851 w 99771"/>
                <a:gd name="connsiteY3" fmla="*/ 4828 h 99771"/>
                <a:gd name="connsiteX4" fmla="*/ 96875 w 99771"/>
                <a:gd name="connsiteY4" fmla="*/ 50851 h 99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771" h="99771">
                  <a:moveTo>
                    <a:pt x="96875" y="50851"/>
                  </a:moveTo>
                  <a:cubicBezTo>
                    <a:pt x="96875" y="76270"/>
                    <a:pt x="76270" y="96875"/>
                    <a:pt x="50851" y="96875"/>
                  </a:cubicBezTo>
                  <a:cubicBezTo>
                    <a:pt x="25433" y="96875"/>
                    <a:pt x="4828" y="76270"/>
                    <a:pt x="4828" y="50851"/>
                  </a:cubicBezTo>
                  <a:cubicBezTo>
                    <a:pt x="4828" y="25433"/>
                    <a:pt x="25433" y="4828"/>
                    <a:pt x="50851" y="4828"/>
                  </a:cubicBezTo>
                  <a:cubicBezTo>
                    <a:pt x="76270" y="4828"/>
                    <a:pt x="96875" y="25433"/>
                    <a:pt x="96875" y="50851"/>
                  </a:cubicBezTo>
                  <a:close/>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935" name="Freeform: Shape 934">
              <a:extLst>
                <a:ext uri="{FF2B5EF4-FFF2-40B4-BE49-F238E27FC236}">
                  <a16:creationId xmlns:a16="http://schemas.microsoft.com/office/drawing/2014/main" id="{2D6A1FF1-DC16-46F5-AFC0-B5F68B66FBD4}"/>
                </a:ext>
              </a:extLst>
            </p:cNvPr>
            <p:cNvSpPr/>
            <p:nvPr/>
          </p:nvSpPr>
          <p:spPr>
            <a:xfrm>
              <a:off x="2239533" y="7256234"/>
              <a:ext cx="61150" cy="61149"/>
            </a:xfrm>
            <a:custGeom>
              <a:avLst/>
              <a:gdLst>
                <a:gd name="connsiteX0" fmla="*/ 56323 w 61150"/>
                <a:gd name="connsiteY0" fmla="*/ 30575 h 61150"/>
                <a:gd name="connsiteX1" fmla="*/ 30575 w 61150"/>
                <a:gd name="connsiteY1" fmla="*/ 56323 h 61150"/>
                <a:gd name="connsiteX2" fmla="*/ 4828 w 61150"/>
                <a:gd name="connsiteY2" fmla="*/ 30575 h 61150"/>
                <a:gd name="connsiteX3" fmla="*/ 30575 w 61150"/>
                <a:gd name="connsiteY3" fmla="*/ 4828 h 61150"/>
                <a:gd name="connsiteX4" fmla="*/ 56323 w 61150"/>
                <a:gd name="connsiteY4" fmla="*/ 30575 h 61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150" h="61150">
                  <a:moveTo>
                    <a:pt x="56323" y="30575"/>
                  </a:moveTo>
                  <a:cubicBezTo>
                    <a:pt x="56323" y="44795"/>
                    <a:pt x="44795" y="56323"/>
                    <a:pt x="30575" y="56323"/>
                  </a:cubicBezTo>
                  <a:cubicBezTo>
                    <a:pt x="16355" y="56323"/>
                    <a:pt x="4828" y="44795"/>
                    <a:pt x="4828" y="30575"/>
                  </a:cubicBezTo>
                  <a:cubicBezTo>
                    <a:pt x="4828" y="16355"/>
                    <a:pt x="16355" y="4828"/>
                    <a:pt x="30575" y="4828"/>
                  </a:cubicBezTo>
                  <a:cubicBezTo>
                    <a:pt x="44795" y="4828"/>
                    <a:pt x="56323" y="16355"/>
                    <a:pt x="56323" y="30575"/>
                  </a:cubicBezTo>
                  <a:close/>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936" name="Freeform: Shape 935">
              <a:extLst>
                <a:ext uri="{FF2B5EF4-FFF2-40B4-BE49-F238E27FC236}">
                  <a16:creationId xmlns:a16="http://schemas.microsoft.com/office/drawing/2014/main" id="{D0B30479-CB8C-4BE1-B698-794B95984343}"/>
                </a:ext>
              </a:extLst>
            </p:cNvPr>
            <p:cNvSpPr/>
            <p:nvPr/>
          </p:nvSpPr>
          <p:spPr>
            <a:xfrm>
              <a:off x="2545290" y="7203133"/>
              <a:ext cx="35403" cy="9655"/>
            </a:xfrm>
            <a:custGeom>
              <a:avLst/>
              <a:gdLst>
                <a:gd name="connsiteX0" fmla="*/ 4828 w 35402"/>
                <a:gd name="connsiteY0" fmla="*/ 4828 h 9655"/>
                <a:gd name="connsiteX1" fmla="*/ 31541 w 35402"/>
                <a:gd name="connsiteY1" fmla="*/ 4828 h 9655"/>
              </a:gdLst>
              <a:ahLst/>
              <a:cxnLst>
                <a:cxn ang="0">
                  <a:pos x="connsiteX0" y="connsiteY0"/>
                </a:cxn>
                <a:cxn ang="0">
                  <a:pos x="connsiteX1" y="connsiteY1"/>
                </a:cxn>
              </a:cxnLst>
              <a:rect l="l" t="t" r="r" b="b"/>
              <a:pathLst>
                <a:path w="35402" h="9655">
                  <a:moveTo>
                    <a:pt x="4828" y="4828"/>
                  </a:moveTo>
                  <a:lnTo>
                    <a:pt x="31541" y="4828"/>
                  </a:lnTo>
                </a:path>
              </a:pathLst>
            </a:custGeom>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937" name="Freeform: Shape 936">
              <a:extLst>
                <a:ext uri="{FF2B5EF4-FFF2-40B4-BE49-F238E27FC236}">
                  <a16:creationId xmlns:a16="http://schemas.microsoft.com/office/drawing/2014/main" id="{E72DC936-9309-48B5-8A15-FE73DAD0D499}"/>
                </a:ext>
              </a:extLst>
            </p:cNvPr>
            <p:cNvSpPr/>
            <p:nvPr/>
          </p:nvSpPr>
          <p:spPr>
            <a:xfrm>
              <a:off x="2551418" y="7222549"/>
              <a:ext cx="25748" cy="9655"/>
            </a:xfrm>
            <a:custGeom>
              <a:avLst/>
              <a:gdLst>
                <a:gd name="connsiteX0" fmla="*/ 4828 w 25747"/>
                <a:gd name="connsiteY0" fmla="*/ 4828 h 9655"/>
                <a:gd name="connsiteX1" fmla="*/ 22207 w 25747"/>
                <a:gd name="connsiteY1" fmla="*/ 4828 h 9655"/>
              </a:gdLst>
              <a:ahLst/>
              <a:cxnLst>
                <a:cxn ang="0">
                  <a:pos x="connsiteX0" y="connsiteY0"/>
                </a:cxn>
                <a:cxn ang="0">
                  <a:pos x="connsiteX1" y="connsiteY1"/>
                </a:cxn>
              </a:cxnLst>
              <a:rect l="l" t="t" r="r" b="b"/>
              <a:pathLst>
                <a:path w="25747" h="9655">
                  <a:moveTo>
                    <a:pt x="4828" y="4828"/>
                  </a:moveTo>
                  <a:lnTo>
                    <a:pt x="22207" y="4828"/>
                  </a:lnTo>
                </a:path>
              </a:pathLst>
            </a:custGeom>
            <a:ln w="15875" cap="flat">
              <a:solidFill>
                <a:schemeClr val="tx1"/>
              </a:solidFill>
              <a:prstDash val="solid"/>
              <a:round/>
            </a:ln>
          </p:spPr>
          <p:txBody>
            <a:bodyPr rtlCol="0" anchor="ctr"/>
            <a:lstStyle/>
            <a:p>
              <a:pPr defTabSz="731504">
                <a:defRPr/>
              </a:pPr>
              <a:endParaRPr lang="en-US" sz="1800">
                <a:solidFill>
                  <a:srgbClr val="FFFFFF"/>
                </a:solidFill>
              </a:endParaRPr>
            </a:p>
          </p:txBody>
        </p:sp>
      </p:grpSp>
      <p:grpSp>
        <p:nvGrpSpPr>
          <p:cNvPr id="938" name="Group 937">
            <a:extLst>
              <a:ext uri="{FF2B5EF4-FFF2-40B4-BE49-F238E27FC236}">
                <a16:creationId xmlns:a16="http://schemas.microsoft.com/office/drawing/2014/main" id="{87A627E6-4AD9-442B-9F07-D79E450B5705}"/>
              </a:ext>
            </a:extLst>
          </p:cNvPr>
          <p:cNvGrpSpPr/>
          <p:nvPr/>
        </p:nvGrpSpPr>
        <p:grpSpPr>
          <a:xfrm>
            <a:off x="4366470" y="2712136"/>
            <a:ext cx="963393" cy="713883"/>
            <a:chOff x="8359775" y="6592021"/>
            <a:chExt cx="1444632" cy="1070486"/>
          </a:xfrm>
        </p:grpSpPr>
        <p:grpSp>
          <p:nvGrpSpPr>
            <p:cNvPr id="939" name="Graphic 172">
              <a:extLst>
                <a:ext uri="{FF2B5EF4-FFF2-40B4-BE49-F238E27FC236}">
                  <a16:creationId xmlns:a16="http://schemas.microsoft.com/office/drawing/2014/main" id="{C02E77C1-EBB4-43B3-B90B-A3C9E96A5A93}"/>
                </a:ext>
              </a:extLst>
            </p:cNvPr>
            <p:cNvGrpSpPr/>
            <p:nvPr/>
          </p:nvGrpSpPr>
          <p:grpSpPr>
            <a:xfrm>
              <a:off x="8742285" y="6592021"/>
              <a:ext cx="1062122" cy="1041301"/>
              <a:chOff x="1685010" y="4353545"/>
              <a:chExt cx="443180" cy="434492"/>
            </a:xfrm>
          </p:grpSpPr>
          <p:sp>
            <p:nvSpPr>
              <p:cNvPr id="951" name="Freeform: Shape 950">
                <a:extLst>
                  <a:ext uri="{FF2B5EF4-FFF2-40B4-BE49-F238E27FC236}">
                    <a16:creationId xmlns:a16="http://schemas.microsoft.com/office/drawing/2014/main" id="{372C23B3-9CF3-4804-A881-5FA97A00EFDA}"/>
                  </a:ext>
                </a:extLst>
              </p:cNvPr>
              <p:cNvSpPr/>
              <p:nvPr/>
            </p:nvSpPr>
            <p:spPr>
              <a:xfrm>
                <a:off x="1685010" y="4353545"/>
                <a:ext cx="328281" cy="328281"/>
              </a:xfrm>
              <a:custGeom>
                <a:avLst/>
                <a:gdLst>
                  <a:gd name="connsiteX0" fmla="*/ 16736 w 328281"/>
                  <a:gd name="connsiteY0" fmla="*/ 104599 h 328281"/>
                  <a:gd name="connsiteX1" fmla="*/ 4828 w 328281"/>
                  <a:gd name="connsiteY1" fmla="*/ 165106 h 328281"/>
                  <a:gd name="connsiteX2" fmla="*/ 165106 w 328281"/>
                  <a:gd name="connsiteY2" fmla="*/ 325385 h 328281"/>
                  <a:gd name="connsiteX3" fmla="*/ 325385 w 328281"/>
                  <a:gd name="connsiteY3" fmla="*/ 165106 h 328281"/>
                  <a:gd name="connsiteX4" fmla="*/ 165106 w 328281"/>
                  <a:gd name="connsiteY4" fmla="*/ 4828 h 328281"/>
                  <a:gd name="connsiteX5" fmla="*/ 77886 w 328281"/>
                  <a:gd name="connsiteY5" fmla="*/ 30575 h 32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281" h="328281">
                    <a:moveTo>
                      <a:pt x="16736" y="104599"/>
                    </a:moveTo>
                    <a:cubicBezTo>
                      <a:pt x="9012" y="123266"/>
                      <a:pt x="4828" y="143865"/>
                      <a:pt x="4828" y="165106"/>
                    </a:cubicBezTo>
                    <a:cubicBezTo>
                      <a:pt x="4828" y="253613"/>
                      <a:pt x="76599" y="325385"/>
                      <a:pt x="165106" y="325385"/>
                    </a:cubicBezTo>
                    <a:cubicBezTo>
                      <a:pt x="253613" y="325385"/>
                      <a:pt x="325385" y="253613"/>
                      <a:pt x="325385" y="165106"/>
                    </a:cubicBezTo>
                    <a:cubicBezTo>
                      <a:pt x="325385" y="76599"/>
                      <a:pt x="253935" y="4828"/>
                      <a:pt x="165106" y="4828"/>
                    </a:cubicBezTo>
                    <a:cubicBezTo>
                      <a:pt x="132922" y="4828"/>
                      <a:pt x="102990" y="14161"/>
                      <a:pt x="77886" y="30575"/>
                    </a:cubicBezTo>
                  </a:path>
                </a:pathLst>
              </a:custGeom>
              <a:noFill/>
              <a:ln w="15875" cap="flat">
                <a:solidFill>
                  <a:srgbClr val="A166FF"/>
                </a:solidFill>
                <a:prstDash val="solid"/>
                <a:round/>
              </a:ln>
            </p:spPr>
            <p:txBody>
              <a:bodyPr rtlCol="0" anchor="ctr"/>
              <a:lstStyle/>
              <a:p>
                <a:pPr defTabSz="731504">
                  <a:defRPr/>
                </a:pPr>
                <a:endParaRPr lang="en-US" sz="1800" dirty="0">
                  <a:solidFill>
                    <a:srgbClr val="FFFFFF"/>
                  </a:solidFill>
                </a:endParaRPr>
              </a:p>
            </p:txBody>
          </p:sp>
          <p:sp>
            <p:nvSpPr>
              <p:cNvPr id="952" name="Freeform: Shape 951">
                <a:extLst>
                  <a:ext uri="{FF2B5EF4-FFF2-40B4-BE49-F238E27FC236}">
                    <a16:creationId xmlns:a16="http://schemas.microsoft.com/office/drawing/2014/main" id="{F9216971-09C7-400D-B32E-4101345B00F4}"/>
                  </a:ext>
                </a:extLst>
              </p:cNvPr>
              <p:cNvSpPr/>
              <p:nvPr/>
            </p:nvSpPr>
            <p:spPr>
              <a:xfrm>
                <a:off x="1705608" y="4392489"/>
                <a:ext cx="41840" cy="51495"/>
              </a:xfrm>
              <a:custGeom>
                <a:avLst/>
                <a:gdLst>
                  <a:gd name="connsiteX0" fmla="*/ 39909 w 41839"/>
                  <a:gd name="connsiteY0" fmla="*/ 4828 h 51495"/>
                  <a:gd name="connsiteX1" fmla="*/ 4828 w 41839"/>
                  <a:gd name="connsiteY1" fmla="*/ 47633 h 51495"/>
                </a:gdLst>
                <a:ahLst/>
                <a:cxnLst>
                  <a:cxn ang="0">
                    <a:pos x="connsiteX0" y="connsiteY0"/>
                  </a:cxn>
                  <a:cxn ang="0">
                    <a:pos x="connsiteX1" y="connsiteY1"/>
                  </a:cxn>
                </a:cxnLst>
                <a:rect l="l" t="t" r="r" b="b"/>
                <a:pathLst>
                  <a:path w="41839" h="51495">
                    <a:moveTo>
                      <a:pt x="39909" y="4828"/>
                    </a:moveTo>
                    <a:cubicBezTo>
                      <a:pt x="25748" y="17058"/>
                      <a:pt x="13839" y="31541"/>
                      <a:pt x="4828" y="47633"/>
                    </a:cubicBezTo>
                  </a:path>
                </a:pathLst>
              </a:custGeom>
              <a:noFill/>
              <a:ln w="15875" cap="flat">
                <a:solidFill>
                  <a:srgbClr val="A166FF"/>
                </a:solidFill>
                <a:prstDash val="solid"/>
                <a:round/>
              </a:ln>
            </p:spPr>
            <p:txBody>
              <a:bodyPr rtlCol="0" anchor="ctr"/>
              <a:lstStyle/>
              <a:p>
                <a:pPr defTabSz="731504">
                  <a:defRPr/>
                </a:pPr>
                <a:endParaRPr lang="en-US" sz="1800">
                  <a:solidFill>
                    <a:srgbClr val="FFFFFF"/>
                  </a:solidFill>
                </a:endParaRPr>
              </a:p>
            </p:txBody>
          </p:sp>
          <p:sp>
            <p:nvSpPr>
              <p:cNvPr id="953" name="Freeform: Shape 952">
                <a:extLst>
                  <a:ext uri="{FF2B5EF4-FFF2-40B4-BE49-F238E27FC236}">
                    <a16:creationId xmlns:a16="http://schemas.microsoft.com/office/drawing/2014/main" id="{6CA77B2E-7BF9-464A-A783-93EF2D33C819}"/>
                  </a:ext>
                </a:extLst>
              </p:cNvPr>
              <p:cNvSpPr/>
              <p:nvPr/>
            </p:nvSpPr>
            <p:spPr>
              <a:xfrm>
                <a:off x="1928646" y="4588493"/>
                <a:ext cx="199544" cy="199544"/>
              </a:xfrm>
              <a:custGeom>
                <a:avLst/>
                <a:gdLst>
                  <a:gd name="connsiteX0" fmla="*/ 62116 w 199543"/>
                  <a:gd name="connsiteY0" fmla="*/ 4828 h 199543"/>
                  <a:gd name="connsiteX1" fmla="*/ 183451 w 199543"/>
                  <a:gd name="connsiteY1" fmla="*/ 126807 h 199543"/>
                  <a:gd name="connsiteX2" fmla="*/ 182486 w 199543"/>
                  <a:gd name="connsiteY2" fmla="*/ 184739 h 199543"/>
                  <a:gd name="connsiteX3" fmla="*/ 182486 w 199543"/>
                  <a:gd name="connsiteY3" fmla="*/ 184739 h 199543"/>
                  <a:gd name="connsiteX4" fmla="*/ 124554 w 199543"/>
                  <a:gd name="connsiteY4" fmla="*/ 185382 h 199543"/>
                  <a:gd name="connsiteX5" fmla="*/ 4828 w 199543"/>
                  <a:gd name="connsiteY5" fmla="*/ 65656 h 199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543" h="199543">
                    <a:moveTo>
                      <a:pt x="62116" y="4828"/>
                    </a:moveTo>
                    <a:lnTo>
                      <a:pt x="183451" y="126807"/>
                    </a:lnTo>
                    <a:cubicBezTo>
                      <a:pt x="199222" y="142577"/>
                      <a:pt x="198900" y="168647"/>
                      <a:pt x="182486" y="184739"/>
                    </a:cubicBezTo>
                    <a:lnTo>
                      <a:pt x="182486" y="184739"/>
                    </a:lnTo>
                    <a:cubicBezTo>
                      <a:pt x="166394" y="200831"/>
                      <a:pt x="140324" y="201153"/>
                      <a:pt x="124554" y="185382"/>
                    </a:cubicBezTo>
                    <a:lnTo>
                      <a:pt x="4828" y="65656"/>
                    </a:lnTo>
                  </a:path>
                </a:pathLst>
              </a:custGeom>
              <a:noFill/>
              <a:ln w="15875" cap="flat">
                <a:solidFill>
                  <a:srgbClr val="A166FF"/>
                </a:solidFill>
                <a:prstDash val="solid"/>
                <a:round/>
              </a:ln>
            </p:spPr>
            <p:txBody>
              <a:bodyPr rtlCol="0" anchor="ctr"/>
              <a:lstStyle/>
              <a:p>
                <a:pPr defTabSz="731504">
                  <a:defRPr/>
                </a:pPr>
                <a:endParaRPr lang="en-US" sz="1800" dirty="0">
                  <a:solidFill>
                    <a:srgbClr val="FFFFFF"/>
                  </a:solidFill>
                </a:endParaRPr>
              </a:p>
            </p:txBody>
          </p:sp>
          <p:sp>
            <p:nvSpPr>
              <p:cNvPr id="954" name="Freeform: Shape 953">
                <a:extLst>
                  <a:ext uri="{FF2B5EF4-FFF2-40B4-BE49-F238E27FC236}">
                    <a16:creationId xmlns:a16="http://schemas.microsoft.com/office/drawing/2014/main" id="{016419D6-F246-439C-BCC1-B40E135BBD95}"/>
                  </a:ext>
                </a:extLst>
              </p:cNvPr>
              <p:cNvSpPr/>
              <p:nvPr/>
            </p:nvSpPr>
            <p:spPr>
              <a:xfrm>
                <a:off x="2034533" y="4695989"/>
                <a:ext cx="48277" cy="51495"/>
              </a:xfrm>
              <a:custGeom>
                <a:avLst/>
                <a:gdLst>
                  <a:gd name="connsiteX0" fmla="*/ 46024 w 48276"/>
                  <a:gd name="connsiteY0" fmla="*/ 4828 h 51495"/>
                  <a:gd name="connsiteX1" fmla="*/ 4828 w 48276"/>
                  <a:gd name="connsiteY1" fmla="*/ 47633 h 51495"/>
                </a:gdLst>
                <a:ahLst/>
                <a:cxnLst>
                  <a:cxn ang="0">
                    <a:pos x="connsiteX0" y="connsiteY0"/>
                  </a:cxn>
                  <a:cxn ang="0">
                    <a:pos x="connsiteX1" y="connsiteY1"/>
                  </a:cxn>
                </a:cxnLst>
                <a:rect l="l" t="t" r="r" b="b"/>
                <a:pathLst>
                  <a:path w="48276" h="51495">
                    <a:moveTo>
                      <a:pt x="46024" y="4828"/>
                    </a:moveTo>
                    <a:lnTo>
                      <a:pt x="4828" y="47633"/>
                    </a:lnTo>
                  </a:path>
                </a:pathLst>
              </a:custGeom>
              <a:noFill/>
              <a:ln w="15875" cap="flat">
                <a:solidFill>
                  <a:srgbClr val="A166FF"/>
                </a:solidFill>
                <a:prstDash val="solid"/>
                <a:round/>
              </a:ln>
            </p:spPr>
            <p:txBody>
              <a:bodyPr rtlCol="0" anchor="ctr"/>
              <a:lstStyle/>
              <a:p>
                <a:pPr defTabSz="731504">
                  <a:defRPr/>
                </a:pPr>
                <a:endParaRPr lang="en-US" sz="1800">
                  <a:solidFill>
                    <a:srgbClr val="FFFFFF"/>
                  </a:solidFill>
                </a:endParaRPr>
              </a:p>
            </p:txBody>
          </p:sp>
          <p:sp>
            <p:nvSpPr>
              <p:cNvPr id="955" name="Freeform: Shape 954">
                <a:extLst>
                  <a:ext uri="{FF2B5EF4-FFF2-40B4-BE49-F238E27FC236}">
                    <a16:creationId xmlns:a16="http://schemas.microsoft.com/office/drawing/2014/main" id="{D2B6B27D-4208-4C67-A87C-BD0E40B37F40}"/>
                  </a:ext>
                </a:extLst>
              </p:cNvPr>
              <p:cNvSpPr/>
              <p:nvPr/>
            </p:nvSpPr>
            <p:spPr>
              <a:xfrm>
                <a:off x="2012004" y="4673460"/>
                <a:ext cx="48277" cy="51495"/>
              </a:xfrm>
              <a:custGeom>
                <a:avLst/>
                <a:gdLst>
                  <a:gd name="connsiteX0" fmla="*/ 46024 w 48276"/>
                  <a:gd name="connsiteY0" fmla="*/ 4828 h 51495"/>
                  <a:gd name="connsiteX1" fmla="*/ 4828 w 48276"/>
                  <a:gd name="connsiteY1" fmla="*/ 47633 h 51495"/>
                </a:gdLst>
                <a:ahLst/>
                <a:cxnLst>
                  <a:cxn ang="0">
                    <a:pos x="connsiteX0" y="connsiteY0"/>
                  </a:cxn>
                  <a:cxn ang="0">
                    <a:pos x="connsiteX1" y="connsiteY1"/>
                  </a:cxn>
                </a:cxnLst>
                <a:rect l="l" t="t" r="r" b="b"/>
                <a:pathLst>
                  <a:path w="48276" h="51495">
                    <a:moveTo>
                      <a:pt x="46024" y="4828"/>
                    </a:moveTo>
                    <a:lnTo>
                      <a:pt x="4828" y="47633"/>
                    </a:lnTo>
                  </a:path>
                </a:pathLst>
              </a:custGeom>
              <a:noFill/>
              <a:ln w="15875" cap="flat">
                <a:solidFill>
                  <a:srgbClr val="A166FF"/>
                </a:solidFill>
                <a:prstDash val="solid"/>
                <a:round/>
              </a:ln>
            </p:spPr>
            <p:txBody>
              <a:bodyPr rtlCol="0" anchor="ctr"/>
              <a:lstStyle/>
              <a:p>
                <a:pPr defTabSz="731504">
                  <a:defRPr/>
                </a:pPr>
                <a:endParaRPr lang="en-US" sz="1800">
                  <a:solidFill>
                    <a:srgbClr val="FFFFFF"/>
                  </a:solidFill>
                </a:endParaRPr>
              </a:p>
            </p:txBody>
          </p:sp>
          <p:sp>
            <p:nvSpPr>
              <p:cNvPr id="956" name="Freeform: Shape 955">
                <a:extLst>
                  <a:ext uri="{FF2B5EF4-FFF2-40B4-BE49-F238E27FC236}">
                    <a16:creationId xmlns:a16="http://schemas.microsoft.com/office/drawing/2014/main" id="{4B0550FA-6FEA-4AA7-9A7B-35DBF8FC3482}"/>
                  </a:ext>
                </a:extLst>
              </p:cNvPr>
              <p:cNvSpPr/>
              <p:nvPr/>
            </p:nvSpPr>
            <p:spPr>
              <a:xfrm>
                <a:off x="1715359" y="4384184"/>
                <a:ext cx="267131" cy="267131"/>
              </a:xfrm>
              <a:custGeom>
                <a:avLst/>
                <a:gdLst>
                  <a:gd name="connsiteX0" fmla="*/ 241288 w 267130"/>
                  <a:gd name="connsiteY0" fmla="*/ 209137 h 267130"/>
                  <a:gd name="connsiteX1" fmla="*/ 142803 w 267130"/>
                  <a:gd name="connsiteY1" fmla="*/ 264172 h 267130"/>
                  <a:gd name="connsiteX2" fmla="*/ 5054 w 267130"/>
                  <a:gd name="connsiteY2" fmla="*/ 142193 h 267130"/>
                  <a:gd name="connsiteX3" fmla="*/ 127033 w 267130"/>
                  <a:gd name="connsiteY3" fmla="*/ 5087 h 267130"/>
                  <a:gd name="connsiteX4" fmla="*/ 264782 w 267130"/>
                  <a:gd name="connsiteY4" fmla="*/ 127066 h 267130"/>
                  <a:gd name="connsiteX5" fmla="*/ 257702 w 267130"/>
                  <a:gd name="connsiteY5" fmla="*/ 178240 h 26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30" h="267130">
                    <a:moveTo>
                      <a:pt x="241288" y="209137"/>
                    </a:moveTo>
                    <a:cubicBezTo>
                      <a:pt x="219402" y="240356"/>
                      <a:pt x="183677" y="261919"/>
                      <a:pt x="142803" y="264172"/>
                    </a:cubicBezTo>
                    <a:cubicBezTo>
                      <a:pt x="71032" y="268678"/>
                      <a:pt x="9560" y="213964"/>
                      <a:pt x="5054" y="142193"/>
                    </a:cubicBezTo>
                    <a:cubicBezTo>
                      <a:pt x="870" y="70743"/>
                      <a:pt x="55261" y="9271"/>
                      <a:pt x="127033" y="5087"/>
                    </a:cubicBezTo>
                    <a:cubicBezTo>
                      <a:pt x="198804" y="581"/>
                      <a:pt x="260276" y="55295"/>
                      <a:pt x="264782" y="127066"/>
                    </a:cubicBezTo>
                    <a:cubicBezTo>
                      <a:pt x="265748" y="145090"/>
                      <a:pt x="263173" y="162147"/>
                      <a:pt x="257702" y="178240"/>
                    </a:cubicBezTo>
                  </a:path>
                </a:pathLst>
              </a:custGeom>
              <a:noFill/>
              <a:ln w="15875" cap="flat">
                <a:solidFill>
                  <a:srgbClr val="A166FF"/>
                </a:solidFill>
                <a:prstDash val="solid"/>
                <a:round/>
              </a:ln>
            </p:spPr>
            <p:txBody>
              <a:bodyPr rtlCol="0" anchor="ctr"/>
              <a:lstStyle/>
              <a:p>
                <a:pPr defTabSz="731504">
                  <a:defRPr/>
                </a:pPr>
                <a:endParaRPr lang="en-US" sz="1800">
                  <a:solidFill>
                    <a:srgbClr val="FFFFFF"/>
                  </a:solidFill>
                </a:endParaRPr>
              </a:p>
            </p:txBody>
          </p:sp>
        </p:grpSp>
        <p:grpSp>
          <p:nvGrpSpPr>
            <p:cNvPr id="940" name="Graphic 190">
              <a:extLst>
                <a:ext uri="{FF2B5EF4-FFF2-40B4-BE49-F238E27FC236}">
                  <a16:creationId xmlns:a16="http://schemas.microsoft.com/office/drawing/2014/main" id="{67088BC0-07F1-451C-B16F-B4D6B6CC69DB}"/>
                </a:ext>
              </a:extLst>
            </p:cNvPr>
            <p:cNvGrpSpPr/>
            <p:nvPr/>
          </p:nvGrpSpPr>
          <p:grpSpPr>
            <a:xfrm>
              <a:off x="8911314" y="6708453"/>
              <a:ext cx="487551" cy="487551"/>
              <a:chOff x="7285831" y="4387916"/>
              <a:chExt cx="196325" cy="196325"/>
            </a:xfrm>
          </p:grpSpPr>
          <p:sp>
            <p:nvSpPr>
              <p:cNvPr id="948" name="Freeform: Shape 947">
                <a:extLst>
                  <a:ext uri="{FF2B5EF4-FFF2-40B4-BE49-F238E27FC236}">
                    <a16:creationId xmlns:a16="http://schemas.microsoft.com/office/drawing/2014/main" id="{55358CB5-092D-47D4-9725-CA1C4CAC8990}"/>
                  </a:ext>
                </a:extLst>
              </p:cNvPr>
              <p:cNvSpPr/>
              <p:nvPr/>
            </p:nvSpPr>
            <p:spPr>
              <a:xfrm>
                <a:off x="7285831" y="4387916"/>
                <a:ext cx="196325" cy="196325"/>
              </a:xfrm>
              <a:custGeom>
                <a:avLst/>
                <a:gdLst>
                  <a:gd name="connsiteX0" fmla="*/ 22529 w 196325"/>
                  <a:gd name="connsiteY0" fmla="*/ 154807 h 196325"/>
                  <a:gd name="connsiteX1" fmla="*/ 26391 w 196325"/>
                  <a:gd name="connsiteY1" fmla="*/ 159313 h 196325"/>
                  <a:gd name="connsiteX2" fmla="*/ 30253 w 196325"/>
                  <a:gd name="connsiteY2" fmla="*/ 163819 h 196325"/>
                  <a:gd name="connsiteX3" fmla="*/ 34116 w 196325"/>
                  <a:gd name="connsiteY3" fmla="*/ 168325 h 196325"/>
                  <a:gd name="connsiteX4" fmla="*/ 60185 w 196325"/>
                  <a:gd name="connsiteY4" fmla="*/ 154807 h 196325"/>
                  <a:gd name="connsiteX5" fmla="*/ 78852 w 196325"/>
                  <a:gd name="connsiteY5" fmla="*/ 164141 h 196325"/>
                  <a:gd name="connsiteX6" fmla="*/ 84001 w 196325"/>
                  <a:gd name="connsiteY6" fmla="*/ 193107 h 196325"/>
                  <a:gd name="connsiteX7" fmla="*/ 89795 w 196325"/>
                  <a:gd name="connsiteY7" fmla="*/ 193429 h 196325"/>
                  <a:gd name="connsiteX8" fmla="*/ 95588 w 196325"/>
                  <a:gd name="connsiteY8" fmla="*/ 193429 h 196325"/>
                  <a:gd name="connsiteX9" fmla="*/ 101381 w 196325"/>
                  <a:gd name="connsiteY9" fmla="*/ 193750 h 196325"/>
                  <a:gd name="connsiteX10" fmla="*/ 110393 w 196325"/>
                  <a:gd name="connsiteY10" fmla="*/ 165750 h 196325"/>
                  <a:gd name="connsiteX11" fmla="*/ 130025 w 196325"/>
                  <a:gd name="connsiteY11" fmla="*/ 158991 h 196325"/>
                  <a:gd name="connsiteX12" fmla="*/ 154164 w 196325"/>
                  <a:gd name="connsiteY12" fmla="*/ 175727 h 196325"/>
                  <a:gd name="connsiteX13" fmla="*/ 158669 w 196325"/>
                  <a:gd name="connsiteY13" fmla="*/ 171865 h 196325"/>
                  <a:gd name="connsiteX14" fmla="*/ 163175 w 196325"/>
                  <a:gd name="connsiteY14" fmla="*/ 168003 h 196325"/>
                  <a:gd name="connsiteX15" fmla="*/ 167681 w 196325"/>
                  <a:gd name="connsiteY15" fmla="*/ 164141 h 196325"/>
                  <a:gd name="connsiteX16" fmla="*/ 154164 w 196325"/>
                  <a:gd name="connsiteY16" fmla="*/ 138071 h 196325"/>
                  <a:gd name="connsiteX17" fmla="*/ 163497 w 196325"/>
                  <a:gd name="connsiteY17" fmla="*/ 119404 h 196325"/>
                  <a:gd name="connsiteX18" fmla="*/ 192463 w 196325"/>
                  <a:gd name="connsiteY18" fmla="*/ 114255 h 196325"/>
                  <a:gd name="connsiteX19" fmla="*/ 192785 w 196325"/>
                  <a:gd name="connsiteY19" fmla="*/ 108462 h 196325"/>
                  <a:gd name="connsiteX20" fmla="*/ 193107 w 196325"/>
                  <a:gd name="connsiteY20" fmla="*/ 102668 h 196325"/>
                  <a:gd name="connsiteX21" fmla="*/ 193429 w 196325"/>
                  <a:gd name="connsiteY21" fmla="*/ 96875 h 196325"/>
                  <a:gd name="connsiteX22" fmla="*/ 165428 w 196325"/>
                  <a:gd name="connsiteY22" fmla="*/ 87864 h 196325"/>
                  <a:gd name="connsiteX23" fmla="*/ 158669 w 196325"/>
                  <a:gd name="connsiteY23" fmla="*/ 68231 h 196325"/>
                  <a:gd name="connsiteX24" fmla="*/ 175405 w 196325"/>
                  <a:gd name="connsiteY24" fmla="*/ 44093 h 196325"/>
                  <a:gd name="connsiteX25" fmla="*/ 171543 w 196325"/>
                  <a:gd name="connsiteY25" fmla="*/ 39587 h 196325"/>
                  <a:gd name="connsiteX26" fmla="*/ 167681 w 196325"/>
                  <a:gd name="connsiteY26" fmla="*/ 35081 h 196325"/>
                  <a:gd name="connsiteX27" fmla="*/ 163819 w 196325"/>
                  <a:gd name="connsiteY27" fmla="*/ 30575 h 196325"/>
                  <a:gd name="connsiteX28" fmla="*/ 137749 w 196325"/>
                  <a:gd name="connsiteY28" fmla="*/ 43771 h 196325"/>
                  <a:gd name="connsiteX29" fmla="*/ 119082 w 196325"/>
                  <a:gd name="connsiteY29" fmla="*/ 34437 h 196325"/>
                  <a:gd name="connsiteX30" fmla="*/ 113933 w 196325"/>
                  <a:gd name="connsiteY30" fmla="*/ 5793 h 196325"/>
                  <a:gd name="connsiteX31" fmla="*/ 108140 w 196325"/>
                  <a:gd name="connsiteY31" fmla="*/ 5471 h 196325"/>
                  <a:gd name="connsiteX32" fmla="*/ 102347 w 196325"/>
                  <a:gd name="connsiteY32" fmla="*/ 5150 h 196325"/>
                  <a:gd name="connsiteX33" fmla="*/ 96553 w 196325"/>
                  <a:gd name="connsiteY33" fmla="*/ 4828 h 196325"/>
                  <a:gd name="connsiteX34" fmla="*/ 87542 w 196325"/>
                  <a:gd name="connsiteY34" fmla="*/ 32506 h 196325"/>
                  <a:gd name="connsiteX35" fmla="*/ 67587 w 196325"/>
                  <a:gd name="connsiteY35" fmla="*/ 39265 h 196325"/>
                  <a:gd name="connsiteX36" fmla="*/ 43771 w 196325"/>
                  <a:gd name="connsiteY36" fmla="*/ 22529 h 196325"/>
                  <a:gd name="connsiteX37" fmla="*/ 39265 w 196325"/>
                  <a:gd name="connsiteY37" fmla="*/ 26391 h 196325"/>
                  <a:gd name="connsiteX38" fmla="*/ 34759 w 196325"/>
                  <a:gd name="connsiteY38" fmla="*/ 30253 h 196325"/>
                  <a:gd name="connsiteX39" fmla="*/ 30253 w 196325"/>
                  <a:gd name="connsiteY39" fmla="*/ 34116 h 196325"/>
                  <a:gd name="connsiteX40" fmla="*/ 43449 w 196325"/>
                  <a:gd name="connsiteY40" fmla="*/ 60185 h 196325"/>
                  <a:gd name="connsiteX41" fmla="*/ 34116 w 196325"/>
                  <a:gd name="connsiteY41" fmla="*/ 78852 h 196325"/>
                  <a:gd name="connsiteX42" fmla="*/ 5471 w 196325"/>
                  <a:gd name="connsiteY42" fmla="*/ 84001 h 196325"/>
                  <a:gd name="connsiteX43" fmla="*/ 5471 w 196325"/>
                  <a:gd name="connsiteY43" fmla="*/ 90438 h 196325"/>
                  <a:gd name="connsiteX44" fmla="*/ 5150 w 196325"/>
                  <a:gd name="connsiteY44" fmla="*/ 96232 h 196325"/>
                  <a:gd name="connsiteX45" fmla="*/ 4828 w 196325"/>
                  <a:gd name="connsiteY45" fmla="*/ 102025 h 196325"/>
                  <a:gd name="connsiteX46" fmla="*/ 32506 w 196325"/>
                  <a:gd name="connsiteY46" fmla="*/ 111036 h 196325"/>
                  <a:gd name="connsiteX47" fmla="*/ 39265 w 196325"/>
                  <a:gd name="connsiteY47" fmla="*/ 130669 h 196325"/>
                  <a:gd name="connsiteX48" fmla="*/ 22529 w 196325"/>
                  <a:gd name="connsiteY48" fmla="*/ 154807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2529" y="154807"/>
                    </a:moveTo>
                    <a:lnTo>
                      <a:pt x="26391" y="159313"/>
                    </a:lnTo>
                    <a:lnTo>
                      <a:pt x="30253" y="163819"/>
                    </a:lnTo>
                    <a:lnTo>
                      <a:pt x="34116" y="168325"/>
                    </a:lnTo>
                    <a:lnTo>
                      <a:pt x="60185" y="154807"/>
                    </a:lnTo>
                    <a:cubicBezTo>
                      <a:pt x="65978" y="158991"/>
                      <a:pt x="72415" y="161888"/>
                      <a:pt x="78852" y="164141"/>
                    </a:cubicBezTo>
                    <a:lnTo>
                      <a:pt x="84001" y="193107"/>
                    </a:lnTo>
                    <a:lnTo>
                      <a:pt x="89795" y="193429"/>
                    </a:lnTo>
                    <a:lnTo>
                      <a:pt x="95588" y="193429"/>
                    </a:lnTo>
                    <a:lnTo>
                      <a:pt x="101381" y="193750"/>
                    </a:lnTo>
                    <a:lnTo>
                      <a:pt x="110393" y="165750"/>
                    </a:lnTo>
                    <a:cubicBezTo>
                      <a:pt x="117151" y="164463"/>
                      <a:pt x="123910" y="162210"/>
                      <a:pt x="130025" y="158991"/>
                    </a:cubicBezTo>
                    <a:lnTo>
                      <a:pt x="154164" y="175727"/>
                    </a:lnTo>
                    <a:lnTo>
                      <a:pt x="158669" y="171865"/>
                    </a:lnTo>
                    <a:lnTo>
                      <a:pt x="163175" y="168003"/>
                    </a:lnTo>
                    <a:lnTo>
                      <a:pt x="167681" y="164141"/>
                    </a:lnTo>
                    <a:lnTo>
                      <a:pt x="154164" y="138071"/>
                    </a:lnTo>
                    <a:cubicBezTo>
                      <a:pt x="158347" y="132278"/>
                      <a:pt x="161244" y="126163"/>
                      <a:pt x="163497" y="119404"/>
                    </a:cubicBezTo>
                    <a:lnTo>
                      <a:pt x="192463" y="114255"/>
                    </a:lnTo>
                    <a:lnTo>
                      <a:pt x="192785" y="108462"/>
                    </a:lnTo>
                    <a:lnTo>
                      <a:pt x="193107" y="102668"/>
                    </a:lnTo>
                    <a:lnTo>
                      <a:pt x="193429" y="96875"/>
                    </a:lnTo>
                    <a:lnTo>
                      <a:pt x="165428" y="87864"/>
                    </a:lnTo>
                    <a:cubicBezTo>
                      <a:pt x="164141" y="81105"/>
                      <a:pt x="162210" y="74346"/>
                      <a:pt x="158669" y="68231"/>
                    </a:cubicBezTo>
                    <a:lnTo>
                      <a:pt x="175405" y="44093"/>
                    </a:lnTo>
                    <a:lnTo>
                      <a:pt x="171543" y="39587"/>
                    </a:lnTo>
                    <a:lnTo>
                      <a:pt x="167681" y="35081"/>
                    </a:lnTo>
                    <a:lnTo>
                      <a:pt x="163819" y="30575"/>
                    </a:lnTo>
                    <a:lnTo>
                      <a:pt x="137749" y="43771"/>
                    </a:lnTo>
                    <a:cubicBezTo>
                      <a:pt x="131956" y="39587"/>
                      <a:pt x="125519" y="36690"/>
                      <a:pt x="119082" y="34437"/>
                    </a:cubicBezTo>
                    <a:lnTo>
                      <a:pt x="113933" y="5793"/>
                    </a:lnTo>
                    <a:lnTo>
                      <a:pt x="108140" y="5471"/>
                    </a:lnTo>
                    <a:lnTo>
                      <a:pt x="102347" y="5150"/>
                    </a:lnTo>
                    <a:lnTo>
                      <a:pt x="96553" y="4828"/>
                    </a:lnTo>
                    <a:lnTo>
                      <a:pt x="87542" y="32506"/>
                    </a:lnTo>
                    <a:cubicBezTo>
                      <a:pt x="80783" y="33794"/>
                      <a:pt x="74024" y="36047"/>
                      <a:pt x="67587" y="39265"/>
                    </a:cubicBezTo>
                    <a:lnTo>
                      <a:pt x="43771" y="22529"/>
                    </a:lnTo>
                    <a:lnTo>
                      <a:pt x="39265" y="26391"/>
                    </a:lnTo>
                    <a:lnTo>
                      <a:pt x="34759" y="30253"/>
                    </a:lnTo>
                    <a:lnTo>
                      <a:pt x="30253" y="34116"/>
                    </a:lnTo>
                    <a:lnTo>
                      <a:pt x="43449" y="60185"/>
                    </a:lnTo>
                    <a:cubicBezTo>
                      <a:pt x="39265" y="65978"/>
                      <a:pt x="36368" y="72415"/>
                      <a:pt x="34116" y="78852"/>
                    </a:cubicBezTo>
                    <a:lnTo>
                      <a:pt x="5471" y="84001"/>
                    </a:lnTo>
                    <a:lnTo>
                      <a:pt x="5471" y="90438"/>
                    </a:lnTo>
                    <a:lnTo>
                      <a:pt x="5150" y="96232"/>
                    </a:lnTo>
                    <a:lnTo>
                      <a:pt x="4828" y="102025"/>
                    </a:lnTo>
                    <a:lnTo>
                      <a:pt x="32506" y="111036"/>
                    </a:lnTo>
                    <a:cubicBezTo>
                      <a:pt x="33794" y="117795"/>
                      <a:pt x="36047" y="124554"/>
                      <a:pt x="39265" y="130669"/>
                    </a:cubicBezTo>
                    <a:lnTo>
                      <a:pt x="22529" y="154807"/>
                    </a:lnTo>
                    <a:close/>
                  </a:path>
                </a:pathLst>
              </a:custGeom>
              <a:noFill/>
              <a:ln w="15875" cap="flat">
                <a:solidFill>
                  <a:schemeClr val="tx1"/>
                </a:solidFill>
                <a:prstDash val="solid"/>
                <a:round/>
              </a:ln>
            </p:spPr>
            <p:txBody>
              <a:bodyPr rtlCol="0" anchor="ctr"/>
              <a:lstStyle/>
              <a:p>
                <a:pPr defTabSz="731504">
                  <a:defRPr/>
                </a:pPr>
                <a:endParaRPr lang="en-US" sz="1800" dirty="0">
                  <a:solidFill>
                    <a:srgbClr val="FFFFFF"/>
                  </a:solidFill>
                </a:endParaRPr>
              </a:p>
            </p:txBody>
          </p:sp>
          <p:sp>
            <p:nvSpPr>
              <p:cNvPr id="949" name="Freeform: Shape 948">
                <a:extLst>
                  <a:ext uri="{FF2B5EF4-FFF2-40B4-BE49-F238E27FC236}">
                    <a16:creationId xmlns:a16="http://schemas.microsoft.com/office/drawing/2014/main" id="{616D146E-5434-41F6-BD7A-2D8B1F5EEB7A}"/>
                  </a:ext>
                </a:extLst>
              </p:cNvPr>
              <p:cNvSpPr/>
              <p:nvPr/>
            </p:nvSpPr>
            <p:spPr>
              <a:xfrm>
                <a:off x="7342155" y="4444883"/>
                <a:ext cx="83680" cy="83680"/>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950" name="Freeform: Shape 949">
                <a:extLst>
                  <a:ext uri="{FF2B5EF4-FFF2-40B4-BE49-F238E27FC236}">
                    <a16:creationId xmlns:a16="http://schemas.microsoft.com/office/drawing/2014/main" id="{EAC90131-7193-44F7-88A3-5ACA3CF7B4B9}"/>
                  </a:ext>
                </a:extLst>
              </p:cNvPr>
              <p:cNvSpPr/>
              <p:nvPr/>
            </p:nvSpPr>
            <p:spPr>
              <a:xfrm>
                <a:off x="7368224" y="4470952"/>
                <a:ext cx="32184" cy="32184"/>
              </a:xfrm>
              <a:custGeom>
                <a:avLst/>
                <a:gdLst>
                  <a:gd name="connsiteX0" fmla="*/ 28000 w 32184"/>
                  <a:gd name="connsiteY0" fmla="*/ 16414 h 32184"/>
                  <a:gd name="connsiteX1" fmla="*/ 16414 w 32184"/>
                  <a:gd name="connsiteY1" fmla="*/ 28000 h 32184"/>
                  <a:gd name="connsiteX2" fmla="*/ 4828 w 32184"/>
                  <a:gd name="connsiteY2" fmla="*/ 16414 h 32184"/>
                  <a:gd name="connsiteX3" fmla="*/ 16414 w 32184"/>
                  <a:gd name="connsiteY3" fmla="*/ 4828 h 32184"/>
                  <a:gd name="connsiteX4" fmla="*/ 28000 w 32184"/>
                  <a:gd name="connsiteY4" fmla="*/ 16414 h 3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4" h="32184">
                    <a:moveTo>
                      <a:pt x="28000" y="16414"/>
                    </a:moveTo>
                    <a:cubicBezTo>
                      <a:pt x="28000" y="22813"/>
                      <a:pt x="22813" y="28000"/>
                      <a:pt x="16414" y="28000"/>
                    </a:cubicBezTo>
                    <a:cubicBezTo>
                      <a:pt x="10015" y="28000"/>
                      <a:pt x="4828" y="22813"/>
                      <a:pt x="4828" y="16414"/>
                    </a:cubicBezTo>
                    <a:cubicBezTo>
                      <a:pt x="4828" y="10015"/>
                      <a:pt x="10015" y="4828"/>
                      <a:pt x="16414" y="4828"/>
                    </a:cubicBezTo>
                    <a:cubicBezTo>
                      <a:pt x="22813" y="4828"/>
                      <a:pt x="28000" y="10015"/>
                      <a:pt x="28000" y="16414"/>
                    </a:cubicBezTo>
                    <a:close/>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grpSp>
        <p:grpSp>
          <p:nvGrpSpPr>
            <p:cNvPr id="941" name="Graphic 190">
              <a:extLst>
                <a:ext uri="{FF2B5EF4-FFF2-40B4-BE49-F238E27FC236}">
                  <a16:creationId xmlns:a16="http://schemas.microsoft.com/office/drawing/2014/main" id="{60D61CAF-7130-4217-8B05-0B0740A047E0}"/>
                </a:ext>
              </a:extLst>
            </p:cNvPr>
            <p:cNvGrpSpPr/>
            <p:nvPr/>
          </p:nvGrpSpPr>
          <p:grpSpPr>
            <a:xfrm>
              <a:off x="8480431" y="7202131"/>
              <a:ext cx="460376" cy="460376"/>
              <a:chOff x="7289321" y="4372213"/>
              <a:chExt cx="196325" cy="196325"/>
            </a:xfrm>
          </p:grpSpPr>
          <p:sp>
            <p:nvSpPr>
              <p:cNvPr id="945" name="Freeform: Shape 944">
                <a:extLst>
                  <a:ext uri="{FF2B5EF4-FFF2-40B4-BE49-F238E27FC236}">
                    <a16:creationId xmlns:a16="http://schemas.microsoft.com/office/drawing/2014/main" id="{63C5200D-205B-40C3-8838-DFA6232CFD30}"/>
                  </a:ext>
                </a:extLst>
              </p:cNvPr>
              <p:cNvSpPr/>
              <p:nvPr/>
            </p:nvSpPr>
            <p:spPr>
              <a:xfrm>
                <a:off x="7289321" y="4372213"/>
                <a:ext cx="196325" cy="196325"/>
              </a:xfrm>
              <a:custGeom>
                <a:avLst/>
                <a:gdLst>
                  <a:gd name="connsiteX0" fmla="*/ 22529 w 196325"/>
                  <a:gd name="connsiteY0" fmla="*/ 154807 h 196325"/>
                  <a:gd name="connsiteX1" fmla="*/ 26391 w 196325"/>
                  <a:gd name="connsiteY1" fmla="*/ 159313 h 196325"/>
                  <a:gd name="connsiteX2" fmla="*/ 30253 w 196325"/>
                  <a:gd name="connsiteY2" fmla="*/ 163819 h 196325"/>
                  <a:gd name="connsiteX3" fmla="*/ 34116 w 196325"/>
                  <a:gd name="connsiteY3" fmla="*/ 168325 h 196325"/>
                  <a:gd name="connsiteX4" fmla="*/ 60185 w 196325"/>
                  <a:gd name="connsiteY4" fmla="*/ 154807 h 196325"/>
                  <a:gd name="connsiteX5" fmla="*/ 78852 w 196325"/>
                  <a:gd name="connsiteY5" fmla="*/ 164141 h 196325"/>
                  <a:gd name="connsiteX6" fmla="*/ 84001 w 196325"/>
                  <a:gd name="connsiteY6" fmla="*/ 193107 h 196325"/>
                  <a:gd name="connsiteX7" fmla="*/ 89795 w 196325"/>
                  <a:gd name="connsiteY7" fmla="*/ 193429 h 196325"/>
                  <a:gd name="connsiteX8" fmla="*/ 95588 w 196325"/>
                  <a:gd name="connsiteY8" fmla="*/ 193429 h 196325"/>
                  <a:gd name="connsiteX9" fmla="*/ 101381 w 196325"/>
                  <a:gd name="connsiteY9" fmla="*/ 193750 h 196325"/>
                  <a:gd name="connsiteX10" fmla="*/ 110393 w 196325"/>
                  <a:gd name="connsiteY10" fmla="*/ 165750 h 196325"/>
                  <a:gd name="connsiteX11" fmla="*/ 130025 w 196325"/>
                  <a:gd name="connsiteY11" fmla="*/ 158991 h 196325"/>
                  <a:gd name="connsiteX12" fmla="*/ 154164 w 196325"/>
                  <a:gd name="connsiteY12" fmla="*/ 175727 h 196325"/>
                  <a:gd name="connsiteX13" fmla="*/ 158669 w 196325"/>
                  <a:gd name="connsiteY13" fmla="*/ 171865 h 196325"/>
                  <a:gd name="connsiteX14" fmla="*/ 163175 w 196325"/>
                  <a:gd name="connsiteY14" fmla="*/ 168003 h 196325"/>
                  <a:gd name="connsiteX15" fmla="*/ 167681 w 196325"/>
                  <a:gd name="connsiteY15" fmla="*/ 164141 h 196325"/>
                  <a:gd name="connsiteX16" fmla="*/ 154164 w 196325"/>
                  <a:gd name="connsiteY16" fmla="*/ 138071 h 196325"/>
                  <a:gd name="connsiteX17" fmla="*/ 163497 w 196325"/>
                  <a:gd name="connsiteY17" fmla="*/ 119404 h 196325"/>
                  <a:gd name="connsiteX18" fmla="*/ 192463 w 196325"/>
                  <a:gd name="connsiteY18" fmla="*/ 114255 h 196325"/>
                  <a:gd name="connsiteX19" fmla="*/ 192785 w 196325"/>
                  <a:gd name="connsiteY19" fmla="*/ 108462 h 196325"/>
                  <a:gd name="connsiteX20" fmla="*/ 193107 w 196325"/>
                  <a:gd name="connsiteY20" fmla="*/ 102668 h 196325"/>
                  <a:gd name="connsiteX21" fmla="*/ 193429 w 196325"/>
                  <a:gd name="connsiteY21" fmla="*/ 96875 h 196325"/>
                  <a:gd name="connsiteX22" fmla="*/ 165428 w 196325"/>
                  <a:gd name="connsiteY22" fmla="*/ 87864 h 196325"/>
                  <a:gd name="connsiteX23" fmla="*/ 158669 w 196325"/>
                  <a:gd name="connsiteY23" fmla="*/ 68231 h 196325"/>
                  <a:gd name="connsiteX24" fmla="*/ 175405 w 196325"/>
                  <a:gd name="connsiteY24" fmla="*/ 44093 h 196325"/>
                  <a:gd name="connsiteX25" fmla="*/ 171543 w 196325"/>
                  <a:gd name="connsiteY25" fmla="*/ 39587 h 196325"/>
                  <a:gd name="connsiteX26" fmla="*/ 167681 w 196325"/>
                  <a:gd name="connsiteY26" fmla="*/ 35081 h 196325"/>
                  <a:gd name="connsiteX27" fmla="*/ 163819 w 196325"/>
                  <a:gd name="connsiteY27" fmla="*/ 30575 h 196325"/>
                  <a:gd name="connsiteX28" fmla="*/ 137749 w 196325"/>
                  <a:gd name="connsiteY28" fmla="*/ 43771 h 196325"/>
                  <a:gd name="connsiteX29" fmla="*/ 119082 w 196325"/>
                  <a:gd name="connsiteY29" fmla="*/ 34437 h 196325"/>
                  <a:gd name="connsiteX30" fmla="*/ 113933 w 196325"/>
                  <a:gd name="connsiteY30" fmla="*/ 5793 h 196325"/>
                  <a:gd name="connsiteX31" fmla="*/ 108140 w 196325"/>
                  <a:gd name="connsiteY31" fmla="*/ 5471 h 196325"/>
                  <a:gd name="connsiteX32" fmla="*/ 102347 w 196325"/>
                  <a:gd name="connsiteY32" fmla="*/ 5150 h 196325"/>
                  <a:gd name="connsiteX33" fmla="*/ 96553 w 196325"/>
                  <a:gd name="connsiteY33" fmla="*/ 4828 h 196325"/>
                  <a:gd name="connsiteX34" fmla="*/ 87542 w 196325"/>
                  <a:gd name="connsiteY34" fmla="*/ 32506 h 196325"/>
                  <a:gd name="connsiteX35" fmla="*/ 67587 w 196325"/>
                  <a:gd name="connsiteY35" fmla="*/ 39265 h 196325"/>
                  <a:gd name="connsiteX36" fmla="*/ 43771 w 196325"/>
                  <a:gd name="connsiteY36" fmla="*/ 22529 h 196325"/>
                  <a:gd name="connsiteX37" fmla="*/ 39265 w 196325"/>
                  <a:gd name="connsiteY37" fmla="*/ 26391 h 196325"/>
                  <a:gd name="connsiteX38" fmla="*/ 34759 w 196325"/>
                  <a:gd name="connsiteY38" fmla="*/ 30253 h 196325"/>
                  <a:gd name="connsiteX39" fmla="*/ 30253 w 196325"/>
                  <a:gd name="connsiteY39" fmla="*/ 34116 h 196325"/>
                  <a:gd name="connsiteX40" fmla="*/ 43449 w 196325"/>
                  <a:gd name="connsiteY40" fmla="*/ 60185 h 196325"/>
                  <a:gd name="connsiteX41" fmla="*/ 34116 w 196325"/>
                  <a:gd name="connsiteY41" fmla="*/ 78852 h 196325"/>
                  <a:gd name="connsiteX42" fmla="*/ 5471 w 196325"/>
                  <a:gd name="connsiteY42" fmla="*/ 84001 h 196325"/>
                  <a:gd name="connsiteX43" fmla="*/ 5471 w 196325"/>
                  <a:gd name="connsiteY43" fmla="*/ 90438 h 196325"/>
                  <a:gd name="connsiteX44" fmla="*/ 5150 w 196325"/>
                  <a:gd name="connsiteY44" fmla="*/ 96232 h 196325"/>
                  <a:gd name="connsiteX45" fmla="*/ 4828 w 196325"/>
                  <a:gd name="connsiteY45" fmla="*/ 102025 h 196325"/>
                  <a:gd name="connsiteX46" fmla="*/ 32506 w 196325"/>
                  <a:gd name="connsiteY46" fmla="*/ 111036 h 196325"/>
                  <a:gd name="connsiteX47" fmla="*/ 39265 w 196325"/>
                  <a:gd name="connsiteY47" fmla="*/ 130669 h 196325"/>
                  <a:gd name="connsiteX48" fmla="*/ 22529 w 196325"/>
                  <a:gd name="connsiteY48" fmla="*/ 154807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2529" y="154807"/>
                    </a:moveTo>
                    <a:lnTo>
                      <a:pt x="26391" y="159313"/>
                    </a:lnTo>
                    <a:lnTo>
                      <a:pt x="30253" y="163819"/>
                    </a:lnTo>
                    <a:lnTo>
                      <a:pt x="34116" y="168325"/>
                    </a:lnTo>
                    <a:lnTo>
                      <a:pt x="60185" y="154807"/>
                    </a:lnTo>
                    <a:cubicBezTo>
                      <a:pt x="65978" y="158991"/>
                      <a:pt x="72415" y="161888"/>
                      <a:pt x="78852" y="164141"/>
                    </a:cubicBezTo>
                    <a:lnTo>
                      <a:pt x="84001" y="193107"/>
                    </a:lnTo>
                    <a:lnTo>
                      <a:pt x="89795" y="193429"/>
                    </a:lnTo>
                    <a:lnTo>
                      <a:pt x="95588" y="193429"/>
                    </a:lnTo>
                    <a:lnTo>
                      <a:pt x="101381" y="193750"/>
                    </a:lnTo>
                    <a:lnTo>
                      <a:pt x="110393" y="165750"/>
                    </a:lnTo>
                    <a:cubicBezTo>
                      <a:pt x="117151" y="164463"/>
                      <a:pt x="123910" y="162210"/>
                      <a:pt x="130025" y="158991"/>
                    </a:cubicBezTo>
                    <a:lnTo>
                      <a:pt x="154164" y="175727"/>
                    </a:lnTo>
                    <a:lnTo>
                      <a:pt x="158669" y="171865"/>
                    </a:lnTo>
                    <a:lnTo>
                      <a:pt x="163175" y="168003"/>
                    </a:lnTo>
                    <a:lnTo>
                      <a:pt x="167681" y="164141"/>
                    </a:lnTo>
                    <a:lnTo>
                      <a:pt x="154164" y="138071"/>
                    </a:lnTo>
                    <a:cubicBezTo>
                      <a:pt x="158347" y="132278"/>
                      <a:pt x="161244" y="126163"/>
                      <a:pt x="163497" y="119404"/>
                    </a:cubicBezTo>
                    <a:lnTo>
                      <a:pt x="192463" y="114255"/>
                    </a:lnTo>
                    <a:lnTo>
                      <a:pt x="192785" y="108462"/>
                    </a:lnTo>
                    <a:lnTo>
                      <a:pt x="193107" y="102668"/>
                    </a:lnTo>
                    <a:lnTo>
                      <a:pt x="193429" y="96875"/>
                    </a:lnTo>
                    <a:lnTo>
                      <a:pt x="165428" y="87864"/>
                    </a:lnTo>
                    <a:cubicBezTo>
                      <a:pt x="164141" y="81105"/>
                      <a:pt x="162210" y="74346"/>
                      <a:pt x="158669" y="68231"/>
                    </a:cubicBezTo>
                    <a:lnTo>
                      <a:pt x="175405" y="44093"/>
                    </a:lnTo>
                    <a:lnTo>
                      <a:pt x="171543" y="39587"/>
                    </a:lnTo>
                    <a:lnTo>
                      <a:pt x="167681" y="35081"/>
                    </a:lnTo>
                    <a:lnTo>
                      <a:pt x="163819" y="30575"/>
                    </a:lnTo>
                    <a:lnTo>
                      <a:pt x="137749" y="43771"/>
                    </a:lnTo>
                    <a:cubicBezTo>
                      <a:pt x="131956" y="39587"/>
                      <a:pt x="125519" y="36690"/>
                      <a:pt x="119082" y="34437"/>
                    </a:cubicBezTo>
                    <a:lnTo>
                      <a:pt x="113933" y="5793"/>
                    </a:lnTo>
                    <a:lnTo>
                      <a:pt x="108140" y="5471"/>
                    </a:lnTo>
                    <a:lnTo>
                      <a:pt x="102347" y="5150"/>
                    </a:lnTo>
                    <a:lnTo>
                      <a:pt x="96553" y="4828"/>
                    </a:lnTo>
                    <a:lnTo>
                      <a:pt x="87542" y="32506"/>
                    </a:lnTo>
                    <a:cubicBezTo>
                      <a:pt x="80783" y="33794"/>
                      <a:pt x="74024" y="36047"/>
                      <a:pt x="67587" y="39265"/>
                    </a:cubicBezTo>
                    <a:lnTo>
                      <a:pt x="43771" y="22529"/>
                    </a:lnTo>
                    <a:lnTo>
                      <a:pt x="39265" y="26391"/>
                    </a:lnTo>
                    <a:lnTo>
                      <a:pt x="34759" y="30253"/>
                    </a:lnTo>
                    <a:lnTo>
                      <a:pt x="30253" y="34116"/>
                    </a:lnTo>
                    <a:lnTo>
                      <a:pt x="43449" y="60185"/>
                    </a:lnTo>
                    <a:cubicBezTo>
                      <a:pt x="39265" y="65978"/>
                      <a:pt x="36368" y="72415"/>
                      <a:pt x="34116" y="78852"/>
                    </a:cubicBezTo>
                    <a:lnTo>
                      <a:pt x="5471" y="84001"/>
                    </a:lnTo>
                    <a:lnTo>
                      <a:pt x="5471" y="90438"/>
                    </a:lnTo>
                    <a:lnTo>
                      <a:pt x="5150" y="96232"/>
                    </a:lnTo>
                    <a:lnTo>
                      <a:pt x="4828" y="102025"/>
                    </a:lnTo>
                    <a:lnTo>
                      <a:pt x="32506" y="111036"/>
                    </a:lnTo>
                    <a:cubicBezTo>
                      <a:pt x="33794" y="117795"/>
                      <a:pt x="36047" y="124554"/>
                      <a:pt x="39265" y="130669"/>
                    </a:cubicBezTo>
                    <a:lnTo>
                      <a:pt x="22529" y="154807"/>
                    </a:lnTo>
                    <a:close/>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946" name="Freeform: Shape 945">
                <a:extLst>
                  <a:ext uri="{FF2B5EF4-FFF2-40B4-BE49-F238E27FC236}">
                    <a16:creationId xmlns:a16="http://schemas.microsoft.com/office/drawing/2014/main" id="{C6C17CA2-DC9E-4DB1-B7BA-7A274B6B7C47}"/>
                  </a:ext>
                </a:extLst>
              </p:cNvPr>
              <p:cNvSpPr/>
              <p:nvPr/>
            </p:nvSpPr>
            <p:spPr>
              <a:xfrm>
                <a:off x="7345644" y="4429180"/>
                <a:ext cx="83680" cy="83680"/>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947" name="Freeform: Shape 946">
                <a:extLst>
                  <a:ext uri="{FF2B5EF4-FFF2-40B4-BE49-F238E27FC236}">
                    <a16:creationId xmlns:a16="http://schemas.microsoft.com/office/drawing/2014/main" id="{06127911-5777-4AA6-A0B5-F9FE76B3E8AF}"/>
                  </a:ext>
                </a:extLst>
              </p:cNvPr>
              <p:cNvSpPr/>
              <p:nvPr/>
            </p:nvSpPr>
            <p:spPr>
              <a:xfrm>
                <a:off x="7371713" y="4455249"/>
                <a:ext cx="32184" cy="32184"/>
              </a:xfrm>
              <a:custGeom>
                <a:avLst/>
                <a:gdLst>
                  <a:gd name="connsiteX0" fmla="*/ 28000 w 32184"/>
                  <a:gd name="connsiteY0" fmla="*/ 16414 h 32184"/>
                  <a:gd name="connsiteX1" fmla="*/ 16414 w 32184"/>
                  <a:gd name="connsiteY1" fmla="*/ 28000 h 32184"/>
                  <a:gd name="connsiteX2" fmla="*/ 4828 w 32184"/>
                  <a:gd name="connsiteY2" fmla="*/ 16414 h 32184"/>
                  <a:gd name="connsiteX3" fmla="*/ 16414 w 32184"/>
                  <a:gd name="connsiteY3" fmla="*/ 4828 h 32184"/>
                  <a:gd name="connsiteX4" fmla="*/ 28000 w 32184"/>
                  <a:gd name="connsiteY4" fmla="*/ 16414 h 3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4" h="32184">
                    <a:moveTo>
                      <a:pt x="28000" y="16414"/>
                    </a:moveTo>
                    <a:cubicBezTo>
                      <a:pt x="28000" y="22813"/>
                      <a:pt x="22813" y="28000"/>
                      <a:pt x="16414" y="28000"/>
                    </a:cubicBezTo>
                    <a:cubicBezTo>
                      <a:pt x="10015" y="28000"/>
                      <a:pt x="4828" y="22813"/>
                      <a:pt x="4828" y="16414"/>
                    </a:cubicBezTo>
                    <a:cubicBezTo>
                      <a:pt x="4828" y="10015"/>
                      <a:pt x="10015" y="4828"/>
                      <a:pt x="16414" y="4828"/>
                    </a:cubicBezTo>
                    <a:cubicBezTo>
                      <a:pt x="22813" y="4828"/>
                      <a:pt x="28000" y="10015"/>
                      <a:pt x="28000" y="16414"/>
                    </a:cubicBezTo>
                    <a:close/>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grpSp>
        <p:grpSp>
          <p:nvGrpSpPr>
            <p:cNvPr id="942" name="Graphic 190">
              <a:extLst>
                <a:ext uri="{FF2B5EF4-FFF2-40B4-BE49-F238E27FC236}">
                  <a16:creationId xmlns:a16="http://schemas.microsoft.com/office/drawing/2014/main" id="{17F55904-C5B9-47E8-A150-E65675D141E1}"/>
                </a:ext>
              </a:extLst>
            </p:cNvPr>
            <p:cNvGrpSpPr/>
            <p:nvPr/>
          </p:nvGrpSpPr>
          <p:grpSpPr>
            <a:xfrm>
              <a:off x="8359775" y="6905626"/>
              <a:ext cx="301625" cy="301625"/>
              <a:chOff x="7289321" y="4372213"/>
              <a:chExt cx="196325" cy="196325"/>
            </a:xfrm>
          </p:grpSpPr>
          <p:sp>
            <p:nvSpPr>
              <p:cNvPr id="943" name="Freeform: Shape 942">
                <a:extLst>
                  <a:ext uri="{FF2B5EF4-FFF2-40B4-BE49-F238E27FC236}">
                    <a16:creationId xmlns:a16="http://schemas.microsoft.com/office/drawing/2014/main" id="{2E13265B-4511-4FA4-B009-8A40732B5763}"/>
                  </a:ext>
                </a:extLst>
              </p:cNvPr>
              <p:cNvSpPr/>
              <p:nvPr/>
            </p:nvSpPr>
            <p:spPr>
              <a:xfrm>
                <a:off x="7289321" y="4372213"/>
                <a:ext cx="196325" cy="196325"/>
              </a:xfrm>
              <a:custGeom>
                <a:avLst/>
                <a:gdLst>
                  <a:gd name="connsiteX0" fmla="*/ 22529 w 196325"/>
                  <a:gd name="connsiteY0" fmla="*/ 154807 h 196325"/>
                  <a:gd name="connsiteX1" fmla="*/ 26391 w 196325"/>
                  <a:gd name="connsiteY1" fmla="*/ 159313 h 196325"/>
                  <a:gd name="connsiteX2" fmla="*/ 30253 w 196325"/>
                  <a:gd name="connsiteY2" fmla="*/ 163819 h 196325"/>
                  <a:gd name="connsiteX3" fmla="*/ 34116 w 196325"/>
                  <a:gd name="connsiteY3" fmla="*/ 168325 h 196325"/>
                  <a:gd name="connsiteX4" fmla="*/ 60185 w 196325"/>
                  <a:gd name="connsiteY4" fmla="*/ 154807 h 196325"/>
                  <a:gd name="connsiteX5" fmla="*/ 78852 w 196325"/>
                  <a:gd name="connsiteY5" fmla="*/ 164141 h 196325"/>
                  <a:gd name="connsiteX6" fmla="*/ 84001 w 196325"/>
                  <a:gd name="connsiteY6" fmla="*/ 193107 h 196325"/>
                  <a:gd name="connsiteX7" fmla="*/ 89795 w 196325"/>
                  <a:gd name="connsiteY7" fmla="*/ 193429 h 196325"/>
                  <a:gd name="connsiteX8" fmla="*/ 95588 w 196325"/>
                  <a:gd name="connsiteY8" fmla="*/ 193429 h 196325"/>
                  <a:gd name="connsiteX9" fmla="*/ 101381 w 196325"/>
                  <a:gd name="connsiteY9" fmla="*/ 193750 h 196325"/>
                  <a:gd name="connsiteX10" fmla="*/ 110393 w 196325"/>
                  <a:gd name="connsiteY10" fmla="*/ 165750 h 196325"/>
                  <a:gd name="connsiteX11" fmla="*/ 130025 w 196325"/>
                  <a:gd name="connsiteY11" fmla="*/ 158991 h 196325"/>
                  <a:gd name="connsiteX12" fmla="*/ 154164 w 196325"/>
                  <a:gd name="connsiteY12" fmla="*/ 175727 h 196325"/>
                  <a:gd name="connsiteX13" fmla="*/ 158669 w 196325"/>
                  <a:gd name="connsiteY13" fmla="*/ 171865 h 196325"/>
                  <a:gd name="connsiteX14" fmla="*/ 163175 w 196325"/>
                  <a:gd name="connsiteY14" fmla="*/ 168003 h 196325"/>
                  <a:gd name="connsiteX15" fmla="*/ 167681 w 196325"/>
                  <a:gd name="connsiteY15" fmla="*/ 164141 h 196325"/>
                  <a:gd name="connsiteX16" fmla="*/ 154164 w 196325"/>
                  <a:gd name="connsiteY16" fmla="*/ 138071 h 196325"/>
                  <a:gd name="connsiteX17" fmla="*/ 163497 w 196325"/>
                  <a:gd name="connsiteY17" fmla="*/ 119404 h 196325"/>
                  <a:gd name="connsiteX18" fmla="*/ 192463 w 196325"/>
                  <a:gd name="connsiteY18" fmla="*/ 114255 h 196325"/>
                  <a:gd name="connsiteX19" fmla="*/ 192785 w 196325"/>
                  <a:gd name="connsiteY19" fmla="*/ 108462 h 196325"/>
                  <a:gd name="connsiteX20" fmla="*/ 193107 w 196325"/>
                  <a:gd name="connsiteY20" fmla="*/ 102668 h 196325"/>
                  <a:gd name="connsiteX21" fmla="*/ 193429 w 196325"/>
                  <a:gd name="connsiteY21" fmla="*/ 96875 h 196325"/>
                  <a:gd name="connsiteX22" fmla="*/ 165428 w 196325"/>
                  <a:gd name="connsiteY22" fmla="*/ 87864 h 196325"/>
                  <a:gd name="connsiteX23" fmla="*/ 158669 w 196325"/>
                  <a:gd name="connsiteY23" fmla="*/ 68231 h 196325"/>
                  <a:gd name="connsiteX24" fmla="*/ 175405 w 196325"/>
                  <a:gd name="connsiteY24" fmla="*/ 44093 h 196325"/>
                  <a:gd name="connsiteX25" fmla="*/ 171543 w 196325"/>
                  <a:gd name="connsiteY25" fmla="*/ 39587 h 196325"/>
                  <a:gd name="connsiteX26" fmla="*/ 167681 w 196325"/>
                  <a:gd name="connsiteY26" fmla="*/ 35081 h 196325"/>
                  <a:gd name="connsiteX27" fmla="*/ 163819 w 196325"/>
                  <a:gd name="connsiteY27" fmla="*/ 30575 h 196325"/>
                  <a:gd name="connsiteX28" fmla="*/ 137749 w 196325"/>
                  <a:gd name="connsiteY28" fmla="*/ 43771 h 196325"/>
                  <a:gd name="connsiteX29" fmla="*/ 119082 w 196325"/>
                  <a:gd name="connsiteY29" fmla="*/ 34437 h 196325"/>
                  <a:gd name="connsiteX30" fmla="*/ 113933 w 196325"/>
                  <a:gd name="connsiteY30" fmla="*/ 5793 h 196325"/>
                  <a:gd name="connsiteX31" fmla="*/ 108140 w 196325"/>
                  <a:gd name="connsiteY31" fmla="*/ 5471 h 196325"/>
                  <a:gd name="connsiteX32" fmla="*/ 102347 w 196325"/>
                  <a:gd name="connsiteY32" fmla="*/ 5150 h 196325"/>
                  <a:gd name="connsiteX33" fmla="*/ 96553 w 196325"/>
                  <a:gd name="connsiteY33" fmla="*/ 4828 h 196325"/>
                  <a:gd name="connsiteX34" fmla="*/ 87542 w 196325"/>
                  <a:gd name="connsiteY34" fmla="*/ 32506 h 196325"/>
                  <a:gd name="connsiteX35" fmla="*/ 67587 w 196325"/>
                  <a:gd name="connsiteY35" fmla="*/ 39265 h 196325"/>
                  <a:gd name="connsiteX36" fmla="*/ 43771 w 196325"/>
                  <a:gd name="connsiteY36" fmla="*/ 22529 h 196325"/>
                  <a:gd name="connsiteX37" fmla="*/ 39265 w 196325"/>
                  <a:gd name="connsiteY37" fmla="*/ 26391 h 196325"/>
                  <a:gd name="connsiteX38" fmla="*/ 34759 w 196325"/>
                  <a:gd name="connsiteY38" fmla="*/ 30253 h 196325"/>
                  <a:gd name="connsiteX39" fmla="*/ 30253 w 196325"/>
                  <a:gd name="connsiteY39" fmla="*/ 34116 h 196325"/>
                  <a:gd name="connsiteX40" fmla="*/ 43449 w 196325"/>
                  <a:gd name="connsiteY40" fmla="*/ 60185 h 196325"/>
                  <a:gd name="connsiteX41" fmla="*/ 34116 w 196325"/>
                  <a:gd name="connsiteY41" fmla="*/ 78852 h 196325"/>
                  <a:gd name="connsiteX42" fmla="*/ 5471 w 196325"/>
                  <a:gd name="connsiteY42" fmla="*/ 84001 h 196325"/>
                  <a:gd name="connsiteX43" fmla="*/ 5471 w 196325"/>
                  <a:gd name="connsiteY43" fmla="*/ 90438 h 196325"/>
                  <a:gd name="connsiteX44" fmla="*/ 5150 w 196325"/>
                  <a:gd name="connsiteY44" fmla="*/ 96232 h 196325"/>
                  <a:gd name="connsiteX45" fmla="*/ 4828 w 196325"/>
                  <a:gd name="connsiteY45" fmla="*/ 102025 h 196325"/>
                  <a:gd name="connsiteX46" fmla="*/ 32506 w 196325"/>
                  <a:gd name="connsiteY46" fmla="*/ 111036 h 196325"/>
                  <a:gd name="connsiteX47" fmla="*/ 39265 w 196325"/>
                  <a:gd name="connsiteY47" fmla="*/ 130669 h 196325"/>
                  <a:gd name="connsiteX48" fmla="*/ 22529 w 196325"/>
                  <a:gd name="connsiteY48" fmla="*/ 154807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2529" y="154807"/>
                    </a:moveTo>
                    <a:lnTo>
                      <a:pt x="26391" y="159313"/>
                    </a:lnTo>
                    <a:lnTo>
                      <a:pt x="30253" y="163819"/>
                    </a:lnTo>
                    <a:lnTo>
                      <a:pt x="34116" y="168325"/>
                    </a:lnTo>
                    <a:lnTo>
                      <a:pt x="60185" y="154807"/>
                    </a:lnTo>
                    <a:cubicBezTo>
                      <a:pt x="65978" y="158991"/>
                      <a:pt x="72415" y="161888"/>
                      <a:pt x="78852" y="164141"/>
                    </a:cubicBezTo>
                    <a:lnTo>
                      <a:pt x="84001" y="193107"/>
                    </a:lnTo>
                    <a:lnTo>
                      <a:pt x="89795" y="193429"/>
                    </a:lnTo>
                    <a:lnTo>
                      <a:pt x="95588" y="193429"/>
                    </a:lnTo>
                    <a:lnTo>
                      <a:pt x="101381" y="193750"/>
                    </a:lnTo>
                    <a:lnTo>
                      <a:pt x="110393" y="165750"/>
                    </a:lnTo>
                    <a:cubicBezTo>
                      <a:pt x="117151" y="164463"/>
                      <a:pt x="123910" y="162210"/>
                      <a:pt x="130025" y="158991"/>
                    </a:cubicBezTo>
                    <a:lnTo>
                      <a:pt x="154164" y="175727"/>
                    </a:lnTo>
                    <a:lnTo>
                      <a:pt x="158669" y="171865"/>
                    </a:lnTo>
                    <a:lnTo>
                      <a:pt x="163175" y="168003"/>
                    </a:lnTo>
                    <a:lnTo>
                      <a:pt x="167681" y="164141"/>
                    </a:lnTo>
                    <a:lnTo>
                      <a:pt x="154164" y="138071"/>
                    </a:lnTo>
                    <a:cubicBezTo>
                      <a:pt x="158347" y="132278"/>
                      <a:pt x="161244" y="126163"/>
                      <a:pt x="163497" y="119404"/>
                    </a:cubicBezTo>
                    <a:lnTo>
                      <a:pt x="192463" y="114255"/>
                    </a:lnTo>
                    <a:lnTo>
                      <a:pt x="192785" y="108462"/>
                    </a:lnTo>
                    <a:lnTo>
                      <a:pt x="193107" y="102668"/>
                    </a:lnTo>
                    <a:lnTo>
                      <a:pt x="193429" y="96875"/>
                    </a:lnTo>
                    <a:lnTo>
                      <a:pt x="165428" y="87864"/>
                    </a:lnTo>
                    <a:cubicBezTo>
                      <a:pt x="164141" y="81105"/>
                      <a:pt x="162210" y="74346"/>
                      <a:pt x="158669" y="68231"/>
                    </a:cubicBezTo>
                    <a:lnTo>
                      <a:pt x="175405" y="44093"/>
                    </a:lnTo>
                    <a:lnTo>
                      <a:pt x="171543" y="39587"/>
                    </a:lnTo>
                    <a:lnTo>
                      <a:pt x="167681" y="35081"/>
                    </a:lnTo>
                    <a:lnTo>
                      <a:pt x="163819" y="30575"/>
                    </a:lnTo>
                    <a:lnTo>
                      <a:pt x="137749" y="43771"/>
                    </a:lnTo>
                    <a:cubicBezTo>
                      <a:pt x="131956" y="39587"/>
                      <a:pt x="125519" y="36690"/>
                      <a:pt x="119082" y="34437"/>
                    </a:cubicBezTo>
                    <a:lnTo>
                      <a:pt x="113933" y="5793"/>
                    </a:lnTo>
                    <a:lnTo>
                      <a:pt x="108140" y="5471"/>
                    </a:lnTo>
                    <a:lnTo>
                      <a:pt x="102347" y="5150"/>
                    </a:lnTo>
                    <a:lnTo>
                      <a:pt x="96553" y="4828"/>
                    </a:lnTo>
                    <a:lnTo>
                      <a:pt x="87542" y="32506"/>
                    </a:lnTo>
                    <a:cubicBezTo>
                      <a:pt x="80783" y="33794"/>
                      <a:pt x="74024" y="36047"/>
                      <a:pt x="67587" y="39265"/>
                    </a:cubicBezTo>
                    <a:lnTo>
                      <a:pt x="43771" y="22529"/>
                    </a:lnTo>
                    <a:lnTo>
                      <a:pt x="39265" y="26391"/>
                    </a:lnTo>
                    <a:lnTo>
                      <a:pt x="34759" y="30253"/>
                    </a:lnTo>
                    <a:lnTo>
                      <a:pt x="30253" y="34116"/>
                    </a:lnTo>
                    <a:lnTo>
                      <a:pt x="43449" y="60185"/>
                    </a:lnTo>
                    <a:cubicBezTo>
                      <a:pt x="39265" y="65978"/>
                      <a:pt x="36368" y="72415"/>
                      <a:pt x="34116" y="78852"/>
                    </a:cubicBezTo>
                    <a:lnTo>
                      <a:pt x="5471" y="84001"/>
                    </a:lnTo>
                    <a:lnTo>
                      <a:pt x="5471" y="90438"/>
                    </a:lnTo>
                    <a:lnTo>
                      <a:pt x="5150" y="96232"/>
                    </a:lnTo>
                    <a:lnTo>
                      <a:pt x="4828" y="102025"/>
                    </a:lnTo>
                    <a:lnTo>
                      <a:pt x="32506" y="111036"/>
                    </a:lnTo>
                    <a:cubicBezTo>
                      <a:pt x="33794" y="117795"/>
                      <a:pt x="36047" y="124554"/>
                      <a:pt x="39265" y="130669"/>
                    </a:cubicBezTo>
                    <a:lnTo>
                      <a:pt x="22529" y="154807"/>
                    </a:lnTo>
                    <a:close/>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944" name="Freeform: Shape 943">
                <a:extLst>
                  <a:ext uri="{FF2B5EF4-FFF2-40B4-BE49-F238E27FC236}">
                    <a16:creationId xmlns:a16="http://schemas.microsoft.com/office/drawing/2014/main" id="{8B2C0AA9-F7D6-4390-9E28-6317CC55C230}"/>
                  </a:ext>
                </a:extLst>
              </p:cNvPr>
              <p:cNvSpPr/>
              <p:nvPr/>
            </p:nvSpPr>
            <p:spPr>
              <a:xfrm>
                <a:off x="7345644" y="4429180"/>
                <a:ext cx="83680" cy="83680"/>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grpSp>
      </p:grpSp>
      <p:grpSp>
        <p:nvGrpSpPr>
          <p:cNvPr id="957" name="Graphic 160">
            <a:extLst>
              <a:ext uri="{FF2B5EF4-FFF2-40B4-BE49-F238E27FC236}">
                <a16:creationId xmlns:a16="http://schemas.microsoft.com/office/drawing/2014/main" id="{0D22AC0B-32D6-44BD-93D1-93EF7115988F}"/>
              </a:ext>
            </a:extLst>
          </p:cNvPr>
          <p:cNvGrpSpPr/>
          <p:nvPr/>
        </p:nvGrpSpPr>
        <p:grpSpPr>
          <a:xfrm>
            <a:off x="8705250" y="4282891"/>
            <a:ext cx="698244" cy="722132"/>
            <a:chOff x="4692320" y="5010565"/>
            <a:chExt cx="395223" cy="408744"/>
          </a:xfrm>
        </p:grpSpPr>
        <p:sp>
          <p:nvSpPr>
            <p:cNvPr id="958" name="Freeform: Shape 957">
              <a:extLst>
                <a:ext uri="{FF2B5EF4-FFF2-40B4-BE49-F238E27FC236}">
                  <a16:creationId xmlns:a16="http://schemas.microsoft.com/office/drawing/2014/main" id="{B4480A01-19EF-49D4-9675-3D56F220742E}"/>
                </a:ext>
              </a:extLst>
            </p:cNvPr>
            <p:cNvSpPr/>
            <p:nvPr/>
          </p:nvSpPr>
          <p:spPr>
            <a:xfrm>
              <a:off x="4692320" y="5010565"/>
              <a:ext cx="302535" cy="408744"/>
            </a:xfrm>
            <a:custGeom>
              <a:avLst/>
              <a:gdLst>
                <a:gd name="connsiteX0" fmla="*/ 298028 w 302533"/>
                <a:gd name="connsiteY0" fmla="*/ 72939 h 408742"/>
                <a:gd name="connsiteX1" fmla="*/ 298028 w 302533"/>
                <a:gd name="connsiteY1" fmla="*/ 51376 h 408742"/>
                <a:gd name="connsiteX2" fmla="*/ 286442 w 302533"/>
                <a:gd name="connsiteY2" fmla="*/ 42042 h 408742"/>
                <a:gd name="connsiteX3" fmla="*/ 158991 w 302533"/>
                <a:gd name="connsiteY3" fmla="*/ 7927 h 408742"/>
                <a:gd name="connsiteX4" fmla="*/ 144508 w 302533"/>
                <a:gd name="connsiteY4" fmla="*/ 8248 h 408742"/>
                <a:gd name="connsiteX5" fmla="*/ 16414 w 302533"/>
                <a:gd name="connsiteY5" fmla="*/ 41398 h 408742"/>
                <a:gd name="connsiteX6" fmla="*/ 4828 w 302533"/>
                <a:gd name="connsiteY6" fmla="*/ 50732 h 408742"/>
                <a:gd name="connsiteX7" fmla="*/ 4828 w 302533"/>
                <a:gd name="connsiteY7" fmla="*/ 319150 h 408742"/>
                <a:gd name="connsiteX8" fmla="*/ 9655 w 302533"/>
                <a:gd name="connsiteY8" fmla="*/ 327518 h 408742"/>
                <a:gd name="connsiteX9" fmla="*/ 146761 w 302533"/>
                <a:gd name="connsiteY9" fmla="*/ 404761 h 408742"/>
                <a:gd name="connsiteX10" fmla="*/ 156095 w 302533"/>
                <a:gd name="connsiteY10" fmla="*/ 404761 h 408742"/>
                <a:gd name="connsiteX11" fmla="*/ 293200 w 302533"/>
                <a:gd name="connsiteY11" fmla="*/ 327840 h 408742"/>
                <a:gd name="connsiteX12" fmla="*/ 298028 w 302533"/>
                <a:gd name="connsiteY12" fmla="*/ 319794 h 408742"/>
                <a:gd name="connsiteX13" fmla="*/ 298350 w 302533"/>
                <a:gd name="connsiteY13" fmla="*/ 298230 h 408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2533" h="408742">
                  <a:moveTo>
                    <a:pt x="298028" y="72939"/>
                  </a:moveTo>
                  <a:lnTo>
                    <a:pt x="298028" y="51376"/>
                  </a:lnTo>
                  <a:cubicBezTo>
                    <a:pt x="298028" y="45260"/>
                    <a:pt x="292557" y="40755"/>
                    <a:pt x="286442" y="42042"/>
                  </a:cubicBezTo>
                  <a:cubicBezTo>
                    <a:pt x="261338" y="47513"/>
                    <a:pt x="200187" y="54272"/>
                    <a:pt x="158991" y="7927"/>
                  </a:cubicBezTo>
                  <a:cubicBezTo>
                    <a:pt x="155129" y="3743"/>
                    <a:pt x="148370" y="3743"/>
                    <a:pt x="144508" y="8248"/>
                  </a:cubicBezTo>
                  <a:cubicBezTo>
                    <a:pt x="130025" y="24662"/>
                    <a:pt x="91404" y="56525"/>
                    <a:pt x="16414" y="41398"/>
                  </a:cubicBezTo>
                  <a:cubicBezTo>
                    <a:pt x="10299" y="40111"/>
                    <a:pt x="4828" y="44617"/>
                    <a:pt x="4828" y="50732"/>
                  </a:cubicBezTo>
                  <a:lnTo>
                    <a:pt x="4828" y="319150"/>
                  </a:lnTo>
                  <a:cubicBezTo>
                    <a:pt x="4828" y="322690"/>
                    <a:pt x="6759" y="325909"/>
                    <a:pt x="9655" y="327518"/>
                  </a:cubicBezTo>
                  <a:lnTo>
                    <a:pt x="146761" y="404761"/>
                  </a:lnTo>
                  <a:cubicBezTo>
                    <a:pt x="149658" y="406370"/>
                    <a:pt x="153198" y="406370"/>
                    <a:pt x="156095" y="404761"/>
                  </a:cubicBezTo>
                  <a:lnTo>
                    <a:pt x="293200" y="327840"/>
                  </a:lnTo>
                  <a:cubicBezTo>
                    <a:pt x="296097" y="326231"/>
                    <a:pt x="298028" y="323012"/>
                    <a:pt x="298028" y="319794"/>
                  </a:cubicBezTo>
                  <a:lnTo>
                    <a:pt x="298350" y="298230"/>
                  </a:lnTo>
                </a:path>
              </a:pathLst>
            </a:custGeom>
            <a:noFill/>
            <a:ln w="15875" cap="flat">
              <a:solidFill>
                <a:schemeClr val="tx1"/>
              </a:solidFill>
              <a:prstDash val="solid"/>
              <a:round/>
            </a:ln>
          </p:spPr>
          <p:txBody>
            <a:bodyPr rtlCol="0" anchor="ctr"/>
            <a:lstStyle/>
            <a:p>
              <a:pPr defTabSz="731504">
                <a:defRPr/>
              </a:pPr>
              <a:endParaRPr lang="en-US" sz="1800" dirty="0">
                <a:solidFill>
                  <a:srgbClr val="FFFFFF"/>
                </a:solidFill>
              </a:endParaRPr>
            </a:p>
          </p:txBody>
        </p:sp>
        <p:sp>
          <p:nvSpPr>
            <p:cNvPr id="959" name="Freeform: Shape 958">
              <a:extLst>
                <a:ext uri="{FF2B5EF4-FFF2-40B4-BE49-F238E27FC236}">
                  <a16:creationId xmlns:a16="http://schemas.microsoft.com/office/drawing/2014/main" id="{FC19E879-914D-466A-A5AE-74406D739305}"/>
                </a:ext>
              </a:extLst>
            </p:cNvPr>
            <p:cNvSpPr/>
            <p:nvPr/>
          </p:nvSpPr>
          <p:spPr>
            <a:xfrm>
              <a:off x="4695217" y="5214495"/>
              <a:ext cx="193108" cy="67587"/>
            </a:xfrm>
            <a:custGeom>
              <a:avLst/>
              <a:gdLst>
                <a:gd name="connsiteX0" fmla="*/ 4828 w 193106"/>
                <a:gd name="connsiteY0" fmla="*/ 4828 h 67587"/>
                <a:gd name="connsiteX1" fmla="*/ 189245 w 193106"/>
                <a:gd name="connsiteY1" fmla="*/ 64691 h 67587"/>
              </a:gdLst>
              <a:ahLst/>
              <a:cxnLst>
                <a:cxn ang="0">
                  <a:pos x="connsiteX0" y="connsiteY0"/>
                </a:cxn>
                <a:cxn ang="0">
                  <a:pos x="connsiteX1" y="connsiteY1"/>
                </a:cxn>
              </a:cxnLst>
              <a:rect l="l" t="t" r="r" b="b"/>
              <a:pathLst>
                <a:path w="193106" h="67587">
                  <a:moveTo>
                    <a:pt x="4828" y="4828"/>
                  </a:moveTo>
                  <a:lnTo>
                    <a:pt x="189245" y="64691"/>
                  </a:lnTo>
                </a:path>
              </a:pathLst>
            </a:custGeom>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960" name="Freeform: Shape 959">
              <a:extLst>
                <a:ext uri="{FF2B5EF4-FFF2-40B4-BE49-F238E27FC236}">
                  <a16:creationId xmlns:a16="http://schemas.microsoft.com/office/drawing/2014/main" id="{D2735F10-0276-44FC-8DEB-B6AD7D489EB8}"/>
                </a:ext>
              </a:extLst>
            </p:cNvPr>
            <p:cNvSpPr/>
            <p:nvPr/>
          </p:nvSpPr>
          <p:spPr>
            <a:xfrm>
              <a:off x="4694573" y="5105712"/>
              <a:ext cx="183451" cy="64369"/>
            </a:xfrm>
            <a:custGeom>
              <a:avLst/>
              <a:gdLst>
                <a:gd name="connsiteX0" fmla="*/ 4828 w 183451"/>
                <a:gd name="connsiteY0" fmla="*/ 4828 h 64368"/>
                <a:gd name="connsiteX1" fmla="*/ 181198 w 183451"/>
                <a:gd name="connsiteY1" fmla="*/ 59541 h 64368"/>
              </a:gdLst>
              <a:ahLst/>
              <a:cxnLst>
                <a:cxn ang="0">
                  <a:pos x="connsiteX0" y="connsiteY0"/>
                </a:cxn>
                <a:cxn ang="0">
                  <a:pos x="connsiteX1" y="connsiteY1"/>
                </a:cxn>
              </a:cxnLst>
              <a:rect l="l" t="t" r="r" b="b"/>
              <a:pathLst>
                <a:path w="183451" h="64368">
                  <a:moveTo>
                    <a:pt x="4828" y="4828"/>
                  </a:moveTo>
                  <a:lnTo>
                    <a:pt x="181198" y="59541"/>
                  </a:lnTo>
                </a:path>
              </a:pathLst>
            </a:custGeom>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961" name="Freeform: Shape 960">
              <a:extLst>
                <a:ext uri="{FF2B5EF4-FFF2-40B4-BE49-F238E27FC236}">
                  <a16:creationId xmlns:a16="http://schemas.microsoft.com/office/drawing/2014/main" id="{01AEFCCF-CE4C-47B2-B27B-217451BD5549}"/>
                </a:ext>
              </a:extLst>
            </p:cNvPr>
            <p:cNvSpPr/>
            <p:nvPr/>
          </p:nvSpPr>
          <p:spPr>
            <a:xfrm>
              <a:off x="4894435" y="5096061"/>
              <a:ext cx="193108" cy="193108"/>
            </a:xfrm>
            <a:custGeom>
              <a:avLst/>
              <a:gdLst>
                <a:gd name="connsiteX0" fmla="*/ 188279 w 193106"/>
                <a:gd name="connsiteY0" fmla="*/ 96553 h 193106"/>
                <a:gd name="connsiteX1" fmla="*/ 96553 w 193106"/>
                <a:gd name="connsiteY1" fmla="*/ 188279 h 193106"/>
                <a:gd name="connsiteX2" fmla="*/ 4828 w 193106"/>
                <a:gd name="connsiteY2" fmla="*/ 96553 h 193106"/>
                <a:gd name="connsiteX3" fmla="*/ 96553 w 193106"/>
                <a:gd name="connsiteY3" fmla="*/ 4828 h 193106"/>
                <a:gd name="connsiteX4" fmla="*/ 188279 w 193106"/>
                <a:gd name="connsiteY4" fmla="*/ 96553 h 193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106" h="193106">
                  <a:moveTo>
                    <a:pt x="188279" y="96553"/>
                  </a:moveTo>
                  <a:cubicBezTo>
                    <a:pt x="188279" y="147212"/>
                    <a:pt x="147212" y="188279"/>
                    <a:pt x="96553" y="188279"/>
                  </a:cubicBezTo>
                  <a:cubicBezTo>
                    <a:pt x="45895" y="188279"/>
                    <a:pt x="4828" y="147212"/>
                    <a:pt x="4828" y="96553"/>
                  </a:cubicBezTo>
                  <a:cubicBezTo>
                    <a:pt x="4828" y="45895"/>
                    <a:pt x="45895" y="4828"/>
                    <a:pt x="96553" y="4828"/>
                  </a:cubicBezTo>
                  <a:cubicBezTo>
                    <a:pt x="147212" y="4828"/>
                    <a:pt x="188279" y="45895"/>
                    <a:pt x="188279" y="96553"/>
                  </a:cubicBezTo>
                  <a:close/>
                </a:path>
              </a:pathLst>
            </a:custGeom>
            <a:noFill/>
            <a:ln w="15875" cap="flat">
              <a:solidFill>
                <a:srgbClr val="A166FF"/>
              </a:solidFill>
              <a:prstDash val="solid"/>
              <a:round/>
            </a:ln>
          </p:spPr>
          <p:txBody>
            <a:bodyPr rtlCol="0" anchor="ctr"/>
            <a:lstStyle/>
            <a:p>
              <a:pPr defTabSz="731504">
                <a:defRPr/>
              </a:pPr>
              <a:endParaRPr lang="en-US" sz="1800">
                <a:solidFill>
                  <a:srgbClr val="FFFFFF"/>
                </a:solidFill>
              </a:endParaRPr>
            </a:p>
          </p:txBody>
        </p:sp>
        <p:sp>
          <p:nvSpPr>
            <p:cNvPr id="962" name="Freeform: Shape 961">
              <a:extLst>
                <a:ext uri="{FF2B5EF4-FFF2-40B4-BE49-F238E27FC236}">
                  <a16:creationId xmlns:a16="http://schemas.microsoft.com/office/drawing/2014/main" id="{5492607B-9599-4263-AC6F-4EEDB83428E2}"/>
                </a:ext>
              </a:extLst>
            </p:cNvPr>
            <p:cNvSpPr/>
            <p:nvPr/>
          </p:nvSpPr>
          <p:spPr>
            <a:xfrm>
              <a:off x="4937228" y="5155580"/>
              <a:ext cx="102990" cy="77243"/>
            </a:xfrm>
            <a:custGeom>
              <a:avLst/>
              <a:gdLst>
                <a:gd name="connsiteX0" fmla="*/ 4828 w 102990"/>
                <a:gd name="connsiteY0" fmla="*/ 45380 h 77242"/>
                <a:gd name="connsiteX1" fmla="*/ 32506 w 102990"/>
                <a:gd name="connsiteY1" fmla="*/ 73059 h 77242"/>
                <a:gd name="connsiteX2" fmla="*/ 100737 w 102990"/>
                <a:gd name="connsiteY2" fmla="*/ 4828 h 77242"/>
              </a:gdLst>
              <a:ahLst/>
              <a:cxnLst>
                <a:cxn ang="0">
                  <a:pos x="connsiteX0" y="connsiteY0"/>
                </a:cxn>
                <a:cxn ang="0">
                  <a:pos x="connsiteX1" y="connsiteY1"/>
                </a:cxn>
                <a:cxn ang="0">
                  <a:pos x="connsiteX2" y="connsiteY2"/>
                </a:cxn>
              </a:cxnLst>
              <a:rect l="l" t="t" r="r" b="b"/>
              <a:pathLst>
                <a:path w="102990" h="77242">
                  <a:moveTo>
                    <a:pt x="4828" y="45380"/>
                  </a:moveTo>
                  <a:lnTo>
                    <a:pt x="32506" y="73059"/>
                  </a:lnTo>
                  <a:lnTo>
                    <a:pt x="100737" y="4828"/>
                  </a:lnTo>
                </a:path>
              </a:pathLst>
            </a:custGeom>
            <a:noFill/>
            <a:ln w="15875" cap="flat">
              <a:solidFill>
                <a:srgbClr val="A166FF"/>
              </a:solidFill>
              <a:prstDash val="solid"/>
              <a:round/>
            </a:ln>
          </p:spPr>
          <p:txBody>
            <a:bodyPr rtlCol="0" anchor="ctr"/>
            <a:lstStyle/>
            <a:p>
              <a:pPr defTabSz="731504">
                <a:defRPr/>
              </a:pPr>
              <a:endParaRPr lang="en-US" sz="1800">
                <a:solidFill>
                  <a:srgbClr val="FFFFFF"/>
                </a:solidFill>
              </a:endParaRPr>
            </a:p>
          </p:txBody>
        </p:sp>
      </p:grpSp>
      <p:grpSp>
        <p:nvGrpSpPr>
          <p:cNvPr id="963" name="Group 962">
            <a:extLst>
              <a:ext uri="{FF2B5EF4-FFF2-40B4-BE49-F238E27FC236}">
                <a16:creationId xmlns:a16="http://schemas.microsoft.com/office/drawing/2014/main" id="{2F5786EF-B5D7-472C-9CEE-922F6990069F}"/>
              </a:ext>
            </a:extLst>
          </p:cNvPr>
          <p:cNvGrpSpPr/>
          <p:nvPr/>
        </p:nvGrpSpPr>
        <p:grpSpPr>
          <a:xfrm>
            <a:off x="7012775" y="2693296"/>
            <a:ext cx="991854" cy="732723"/>
            <a:chOff x="8713234" y="4630665"/>
            <a:chExt cx="886841" cy="655145"/>
          </a:xfrm>
        </p:grpSpPr>
        <p:grpSp>
          <p:nvGrpSpPr>
            <p:cNvPr id="964" name="Graphic 188">
              <a:extLst>
                <a:ext uri="{FF2B5EF4-FFF2-40B4-BE49-F238E27FC236}">
                  <a16:creationId xmlns:a16="http://schemas.microsoft.com/office/drawing/2014/main" id="{7F0224D7-59B4-4D27-BAD7-77C43E337A2E}"/>
                </a:ext>
              </a:extLst>
            </p:cNvPr>
            <p:cNvGrpSpPr/>
            <p:nvPr/>
          </p:nvGrpSpPr>
          <p:grpSpPr>
            <a:xfrm>
              <a:off x="8963026" y="4756150"/>
              <a:ext cx="637049" cy="529660"/>
              <a:chOff x="6479413" y="4391524"/>
              <a:chExt cx="450582" cy="374626"/>
            </a:xfrm>
          </p:grpSpPr>
          <p:sp>
            <p:nvSpPr>
              <p:cNvPr id="978" name="Freeform: Shape 977">
                <a:extLst>
                  <a:ext uri="{FF2B5EF4-FFF2-40B4-BE49-F238E27FC236}">
                    <a16:creationId xmlns:a16="http://schemas.microsoft.com/office/drawing/2014/main" id="{C5648868-68C3-45CB-AFB9-0E8A27BD7078}"/>
                  </a:ext>
                </a:extLst>
              </p:cNvPr>
              <p:cNvSpPr/>
              <p:nvPr/>
            </p:nvSpPr>
            <p:spPr>
              <a:xfrm>
                <a:off x="6479413" y="4466835"/>
                <a:ext cx="450582" cy="299315"/>
              </a:xfrm>
              <a:custGeom>
                <a:avLst/>
                <a:gdLst>
                  <a:gd name="connsiteX0" fmla="*/ 437709 w 450582"/>
                  <a:gd name="connsiteY0" fmla="*/ 297384 h 299315"/>
                  <a:gd name="connsiteX1" fmla="*/ 12874 w 450582"/>
                  <a:gd name="connsiteY1" fmla="*/ 297384 h 299315"/>
                  <a:gd name="connsiteX2" fmla="*/ 4828 w 450582"/>
                  <a:gd name="connsiteY2" fmla="*/ 289338 h 299315"/>
                  <a:gd name="connsiteX3" fmla="*/ 4828 w 450582"/>
                  <a:gd name="connsiteY3" fmla="*/ 12874 h 299315"/>
                  <a:gd name="connsiteX4" fmla="*/ 12874 w 450582"/>
                  <a:gd name="connsiteY4" fmla="*/ 4828 h 299315"/>
                  <a:gd name="connsiteX5" fmla="*/ 437709 w 450582"/>
                  <a:gd name="connsiteY5" fmla="*/ 4828 h 299315"/>
                  <a:gd name="connsiteX6" fmla="*/ 445755 w 450582"/>
                  <a:gd name="connsiteY6" fmla="*/ 12874 h 299315"/>
                  <a:gd name="connsiteX7" fmla="*/ 445755 w 450582"/>
                  <a:gd name="connsiteY7" fmla="*/ 289338 h 299315"/>
                  <a:gd name="connsiteX8" fmla="*/ 437709 w 450582"/>
                  <a:gd name="connsiteY8" fmla="*/ 297384 h 299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0582" h="299315">
                    <a:moveTo>
                      <a:pt x="437709" y="297384"/>
                    </a:moveTo>
                    <a:lnTo>
                      <a:pt x="12874" y="297384"/>
                    </a:lnTo>
                    <a:cubicBezTo>
                      <a:pt x="8368" y="297384"/>
                      <a:pt x="4828" y="293844"/>
                      <a:pt x="4828" y="289338"/>
                    </a:cubicBezTo>
                    <a:lnTo>
                      <a:pt x="4828" y="12874"/>
                    </a:lnTo>
                    <a:cubicBezTo>
                      <a:pt x="4828" y="8368"/>
                      <a:pt x="8368" y="4828"/>
                      <a:pt x="12874" y="4828"/>
                    </a:cubicBezTo>
                    <a:lnTo>
                      <a:pt x="437709" y="4828"/>
                    </a:lnTo>
                    <a:cubicBezTo>
                      <a:pt x="442214" y="4828"/>
                      <a:pt x="445755" y="8368"/>
                      <a:pt x="445755" y="12874"/>
                    </a:cubicBezTo>
                    <a:lnTo>
                      <a:pt x="445755" y="289338"/>
                    </a:lnTo>
                    <a:cubicBezTo>
                      <a:pt x="445755" y="293844"/>
                      <a:pt x="441893" y="297384"/>
                      <a:pt x="437709" y="297384"/>
                    </a:cubicBezTo>
                    <a:close/>
                  </a:path>
                </a:pathLst>
              </a:custGeom>
              <a:noFill/>
              <a:ln w="15875" cap="flat">
                <a:solidFill>
                  <a:schemeClr val="tx1"/>
                </a:solidFill>
                <a:prstDash val="solid"/>
                <a:round/>
              </a:ln>
            </p:spPr>
            <p:txBody>
              <a:bodyPr rtlCol="0" anchor="ctr"/>
              <a:lstStyle/>
              <a:p>
                <a:pPr defTabSz="731504">
                  <a:defRPr/>
                </a:pPr>
                <a:endParaRPr lang="en-US" sz="1800" dirty="0">
                  <a:solidFill>
                    <a:srgbClr val="FFFFFF"/>
                  </a:solidFill>
                </a:endParaRPr>
              </a:p>
            </p:txBody>
          </p:sp>
          <p:sp>
            <p:nvSpPr>
              <p:cNvPr id="979" name="Freeform: Shape 978">
                <a:extLst>
                  <a:ext uri="{FF2B5EF4-FFF2-40B4-BE49-F238E27FC236}">
                    <a16:creationId xmlns:a16="http://schemas.microsoft.com/office/drawing/2014/main" id="{FB9148E8-28A4-4A24-B509-8D0B6D7ECEEE}"/>
                  </a:ext>
                </a:extLst>
              </p:cNvPr>
              <p:cNvSpPr/>
              <p:nvPr/>
            </p:nvSpPr>
            <p:spPr>
              <a:xfrm>
                <a:off x="6619738" y="4391524"/>
                <a:ext cx="167359" cy="67587"/>
              </a:xfrm>
              <a:custGeom>
                <a:avLst/>
                <a:gdLst>
                  <a:gd name="connsiteX0" fmla="*/ 165106 w 167359"/>
                  <a:gd name="connsiteY0" fmla="*/ 62760 h 67587"/>
                  <a:gd name="connsiteX1" fmla="*/ 165106 w 167359"/>
                  <a:gd name="connsiteY1" fmla="*/ 10943 h 67587"/>
                  <a:gd name="connsiteX2" fmla="*/ 158991 w 167359"/>
                  <a:gd name="connsiteY2" fmla="*/ 4828 h 67587"/>
                  <a:gd name="connsiteX3" fmla="*/ 10943 w 167359"/>
                  <a:gd name="connsiteY3" fmla="*/ 4828 h 67587"/>
                  <a:gd name="connsiteX4" fmla="*/ 4828 w 167359"/>
                  <a:gd name="connsiteY4" fmla="*/ 10943 h 67587"/>
                  <a:gd name="connsiteX5" fmla="*/ 4828 w 167359"/>
                  <a:gd name="connsiteY5" fmla="*/ 62760 h 67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359" h="67587">
                    <a:moveTo>
                      <a:pt x="165106" y="62760"/>
                    </a:moveTo>
                    <a:lnTo>
                      <a:pt x="165106" y="10943"/>
                    </a:lnTo>
                    <a:cubicBezTo>
                      <a:pt x="165106" y="7402"/>
                      <a:pt x="162210" y="4828"/>
                      <a:pt x="158991" y="4828"/>
                    </a:cubicBezTo>
                    <a:lnTo>
                      <a:pt x="10943" y="4828"/>
                    </a:lnTo>
                    <a:cubicBezTo>
                      <a:pt x="7402" y="4828"/>
                      <a:pt x="4828" y="7724"/>
                      <a:pt x="4828" y="10943"/>
                    </a:cubicBezTo>
                    <a:lnTo>
                      <a:pt x="4828" y="62760"/>
                    </a:lnTo>
                  </a:path>
                </a:pathLst>
              </a:custGeom>
              <a:noFill/>
              <a:ln w="15875" cap="flat">
                <a:solidFill>
                  <a:srgbClr val="A166FF"/>
                </a:solidFill>
                <a:prstDash val="solid"/>
                <a:round/>
              </a:ln>
            </p:spPr>
            <p:txBody>
              <a:bodyPr rtlCol="0" anchor="ctr"/>
              <a:lstStyle/>
              <a:p>
                <a:pPr defTabSz="731504">
                  <a:defRPr/>
                </a:pPr>
                <a:endParaRPr lang="en-US" sz="1800" dirty="0">
                  <a:solidFill>
                    <a:srgbClr val="FFFFFF"/>
                  </a:solidFill>
                </a:endParaRPr>
              </a:p>
            </p:txBody>
          </p:sp>
          <p:sp>
            <p:nvSpPr>
              <p:cNvPr id="980" name="Freeform: Shape 979">
                <a:extLst>
                  <a:ext uri="{FF2B5EF4-FFF2-40B4-BE49-F238E27FC236}">
                    <a16:creationId xmlns:a16="http://schemas.microsoft.com/office/drawing/2014/main" id="{4F8FE0EE-6C97-4404-9624-8EE9A370D21C}"/>
                  </a:ext>
                </a:extLst>
              </p:cNvPr>
              <p:cNvSpPr/>
              <p:nvPr/>
            </p:nvSpPr>
            <p:spPr>
              <a:xfrm>
                <a:off x="6648382" y="4419202"/>
                <a:ext cx="112646" cy="38621"/>
              </a:xfrm>
              <a:custGeom>
                <a:avLst/>
                <a:gdLst>
                  <a:gd name="connsiteX0" fmla="*/ 4828 w 112645"/>
                  <a:gd name="connsiteY0" fmla="*/ 36047 h 38621"/>
                  <a:gd name="connsiteX1" fmla="*/ 4828 w 112645"/>
                  <a:gd name="connsiteY1" fmla="*/ 4828 h 38621"/>
                  <a:gd name="connsiteX2" fmla="*/ 107818 w 112645"/>
                  <a:gd name="connsiteY2" fmla="*/ 4828 h 38621"/>
                  <a:gd name="connsiteX3" fmla="*/ 107818 w 112645"/>
                  <a:gd name="connsiteY3" fmla="*/ 36047 h 38621"/>
                </a:gdLst>
                <a:ahLst/>
                <a:cxnLst>
                  <a:cxn ang="0">
                    <a:pos x="connsiteX0" y="connsiteY0"/>
                  </a:cxn>
                  <a:cxn ang="0">
                    <a:pos x="connsiteX1" y="connsiteY1"/>
                  </a:cxn>
                  <a:cxn ang="0">
                    <a:pos x="connsiteX2" y="connsiteY2"/>
                  </a:cxn>
                  <a:cxn ang="0">
                    <a:pos x="connsiteX3" y="connsiteY3"/>
                  </a:cxn>
                </a:cxnLst>
                <a:rect l="l" t="t" r="r" b="b"/>
                <a:pathLst>
                  <a:path w="112645" h="38621">
                    <a:moveTo>
                      <a:pt x="4828" y="36047"/>
                    </a:moveTo>
                    <a:lnTo>
                      <a:pt x="4828" y="4828"/>
                    </a:lnTo>
                    <a:lnTo>
                      <a:pt x="107818" y="4828"/>
                    </a:lnTo>
                    <a:lnTo>
                      <a:pt x="107818" y="36047"/>
                    </a:lnTo>
                  </a:path>
                </a:pathLst>
              </a:custGeom>
              <a:noFill/>
              <a:ln w="15875" cap="flat">
                <a:solidFill>
                  <a:srgbClr val="A166FF"/>
                </a:solidFill>
                <a:prstDash val="solid"/>
                <a:round/>
              </a:ln>
            </p:spPr>
            <p:txBody>
              <a:bodyPr rtlCol="0" anchor="ctr"/>
              <a:lstStyle/>
              <a:p>
                <a:pPr defTabSz="731504">
                  <a:defRPr/>
                </a:pPr>
                <a:endParaRPr lang="en-US" sz="1800" dirty="0">
                  <a:solidFill>
                    <a:srgbClr val="FFFFFF"/>
                  </a:solidFill>
                </a:endParaRPr>
              </a:p>
            </p:txBody>
          </p:sp>
          <p:sp>
            <p:nvSpPr>
              <p:cNvPr id="981" name="Freeform: Shape 980">
                <a:extLst>
                  <a:ext uri="{FF2B5EF4-FFF2-40B4-BE49-F238E27FC236}">
                    <a16:creationId xmlns:a16="http://schemas.microsoft.com/office/drawing/2014/main" id="{BCC2E66A-A7AF-4FE8-A7D3-A526AA1D9C48}"/>
                  </a:ext>
                </a:extLst>
              </p:cNvPr>
              <p:cNvSpPr/>
              <p:nvPr/>
            </p:nvSpPr>
            <p:spPr>
              <a:xfrm>
                <a:off x="6565024" y="4487433"/>
                <a:ext cx="9655" cy="257476"/>
              </a:xfrm>
              <a:custGeom>
                <a:avLst/>
                <a:gdLst>
                  <a:gd name="connsiteX0" fmla="*/ 4828 w 9655"/>
                  <a:gd name="connsiteY0" fmla="*/ 4828 h 257475"/>
                  <a:gd name="connsiteX1" fmla="*/ 4828 w 9655"/>
                  <a:gd name="connsiteY1" fmla="*/ 253935 h 257475"/>
                </a:gdLst>
                <a:ahLst/>
                <a:cxnLst>
                  <a:cxn ang="0">
                    <a:pos x="connsiteX0" y="connsiteY0"/>
                  </a:cxn>
                  <a:cxn ang="0">
                    <a:pos x="connsiteX1" y="connsiteY1"/>
                  </a:cxn>
                </a:cxnLst>
                <a:rect l="l" t="t" r="r" b="b"/>
                <a:pathLst>
                  <a:path w="9655" h="257475">
                    <a:moveTo>
                      <a:pt x="4828" y="4828"/>
                    </a:moveTo>
                    <a:lnTo>
                      <a:pt x="4828" y="253935"/>
                    </a:lnTo>
                  </a:path>
                </a:pathLst>
              </a:custGeom>
              <a:noFill/>
              <a:ln w="15875" cap="flat">
                <a:solidFill>
                  <a:srgbClr val="A166FF"/>
                </a:solidFill>
                <a:prstDash val="solid"/>
                <a:round/>
              </a:ln>
            </p:spPr>
            <p:txBody>
              <a:bodyPr rtlCol="0" anchor="ctr"/>
              <a:lstStyle/>
              <a:p>
                <a:pPr defTabSz="731504">
                  <a:defRPr/>
                </a:pPr>
                <a:endParaRPr lang="en-US" sz="1800">
                  <a:solidFill>
                    <a:srgbClr val="FFFFFF"/>
                  </a:solidFill>
                </a:endParaRPr>
              </a:p>
            </p:txBody>
          </p:sp>
          <p:sp>
            <p:nvSpPr>
              <p:cNvPr id="982" name="Freeform: Shape 981">
                <a:extLst>
                  <a:ext uri="{FF2B5EF4-FFF2-40B4-BE49-F238E27FC236}">
                    <a16:creationId xmlns:a16="http://schemas.microsoft.com/office/drawing/2014/main" id="{F95D45E0-A19E-4BEE-80A7-7DAC54A8986A}"/>
                  </a:ext>
                </a:extLst>
              </p:cNvPr>
              <p:cNvSpPr/>
              <p:nvPr/>
            </p:nvSpPr>
            <p:spPr>
              <a:xfrm>
                <a:off x="6830546" y="4487433"/>
                <a:ext cx="9655" cy="257476"/>
              </a:xfrm>
              <a:custGeom>
                <a:avLst/>
                <a:gdLst>
                  <a:gd name="connsiteX0" fmla="*/ 4828 w 9655"/>
                  <a:gd name="connsiteY0" fmla="*/ 4828 h 257475"/>
                  <a:gd name="connsiteX1" fmla="*/ 4828 w 9655"/>
                  <a:gd name="connsiteY1" fmla="*/ 253935 h 257475"/>
                </a:gdLst>
                <a:ahLst/>
                <a:cxnLst>
                  <a:cxn ang="0">
                    <a:pos x="connsiteX0" y="connsiteY0"/>
                  </a:cxn>
                  <a:cxn ang="0">
                    <a:pos x="connsiteX1" y="connsiteY1"/>
                  </a:cxn>
                </a:cxnLst>
                <a:rect l="l" t="t" r="r" b="b"/>
                <a:pathLst>
                  <a:path w="9655" h="257475">
                    <a:moveTo>
                      <a:pt x="4828" y="4828"/>
                    </a:moveTo>
                    <a:lnTo>
                      <a:pt x="4828" y="253935"/>
                    </a:lnTo>
                  </a:path>
                </a:pathLst>
              </a:custGeom>
              <a:noFill/>
              <a:ln w="15875" cap="flat">
                <a:solidFill>
                  <a:srgbClr val="A166FF"/>
                </a:solidFill>
                <a:prstDash val="solid"/>
                <a:round/>
              </a:ln>
            </p:spPr>
            <p:txBody>
              <a:bodyPr rtlCol="0" anchor="ctr"/>
              <a:lstStyle/>
              <a:p>
                <a:pPr defTabSz="731504">
                  <a:defRPr/>
                </a:pPr>
                <a:endParaRPr lang="en-US" sz="1800" dirty="0">
                  <a:solidFill>
                    <a:srgbClr val="FFFFFF"/>
                  </a:solidFill>
                </a:endParaRPr>
              </a:p>
            </p:txBody>
          </p:sp>
        </p:grpSp>
        <p:grpSp>
          <p:nvGrpSpPr>
            <p:cNvPr id="965" name="Graphic 240">
              <a:extLst>
                <a:ext uri="{FF2B5EF4-FFF2-40B4-BE49-F238E27FC236}">
                  <a16:creationId xmlns:a16="http://schemas.microsoft.com/office/drawing/2014/main" id="{34C05F57-9153-4C3F-962A-CFAB78D4A912}"/>
                </a:ext>
              </a:extLst>
            </p:cNvPr>
            <p:cNvGrpSpPr/>
            <p:nvPr/>
          </p:nvGrpSpPr>
          <p:grpSpPr>
            <a:xfrm rot="20323668">
              <a:off x="8713234" y="4630665"/>
              <a:ext cx="378619" cy="430874"/>
              <a:chOff x="6198099" y="404917"/>
              <a:chExt cx="417431" cy="475043"/>
            </a:xfrm>
          </p:grpSpPr>
          <p:sp>
            <p:nvSpPr>
              <p:cNvPr id="966" name="Freeform: Shape 965">
                <a:extLst>
                  <a:ext uri="{FF2B5EF4-FFF2-40B4-BE49-F238E27FC236}">
                    <a16:creationId xmlns:a16="http://schemas.microsoft.com/office/drawing/2014/main" id="{ED40453D-04CD-43DA-A170-854134FB620D}"/>
                  </a:ext>
                </a:extLst>
              </p:cNvPr>
              <p:cNvSpPr/>
              <p:nvPr/>
            </p:nvSpPr>
            <p:spPr>
              <a:xfrm>
                <a:off x="6272445" y="480229"/>
                <a:ext cx="270349" cy="308971"/>
              </a:xfrm>
              <a:custGeom>
                <a:avLst/>
                <a:gdLst>
                  <a:gd name="connsiteX0" fmla="*/ 265522 w 270349"/>
                  <a:gd name="connsiteY0" fmla="*/ 135175 h 308970"/>
                  <a:gd name="connsiteX1" fmla="*/ 135175 w 270349"/>
                  <a:gd name="connsiteY1" fmla="*/ 4828 h 308970"/>
                  <a:gd name="connsiteX2" fmla="*/ 4828 w 270349"/>
                  <a:gd name="connsiteY2" fmla="*/ 135175 h 308970"/>
                  <a:gd name="connsiteX3" fmla="*/ 78852 w 270349"/>
                  <a:gd name="connsiteY3" fmla="*/ 252648 h 308970"/>
                  <a:gd name="connsiteX4" fmla="*/ 78852 w 270349"/>
                  <a:gd name="connsiteY4" fmla="*/ 305109 h 308970"/>
                  <a:gd name="connsiteX5" fmla="*/ 191497 w 270349"/>
                  <a:gd name="connsiteY5" fmla="*/ 305109 h 308970"/>
                  <a:gd name="connsiteX6" fmla="*/ 191497 w 270349"/>
                  <a:gd name="connsiteY6" fmla="*/ 252648 h 308970"/>
                  <a:gd name="connsiteX7" fmla="*/ 265522 w 270349"/>
                  <a:gd name="connsiteY7" fmla="*/ 135175 h 30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349" h="308970">
                    <a:moveTo>
                      <a:pt x="265522" y="135175"/>
                    </a:moveTo>
                    <a:cubicBezTo>
                      <a:pt x="265522" y="63082"/>
                      <a:pt x="207268" y="4828"/>
                      <a:pt x="135175" y="4828"/>
                    </a:cubicBezTo>
                    <a:cubicBezTo>
                      <a:pt x="63082" y="4828"/>
                      <a:pt x="4828" y="63082"/>
                      <a:pt x="4828" y="135175"/>
                    </a:cubicBezTo>
                    <a:cubicBezTo>
                      <a:pt x="4828" y="186992"/>
                      <a:pt x="35081" y="231728"/>
                      <a:pt x="78852" y="252648"/>
                    </a:cubicBezTo>
                    <a:lnTo>
                      <a:pt x="78852" y="305109"/>
                    </a:lnTo>
                    <a:lnTo>
                      <a:pt x="191497" y="305109"/>
                    </a:lnTo>
                    <a:lnTo>
                      <a:pt x="191497" y="252648"/>
                    </a:lnTo>
                    <a:cubicBezTo>
                      <a:pt x="235268" y="231728"/>
                      <a:pt x="265522" y="186992"/>
                      <a:pt x="265522" y="135175"/>
                    </a:cubicBezTo>
                    <a:close/>
                  </a:path>
                </a:pathLst>
              </a:custGeom>
              <a:solidFill>
                <a:schemeClr val="bg1"/>
              </a:solidFill>
              <a:ln w="15875" cap="flat">
                <a:solidFill>
                  <a:schemeClr val="tx1"/>
                </a:solidFill>
                <a:prstDash val="solid"/>
                <a:round/>
              </a:ln>
            </p:spPr>
            <p:txBody>
              <a:bodyPr rtlCol="0" anchor="ctr"/>
              <a:lstStyle/>
              <a:p>
                <a:pPr defTabSz="731504">
                  <a:defRPr/>
                </a:pPr>
                <a:endParaRPr lang="en-US" sz="1800" dirty="0">
                  <a:solidFill>
                    <a:srgbClr val="FFFFFF"/>
                  </a:solidFill>
                </a:endParaRPr>
              </a:p>
            </p:txBody>
          </p:sp>
          <p:sp>
            <p:nvSpPr>
              <p:cNvPr id="967" name="Freeform: Shape 966">
                <a:extLst>
                  <a:ext uri="{FF2B5EF4-FFF2-40B4-BE49-F238E27FC236}">
                    <a16:creationId xmlns:a16="http://schemas.microsoft.com/office/drawing/2014/main" id="{70A02E2B-F803-4655-A71A-DFA6E15A694E}"/>
                  </a:ext>
                </a:extLst>
              </p:cNvPr>
              <p:cNvSpPr/>
              <p:nvPr/>
            </p:nvSpPr>
            <p:spPr>
              <a:xfrm>
                <a:off x="6402792" y="664324"/>
                <a:ext cx="9655" cy="125519"/>
              </a:xfrm>
              <a:custGeom>
                <a:avLst/>
                <a:gdLst>
                  <a:gd name="connsiteX0" fmla="*/ 4828 w 9655"/>
                  <a:gd name="connsiteY0" fmla="*/ 121014 h 125519"/>
                  <a:gd name="connsiteX1" fmla="*/ 4828 w 9655"/>
                  <a:gd name="connsiteY1" fmla="*/ 4828 h 125519"/>
                </a:gdLst>
                <a:ahLst/>
                <a:cxnLst>
                  <a:cxn ang="0">
                    <a:pos x="connsiteX0" y="connsiteY0"/>
                  </a:cxn>
                  <a:cxn ang="0">
                    <a:pos x="connsiteX1" y="connsiteY1"/>
                  </a:cxn>
                </a:cxnLst>
                <a:rect l="l" t="t" r="r" b="b"/>
                <a:pathLst>
                  <a:path w="9655" h="125519">
                    <a:moveTo>
                      <a:pt x="4828" y="121014"/>
                    </a:moveTo>
                    <a:lnTo>
                      <a:pt x="4828" y="4828"/>
                    </a:lnTo>
                  </a:path>
                </a:pathLst>
              </a:custGeom>
              <a:noFill/>
              <a:ln w="15875" cap="flat">
                <a:solidFill>
                  <a:srgbClr val="A166FF"/>
                </a:solidFill>
                <a:prstDash val="solid"/>
                <a:round/>
              </a:ln>
            </p:spPr>
            <p:txBody>
              <a:bodyPr rtlCol="0" anchor="ctr"/>
              <a:lstStyle/>
              <a:p>
                <a:pPr defTabSz="731504">
                  <a:defRPr/>
                </a:pPr>
                <a:endParaRPr lang="en-US" sz="1800">
                  <a:solidFill>
                    <a:srgbClr val="FFFFFF"/>
                  </a:solidFill>
                </a:endParaRPr>
              </a:p>
            </p:txBody>
          </p:sp>
          <p:sp>
            <p:nvSpPr>
              <p:cNvPr id="968" name="Freeform: Shape 967">
                <a:extLst>
                  <a:ext uri="{FF2B5EF4-FFF2-40B4-BE49-F238E27FC236}">
                    <a16:creationId xmlns:a16="http://schemas.microsoft.com/office/drawing/2014/main" id="{1777F6A6-5B2B-475E-B7EC-63F5CD3DDC9B}"/>
                  </a:ext>
                </a:extLst>
              </p:cNvPr>
              <p:cNvSpPr/>
              <p:nvPr/>
            </p:nvSpPr>
            <p:spPr>
              <a:xfrm>
                <a:off x="6373826" y="663358"/>
                <a:ext cx="67587" cy="9655"/>
              </a:xfrm>
              <a:custGeom>
                <a:avLst/>
                <a:gdLst>
                  <a:gd name="connsiteX0" fmla="*/ 4828 w 67587"/>
                  <a:gd name="connsiteY0" fmla="*/ 4828 h 9655"/>
                  <a:gd name="connsiteX1" fmla="*/ 62760 w 67587"/>
                  <a:gd name="connsiteY1" fmla="*/ 4828 h 9655"/>
                </a:gdLst>
                <a:ahLst/>
                <a:cxnLst>
                  <a:cxn ang="0">
                    <a:pos x="connsiteX0" y="connsiteY0"/>
                  </a:cxn>
                  <a:cxn ang="0">
                    <a:pos x="connsiteX1" y="connsiteY1"/>
                  </a:cxn>
                </a:cxnLst>
                <a:rect l="l" t="t" r="r" b="b"/>
                <a:pathLst>
                  <a:path w="67587" h="9655">
                    <a:moveTo>
                      <a:pt x="4828" y="4828"/>
                    </a:moveTo>
                    <a:lnTo>
                      <a:pt x="62760" y="4828"/>
                    </a:lnTo>
                  </a:path>
                </a:pathLst>
              </a:custGeom>
              <a:noFill/>
              <a:ln w="15875" cap="flat">
                <a:solidFill>
                  <a:srgbClr val="A166FF"/>
                </a:solidFill>
                <a:prstDash val="solid"/>
                <a:round/>
              </a:ln>
            </p:spPr>
            <p:txBody>
              <a:bodyPr rtlCol="0" anchor="ctr"/>
              <a:lstStyle/>
              <a:p>
                <a:pPr defTabSz="731504">
                  <a:defRPr/>
                </a:pPr>
                <a:endParaRPr lang="en-US" sz="1800">
                  <a:solidFill>
                    <a:srgbClr val="FFFFFF"/>
                  </a:solidFill>
                </a:endParaRPr>
              </a:p>
            </p:txBody>
          </p:sp>
          <p:sp>
            <p:nvSpPr>
              <p:cNvPr id="969" name="Freeform: Shape 968">
                <a:extLst>
                  <a:ext uri="{FF2B5EF4-FFF2-40B4-BE49-F238E27FC236}">
                    <a16:creationId xmlns:a16="http://schemas.microsoft.com/office/drawing/2014/main" id="{C778FD4A-F983-4469-B919-CC888E56B418}"/>
                  </a:ext>
                </a:extLst>
              </p:cNvPr>
              <p:cNvSpPr/>
              <p:nvPr/>
            </p:nvSpPr>
            <p:spPr>
              <a:xfrm>
                <a:off x="6318147" y="404917"/>
                <a:ext cx="28966" cy="61150"/>
              </a:xfrm>
              <a:custGeom>
                <a:avLst/>
                <a:gdLst>
                  <a:gd name="connsiteX0" fmla="*/ 26713 w 28966"/>
                  <a:gd name="connsiteY0" fmla="*/ 57610 h 61150"/>
                  <a:gd name="connsiteX1" fmla="*/ 4828 w 28966"/>
                  <a:gd name="connsiteY1" fmla="*/ 4828 h 61150"/>
                </a:gdLst>
                <a:ahLst/>
                <a:cxnLst>
                  <a:cxn ang="0">
                    <a:pos x="connsiteX0" y="connsiteY0"/>
                  </a:cxn>
                  <a:cxn ang="0">
                    <a:pos x="connsiteX1" y="connsiteY1"/>
                  </a:cxn>
                </a:cxnLst>
                <a:rect l="l" t="t" r="r" b="b"/>
                <a:pathLst>
                  <a:path w="28966" h="61150">
                    <a:moveTo>
                      <a:pt x="26713" y="57610"/>
                    </a:moveTo>
                    <a:lnTo>
                      <a:pt x="4828" y="4828"/>
                    </a:lnTo>
                  </a:path>
                </a:pathLst>
              </a:custGeom>
              <a:noFill/>
              <a:ln w="15875" cap="flat">
                <a:solidFill>
                  <a:srgbClr val="A166FF"/>
                </a:solidFill>
                <a:prstDash val="solid"/>
                <a:round/>
              </a:ln>
            </p:spPr>
            <p:txBody>
              <a:bodyPr rtlCol="0" anchor="ctr"/>
              <a:lstStyle/>
              <a:p>
                <a:pPr defTabSz="731504">
                  <a:defRPr/>
                </a:pPr>
                <a:endParaRPr lang="en-US" sz="1800">
                  <a:solidFill>
                    <a:srgbClr val="FFFFFF"/>
                  </a:solidFill>
                </a:endParaRPr>
              </a:p>
            </p:txBody>
          </p:sp>
          <p:sp>
            <p:nvSpPr>
              <p:cNvPr id="970" name="Freeform: Shape 969">
                <a:extLst>
                  <a:ext uri="{FF2B5EF4-FFF2-40B4-BE49-F238E27FC236}">
                    <a16:creationId xmlns:a16="http://schemas.microsoft.com/office/drawing/2014/main" id="{DB2B0D13-B010-4387-B3AF-C8AA3DF5781A}"/>
                  </a:ext>
                </a:extLst>
              </p:cNvPr>
              <p:cNvSpPr/>
              <p:nvPr/>
            </p:nvSpPr>
            <p:spPr>
              <a:xfrm>
                <a:off x="6198099" y="672048"/>
                <a:ext cx="61150" cy="28966"/>
              </a:xfrm>
              <a:custGeom>
                <a:avLst/>
                <a:gdLst>
                  <a:gd name="connsiteX0" fmla="*/ 4828 w 61150"/>
                  <a:gd name="connsiteY0" fmla="*/ 27035 h 28966"/>
                  <a:gd name="connsiteX1" fmla="*/ 57932 w 61150"/>
                  <a:gd name="connsiteY1" fmla="*/ 4828 h 28966"/>
                </a:gdLst>
                <a:ahLst/>
                <a:cxnLst>
                  <a:cxn ang="0">
                    <a:pos x="connsiteX0" y="connsiteY0"/>
                  </a:cxn>
                  <a:cxn ang="0">
                    <a:pos x="connsiteX1" y="connsiteY1"/>
                  </a:cxn>
                </a:cxnLst>
                <a:rect l="l" t="t" r="r" b="b"/>
                <a:pathLst>
                  <a:path w="61150" h="28966">
                    <a:moveTo>
                      <a:pt x="4828" y="27035"/>
                    </a:moveTo>
                    <a:lnTo>
                      <a:pt x="57932" y="4828"/>
                    </a:lnTo>
                  </a:path>
                </a:pathLst>
              </a:custGeom>
              <a:noFill/>
              <a:ln w="15875" cap="flat">
                <a:solidFill>
                  <a:srgbClr val="A166FF"/>
                </a:solidFill>
                <a:prstDash val="solid"/>
                <a:round/>
              </a:ln>
            </p:spPr>
            <p:txBody>
              <a:bodyPr rtlCol="0" anchor="ctr"/>
              <a:lstStyle/>
              <a:p>
                <a:pPr defTabSz="731504">
                  <a:defRPr/>
                </a:pPr>
                <a:endParaRPr lang="en-US" sz="1800" dirty="0">
                  <a:solidFill>
                    <a:srgbClr val="FFFFFF"/>
                  </a:solidFill>
                </a:endParaRPr>
              </a:p>
            </p:txBody>
          </p:sp>
          <p:sp>
            <p:nvSpPr>
              <p:cNvPr id="971" name="Freeform: Shape 970">
                <a:extLst>
                  <a:ext uri="{FF2B5EF4-FFF2-40B4-BE49-F238E27FC236}">
                    <a16:creationId xmlns:a16="http://schemas.microsoft.com/office/drawing/2014/main" id="{F3A8E097-BBE7-40F8-917A-419119D3A03B}"/>
                  </a:ext>
                </a:extLst>
              </p:cNvPr>
              <p:cNvSpPr/>
              <p:nvPr/>
            </p:nvSpPr>
            <p:spPr>
              <a:xfrm>
                <a:off x="6554380" y="524644"/>
                <a:ext cx="61150" cy="28966"/>
              </a:xfrm>
              <a:custGeom>
                <a:avLst/>
                <a:gdLst>
                  <a:gd name="connsiteX0" fmla="*/ 4828 w 61150"/>
                  <a:gd name="connsiteY0" fmla="*/ 26713 h 28966"/>
                  <a:gd name="connsiteX1" fmla="*/ 57932 w 61150"/>
                  <a:gd name="connsiteY1" fmla="*/ 4828 h 28966"/>
                </a:gdLst>
                <a:ahLst/>
                <a:cxnLst>
                  <a:cxn ang="0">
                    <a:pos x="connsiteX0" y="connsiteY0"/>
                  </a:cxn>
                  <a:cxn ang="0">
                    <a:pos x="connsiteX1" y="connsiteY1"/>
                  </a:cxn>
                </a:cxnLst>
                <a:rect l="l" t="t" r="r" b="b"/>
                <a:pathLst>
                  <a:path w="61150" h="28966">
                    <a:moveTo>
                      <a:pt x="4828" y="26713"/>
                    </a:moveTo>
                    <a:lnTo>
                      <a:pt x="57932" y="4828"/>
                    </a:lnTo>
                  </a:path>
                </a:pathLst>
              </a:custGeom>
              <a:noFill/>
              <a:ln w="15875" cap="flat">
                <a:solidFill>
                  <a:srgbClr val="A166FF"/>
                </a:solidFill>
                <a:prstDash val="solid"/>
                <a:round/>
              </a:ln>
            </p:spPr>
            <p:txBody>
              <a:bodyPr rtlCol="0" anchor="ctr"/>
              <a:lstStyle/>
              <a:p>
                <a:pPr defTabSz="731504">
                  <a:defRPr/>
                </a:pPr>
                <a:endParaRPr lang="en-US" sz="1800">
                  <a:solidFill>
                    <a:srgbClr val="FFFFFF"/>
                  </a:solidFill>
                </a:endParaRPr>
              </a:p>
            </p:txBody>
          </p:sp>
          <p:sp>
            <p:nvSpPr>
              <p:cNvPr id="972" name="Freeform: Shape 971">
                <a:extLst>
                  <a:ext uri="{FF2B5EF4-FFF2-40B4-BE49-F238E27FC236}">
                    <a16:creationId xmlns:a16="http://schemas.microsoft.com/office/drawing/2014/main" id="{C3DD371E-FF79-4B90-8C9A-60E88D15C563}"/>
                  </a:ext>
                </a:extLst>
              </p:cNvPr>
              <p:cNvSpPr/>
              <p:nvPr/>
            </p:nvSpPr>
            <p:spPr>
              <a:xfrm>
                <a:off x="6198099" y="524644"/>
                <a:ext cx="61150" cy="28966"/>
              </a:xfrm>
              <a:custGeom>
                <a:avLst/>
                <a:gdLst>
                  <a:gd name="connsiteX0" fmla="*/ 4828 w 61150"/>
                  <a:gd name="connsiteY0" fmla="*/ 4828 h 28966"/>
                  <a:gd name="connsiteX1" fmla="*/ 57932 w 61150"/>
                  <a:gd name="connsiteY1" fmla="*/ 27035 h 28966"/>
                </a:gdLst>
                <a:ahLst/>
                <a:cxnLst>
                  <a:cxn ang="0">
                    <a:pos x="connsiteX0" y="connsiteY0"/>
                  </a:cxn>
                  <a:cxn ang="0">
                    <a:pos x="connsiteX1" y="connsiteY1"/>
                  </a:cxn>
                </a:cxnLst>
                <a:rect l="l" t="t" r="r" b="b"/>
                <a:pathLst>
                  <a:path w="61150" h="28966">
                    <a:moveTo>
                      <a:pt x="4828" y="4828"/>
                    </a:moveTo>
                    <a:lnTo>
                      <a:pt x="57932" y="27035"/>
                    </a:lnTo>
                  </a:path>
                </a:pathLst>
              </a:custGeom>
              <a:noFill/>
              <a:ln w="15875" cap="flat">
                <a:solidFill>
                  <a:srgbClr val="A166FF"/>
                </a:solidFill>
                <a:prstDash val="solid"/>
                <a:round/>
              </a:ln>
            </p:spPr>
            <p:txBody>
              <a:bodyPr rtlCol="0" anchor="ctr"/>
              <a:lstStyle/>
              <a:p>
                <a:pPr defTabSz="731504">
                  <a:defRPr/>
                </a:pPr>
                <a:endParaRPr lang="en-US" sz="1800">
                  <a:solidFill>
                    <a:srgbClr val="FFFFFF"/>
                  </a:solidFill>
                </a:endParaRPr>
              </a:p>
            </p:txBody>
          </p:sp>
          <p:sp>
            <p:nvSpPr>
              <p:cNvPr id="973" name="Freeform: Shape 972">
                <a:extLst>
                  <a:ext uri="{FF2B5EF4-FFF2-40B4-BE49-F238E27FC236}">
                    <a16:creationId xmlns:a16="http://schemas.microsoft.com/office/drawing/2014/main" id="{FBFCD6E7-4249-4E74-8741-F162014F19BF}"/>
                  </a:ext>
                </a:extLst>
              </p:cNvPr>
              <p:cNvSpPr/>
              <p:nvPr/>
            </p:nvSpPr>
            <p:spPr>
              <a:xfrm>
                <a:off x="6554380" y="672370"/>
                <a:ext cx="61150" cy="28966"/>
              </a:xfrm>
              <a:custGeom>
                <a:avLst/>
                <a:gdLst>
                  <a:gd name="connsiteX0" fmla="*/ 4828 w 61150"/>
                  <a:gd name="connsiteY0" fmla="*/ 4828 h 28966"/>
                  <a:gd name="connsiteX1" fmla="*/ 57932 w 61150"/>
                  <a:gd name="connsiteY1" fmla="*/ 26713 h 28966"/>
                </a:gdLst>
                <a:ahLst/>
                <a:cxnLst>
                  <a:cxn ang="0">
                    <a:pos x="connsiteX0" y="connsiteY0"/>
                  </a:cxn>
                  <a:cxn ang="0">
                    <a:pos x="connsiteX1" y="connsiteY1"/>
                  </a:cxn>
                </a:cxnLst>
                <a:rect l="l" t="t" r="r" b="b"/>
                <a:pathLst>
                  <a:path w="61150" h="28966">
                    <a:moveTo>
                      <a:pt x="4828" y="4828"/>
                    </a:moveTo>
                    <a:lnTo>
                      <a:pt x="57932" y="26713"/>
                    </a:lnTo>
                  </a:path>
                </a:pathLst>
              </a:custGeom>
              <a:noFill/>
              <a:ln w="15875" cap="flat">
                <a:solidFill>
                  <a:srgbClr val="A166FF"/>
                </a:solidFill>
                <a:prstDash val="solid"/>
                <a:round/>
              </a:ln>
            </p:spPr>
            <p:txBody>
              <a:bodyPr rtlCol="0" anchor="ctr"/>
              <a:lstStyle/>
              <a:p>
                <a:pPr defTabSz="731504">
                  <a:defRPr/>
                </a:pPr>
                <a:endParaRPr lang="en-US" sz="1800">
                  <a:solidFill>
                    <a:srgbClr val="FFFFFF"/>
                  </a:solidFill>
                </a:endParaRPr>
              </a:p>
            </p:txBody>
          </p:sp>
          <p:sp>
            <p:nvSpPr>
              <p:cNvPr id="974" name="Freeform: Shape 973">
                <a:extLst>
                  <a:ext uri="{FF2B5EF4-FFF2-40B4-BE49-F238E27FC236}">
                    <a16:creationId xmlns:a16="http://schemas.microsoft.com/office/drawing/2014/main" id="{11917A29-317D-4CE0-B97D-51C5FFCA329B}"/>
                  </a:ext>
                </a:extLst>
              </p:cNvPr>
              <p:cNvSpPr/>
              <p:nvPr/>
            </p:nvSpPr>
            <p:spPr>
              <a:xfrm>
                <a:off x="6465551" y="404917"/>
                <a:ext cx="28966" cy="61150"/>
              </a:xfrm>
              <a:custGeom>
                <a:avLst/>
                <a:gdLst>
                  <a:gd name="connsiteX0" fmla="*/ 4828 w 28966"/>
                  <a:gd name="connsiteY0" fmla="*/ 57610 h 61150"/>
                  <a:gd name="connsiteX1" fmla="*/ 26713 w 28966"/>
                  <a:gd name="connsiteY1" fmla="*/ 4828 h 61150"/>
                </a:gdLst>
                <a:ahLst/>
                <a:cxnLst>
                  <a:cxn ang="0">
                    <a:pos x="connsiteX0" y="connsiteY0"/>
                  </a:cxn>
                  <a:cxn ang="0">
                    <a:pos x="connsiteX1" y="connsiteY1"/>
                  </a:cxn>
                </a:cxnLst>
                <a:rect l="l" t="t" r="r" b="b"/>
                <a:pathLst>
                  <a:path w="28966" h="61150">
                    <a:moveTo>
                      <a:pt x="4828" y="57610"/>
                    </a:moveTo>
                    <a:lnTo>
                      <a:pt x="26713" y="4828"/>
                    </a:lnTo>
                  </a:path>
                </a:pathLst>
              </a:custGeom>
              <a:noFill/>
              <a:ln w="15875" cap="flat">
                <a:solidFill>
                  <a:srgbClr val="A166FF"/>
                </a:solidFill>
                <a:prstDash val="solid"/>
                <a:round/>
              </a:ln>
            </p:spPr>
            <p:txBody>
              <a:bodyPr rtlCol="0" anchor="ctr"/>
              <a:lstStyle/>
              <a:p>
                <a:pPr defTabSz="731504">
                  <a:defRPr/>
                </a:pPr>
                <a:endParaRPr lang="en-US" sz="1800">
                  <a:solidFill>
                    <a:srgbClr val="FFFFFF"/>
                  </a:solidFill>
                </a:endParaRPr>
              </a:p>
            </p:txBody>
          </p:sp>
          <p:sp>
            <p:nvSpPr>
              <p:cNvPr id="975" name="Freeform: Shape 974">
                <a:extLst>
                  <a:ext uri="{FF2B5EF4-FFF2-40B4-BE49-F238E27FC236}">
                    <a16:creationId xmlns:a16="http://schemas.microsoft.com/office/drawing/2014/main" id="{98BAFE28-EE5B-4F4D-A1E7-E272C74F29EF}"/>
                  </a:ext>
                </a:extLst>
              </p:cNvPr>
              <p:cNvSpPr/>
              <p:nvPr/>
            </p:nvSpPr>
            <p:spPr>
              <a:xfrm>
                <a:off x="6346469" y="794027"/>
                <a:ext cx="119082" cy="25748"/>
              </a:xfrm>
              <a:custGeom>
                <a:avLst/>
                <a:gdLst>
                  <a:gd name="connsiteX0" fmla="*/ 111358 w 119082"/>
                  <a:gd name="connsiteY0" fmla="*/ 21564 h 25747"/>
                  <a:gd name="connsiteX1" fmla="*/ 10943 w 119082"/>
                  <a:gd name="connsiteY1" fmla="*/ 21564 h 25747"/>
                  <a:gd name="connsiteX2" fmla="*/ 4828 w 119082"/>
                  <a:gd name="connsiteY2" fmla="*/ 15449 h 25747"/>
                  <a:gd name="connsiteX3" fmla="*/ 4828 w 119082"/>
                  <a:gd name="connsiteY3" fmla="*/ 10943 h 25747"/>
                  <a:gd name="connsiteX4" fmla="*/ 10943 w 119082"/>
                  <a:gd name="connsiteY4" fmla="*/ 4828 h 25747"/>
                  <a:gd name="connsiteX5" fmla="*/ 111036 w 119082"/>
                  <a:gd name="connsiteY5" fmla="*/ 4828 h 25747"/>
                  <a:gd name="connsiteX6" fmla="*/ 117151 w 119082"/>
                  <a:gd name="connsiteY6" fmla="*/ 10943 h 25747"/>
                  <a:gd name="connsiteX7" fmla="*/ 117151 w 119082"/>
                  <a:gd name="connsiteY7" fmla="*/ 15449 h 25747"/>
                  <a:gd name="connsiteX8" fmla="*/ 111358 w 119082"/>
                  <a:gd name="connsiteY8" fmla="*/ 21564 h 2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82" h="25747">
                    <a:moveTo>
                      <a:pt x="111358" y="21564"/>
                    </a:moveTo>
                    <a:lnTo>
                      <a:pt x="10943" y="21564"/>
                    </a:lnTo>
                    <a:cubicBezTo>
                      <a:pt x="7402" y="21564"/>
                      <a:pt x="4828" y="18667"/>
                      <a:pt x="4828" y="15449"/>
                    </a:cubicBezTo>
                    <a:lnTo>
                      <a:pt x="4828" y="10943"/>
                    </a:lnTo>
                    <a:cubicBezTo>
                      <a:pt x="4828" y="7402"/>
                      <a:pt x="7724" y="4828"/>
                      <a:pt x="10943" y="4828"/>
                    </a:cubicBezTo>
                    <a:lnTo>
                      <a:pt x="111036" y="4828"/>
                    </a:lnTo>
                    <a:cubicBezTo>
                      <a:pt x="114577" y="4828"/>
                      <a:pt x="117151" y="7724"/>
                      <a:pt x="117151" y="10943"/>
                    </a:cubicBezTo>
                    <a:lnTo>
                      <a:pt x="117151" y="15449"/>
                    </a:lnTo>
                    <a:cubicBezTo>
                      <a:pt x="117473" y="18667"/>
                      <a:pt x="114577" y="21564"/>
                      <a:pt x="111358" y="21564"/>
                    </a:cubicBezTo>
                    <a:close/>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976" name="Freeform: Shape 975">
                <a:extLst>
                  <a:ext uri="{FF2B5EF4-FFF2-40B4-BE49-F238E27FC236}">
                    <a16:creationId xmlns:a16="http://schemas.microsoft.com/office/drawing/2014/main" id="{4B5DE219-F4F1-47EC-BEC8-D82C99C28A51}"/>
                  </a:ext>
                </a:extLst>
              </p:cNvPr>
              <p:cNvSpPr/>
              <p:nvPr/>
            </p:nvSpPr>
            <p:spPr>
              <a:xfrm>
                <a:off x="6346469" y="824281"/>
                <a:ext cx="119082" cy="25748"/>
              </a:xfrm>
              <a:custGeom>
                <a:avLst/>
                <a:gdLst>
                  <a:gd name="connsiteX0" fmla="*/ 111358 w 119082"/>
                  <a:gd name="connsiteY0" fmla="*/ 21564 h 25747"/>
                  <a:gd name="connsiteX1" fmla="*/ 10943 w 119082"/>
                  <a:gd name="connsiteY1" fmla="*/ 21564 h 25747"/>
                  <a:gd name="connsiteX2" fmla="*/ 4828 w 119082"/>
                  <a:gd name="connsiteY2" fmla="*/ 15449 h 25747"/>
                  <a:gd name="connsiteX3" fmla="*/ 4828 w 119082"/>
                  <a:gd name="connsiteY3" fmla="*/ 10943 h 25747"/>
                  <a:gd name="connsiteX4" fmla="*/ 10943 w 119082"/>
                  <a:gd name="connsiteY4" fmla="*/ 4828 h 25747"/>
                  <a:gd name="connsiteX5" fmla="*/ 111036 w 119082"/>
                  <a:gd name="connsiteY5" fmla="*/ 4828 h 25747"/>
                  <a:gd name="connsiteX6" fmla="*/ 117151 w 119082"/>
                  <a:gd name="connsiteY6" fmla="*/ 10943 h 25747"/>
                  <a:gd name="connsiteX7" fmla="*/ 117151 w 119082"/>
                  <a:gd name="connsiteY7" fmla="*/ 15449 h 25747"/>
                  <a:gd name="connsiteX8" fmla="*/ 111358 w 119082"/>
                  <a:gd name="connsiteY8" fmla="*/ 21564 h 2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82" h="25747">
                    <a:moveTo>
                      <a:pt x="111358" y="21564"/>
                    </a:moveTo>
                    <a:lnTo>
                      <a:pt x="10943" y="21564"/>
                    </a:lnTo>
                    <a:cubicBezTo>
                      <a:pt x="7402" y="21564"/>
                      <a:pt x="4828" y="18667"/>
                      <a:pt x="4828" y="15449"/>
                    </a:cubicBezTo>
                    <a:lnTo>
                      <a:pt x="4828" y="10943"/>
                    </a:lnTo>
                    <a:cubicBezTo>
                      <a:pt x="4828" y="7402"/>
                      <a:pt x="7724" y="4828"/>
                      <a:pt x="10943" y="4828"/>
                    </a:cubicBezTo>
                    <a:lnTo>
                      <a:pt x="111036" y="4828"/>
                    </a:lnTo>
                    <a:cubicBezTo>
                      <a:pt x="114577" y="4828"/>
                      <a:pt x="117151" y="7724"/>
                      <a:pt x="117151" y="10943"/>
                    </a:cubicBezTo>
                    <a:lnTo>
                      <a:pt x="117151" y="15449"/>
                    </a:lnTo>
                    <a:cubicBezTo>
                      <a:pt x="117473" y="18667"/>
                      <a:pt x="114577" y="21564"/>
                      <a:pt x="111358" y="21564"/>
                    </a:cubicBezTo>
                    <a:close/>
                  </a:path>
                </a:pathLst>
              </a:custGeom>
              <a:noFill/>
              <a:ln w="15875" cap="flat">
                <a:solidFill>
                  <a:schemeClr val="tx1"/>
                </a:solidFill>
                <a:prstDash val="solid"/>
                <a:round/>
              </a:ln>
            </p:spPr>
            <p:txBody>
              <a:bodyPr rtlCol="0" anchor="ctr"/>
              <a:lstStyle/>
              <a:p>
                <a:pPr defTabSz="731504">
                  <a:defRPr/>
                </a:pPr>
                <a:endParaRPr lang="en-US" sz="1800" dirty="0">
                  <a:solidFill>
                    <a:srgbClr val="FFFFFF"/>
                  </a:solidFill>
                </a:endParaRPr>
              </a:p>
            </p:txBody>
          </p:sp>
          <p:sp>
            <p:nvSpPr>
              <p:cNvPr id="977" name="Freeform: Shape 976">
                <a:extLst>
                  <a:ext uri="{FF2B5EF4-FFF2-40B4-BE49-F238E27FC236}">
                    <a16:creationId xmlns:a16="http://schemas.microsoft.com/office/drawing/2014/main" id="{ACC008B2-DF01-426D-979D-B0FBABF2D22F}"/>
                  </a:ext>
                </a:extLst>
              </p:cNvPr>
              <p:cNvSpPr/>
              <p:nvPr/>
            </p:nvSpPr>
            <p:spPr>
              <a:xfrm>
                <a:off x="6376079" y="854212"/>
                <a:ext cx="61150" cy="25748"/>
              </a:xfrm>
              <a:custGeom>
                <a:avLst/>
                <a:gdLst>
                  <a:gd name="connsiteX0" fmla="*/ 49242 w 61150"/>
                  <a:gd name="connsiteY0" fmla="*/ 21885 h 25747"/>
                  <a:gd name="connsiteX1" fmla="*/ 13839 w 61150"/>
                  <a:gd name="connsiteY1" fmla="*/ 21885 h 25747"/>
                  <a:gd name="connsiteX2" fmla="*/ 4828 w 61150"/>
                  <a:gd name="connsiteY2" fmla="*/ 4828 h 25747"/>
                  <a:gd name="connsiteX3" fmla="*/ 58254 w 61150"/>
                  <a:gd name="connsiteY3" fmla="*/ 4828 h 25747"/>
                </a:gdLst>
                <a:ahLst/>
                <a:cxnLst>
                  <a:cxn ang="0">
                    <a:pos x="connsiteX0" y="connsiteY0"/>
                  </a:cxn>
                  <a:cxn ang="0">
                    <a:pos x="connsiteX1" y="connsiteY1"/>
                  </a:cxn>
                  <a:cxn ang="0">
                    <a:pos x="connsiteX2" y="connsiteY2"/>
                  </a:cxn>
                  <a:cxn ang="0">
                    <a:pos x="connsiteX3" y="connsiteY3"/>
                  </a:cxn>
                </a:cxnLst>
                <a:rect l="l" t="t" r="r" b="b"/>
                <a:pathLst>
                  <a:path w="61150" h="25747">
                    <a:moveTo>
                      <a:pt x="49242" y="21885"/>
                    </a:moveTo>
                    <a:lnTo>
                      <a:pt x="13839" y="21885"/>
                    </a:lnTo>
                    <a:lnTo>
                      <a:pt x="4828" y="4828"/>
                    </a:lnTo>
                    <a:lnTo>
                      <a:pt x="58254" y="4828"/>
                    </a:lnTo>
                    <a:close/>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grpSp>
      </p:grpSp>
      <p:grpSp>
        <p:nvGrpSpPr>
          <p:cNvPr id="983" name="Group 982">
            <a:extLst>
              <a:ext uri="{FF2B5EF4-FFF2-40B4-BE49-F238E27FC236}">
                <a16:creationId xmlns:a16="http://schemas.microsoft.com/office/drawing/2014/main" id="{712E70AF-DE17-4D01-A7A1-DA04C9FB7371}"/>
              </a:ext>
            </a:extLst>
          </p:cNvPr>
          <p:cNvGrpSpPr/>
          <p:nvPr/>
        </p:nvGrpSpPr>
        <p:grpSpPr>
          <a:xfrm>
            <a:off x="5916644" y="4280328"/>
            <a:ext cx="556727" cy="727258"/>
            <a:chOff x="9398940" y="6818557"/>
            <a:chExt cx="657213" cy="858524"/>
          </a:xfrm>
        </p:grpSpPr>
        <p:grpSp>
          <p:nvGrpSpPr>
            <p:cNvPr id="984" name="Graphic 244">
              <a:extLst>
                <a:ext uri="{FF2B5EF4-FFF2-40B4-BE49-F238E27FC236}">
                  <a16:creationId xmlns:a16="http://schemas.microsoft.com/office/drawing/2014/main" id="{1D3E4660-FA72-4459-9702-580A04AF1B04}"/>
                </a:ext>
              </a:extLst>
            </p:cNvPr>
            <p:cNvGrpSpPr/>
            <p:nvPr/>
          </p:nvGrpSpPr>
          <p:grpSpPr>
            <a:xfrm>
              <a:off x="9398940" y="6818557"/>
              <a:ext cx="657213" cy="858524"/>
              <a:chOff x="6874589" y="-649524"/>
              <a:chExt cx="198947" cy="259886"/>
            </a:xfrm>
          </p:grpSpPr>
          <p:sp>
            <p:nvSpPr>
              <p:cNvPr id="1002" name="Freeform: Shape 1001">
                <a:extLst>
                  <a:ext uri="{FF2B5EF4-FFF2-40B4-BE49-F238E27FC236}">
                    <a16:creationId xmlns:a16="http://schemas.microsoft.com/office/drawing/2014/main" id="{9176352B-D8E6-4303-A5E8-13982B863A87}"/>
                  </a:ext>
                </a:extLst>
              </p:cNvPr>
              <p:cNvSpPr/>
              <p:nvPr/>
            </p:nvSpPr>
            <p:spPr>
              <a:xfrm>
                <a:off x="6874589" y="-632807"/>
                <a:ext cx="198947" cy="243169"/>
              </a:xfrm>
              <a:custGeom>
                <a:avLst/>
                <a:gdLst>
                  <a:gd name="connsiteX0" fmla="*/ 400696 w 405524"/>
                  <a:gd name="connsiteY0" fmla="*/ 284832 h 296096"/>
                  <a:gd name="connsiteX1" fmla="*/ 391041 w 405524"/>
                  <a:gd name="connsiteY1" fmla="*/ 294488 h 296096"/>
                  <a:gd name="connsiteX2" fmla="*/ 14483 w 405524"/>
                  <a:gd name="connsiteY2" fmla="*/ 294488 h 296096"/>
                  <a:gd name="connsiteX3" fmla="*/ 4828 w 405524"/>
                  <a:gd name="connsiteY3" fmla="*/ 284832 h 296096"/>
                  <a:gd name="connsiteX4" fmla="*/ 4828 w 405524"/>
                  <a:gd name="connsiteY4" fmla="*/ 14483 h 296096"/>
                  <a:gd name="connsiteX5" fmla="*/ 14483 w 405524"/>
                  <a:gd name="connsiteY5" fmla="*/ 4828 h 296096"/>
                  <a:gd name="connsiteX6" fmla="*/ 391041 w 405524"/>
                  <a:gd name="connsiteY6" fmla="*/ 4828 h 296096"/>
                  <a:gd name="connsiteX7" fmla="*/ 400696 w 405524"/>
                  <a:gd name="connsiteY7" fmla="*/ 14483 h 296096"/>
                  <a:gd name="connsiteX8" fmla="*/ 400696 w 405524"/>
                  <a:gd name="connsiteY8" fmla="*/ 284832 h 29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5524" h="296096">
                    <a:moveTo>
                      <a:pt x="400696" y="284832"/>
                    </a:moveTo>
                    <a:cubicBezTo>
                      <a:pt x="400696" y="290304"/>
                      <a:pt x="396512" y="294488"/>
                      <a:pt x="391041" y="294488"/>
                    </a:cubicBezTo>
                    <a:lnTo>
                      <a:pt x="14483" y="294488"/>
                    </a:lnTo>
                    <a:cubicBezTo>
                      <a:pt x="9012" y="294488"/>
                      <a:pt x="4828" y="290304"/>
                      <a:pt x="4828" y="284832"/>
                    </a:cubicBezTo>
                    <a:lnTo>
                      <a:pt x="4828" y="14483"/>
                    </a:lnTo>
                    <a:cubicBezTo>
                      <a:pt x="4828" y="9012"/>
                      <a:pt x="9012" y="4828"/>
                      <a:pt x="14483" y="4828"/>
                    </a:cubicBezTo>
                    <a:lnTo>
                      <a:pt x="391041" y="4828"/>
                    </a:lnTo>
                    <a:cubicBezTo>
                      <a:pt x="396512" y="4828"/>
                      <a:pt x="400696" y="9012"/>
                      <a:pt x="400696" y="14483"/>
                    </a:cubicBezTo>
                    <a:lnTo>
                      <a:pt x="400696" y="284832"/>
                    </a:lnTo>
                    <a:close/>
                  </a:path>
                </a:pathLst>
              </a:custGeom>
              <a:noFill/>
              <a:ln w="15875" cap="flat">
                <a:solidFill>
                  <a:schemeClr val="tx1"/>
                </a:solidFill>
                <a:prstDash val="solid"/>
                <a:round/>
              </a:ln>
            </p:spPr>
            <p:txBody>
              <a:bodyPr rtlCol="0" anchor="ctr"/>
              <a:lstStyle/>
              <a:p>
                <a:pPr algn="ctr" defTabSz="731504">
                  <a:defRPr/>
                </a:pPr>
                <a:endParaRPr lang="en-US" sz="1800">
                  <a:solidFill>
                    <a:srgbClr val="FFFFFF"/>
                  </a:solidFill>
                </a:endParaRPr>
              </a:p>
            </p:txBody>
          </p:sp>
          <p:sp>
            <p:nvSpPr>
              <p:cNvPr id="1003" name="Freeform: Shape 1002">
                <a:extLst>
                  <a:ext uri="{FF2B5EF4-FFF2-40B4-BE49-F238E27FC236}">
                    <a16:creationId xmlns:a16="http://schemas.microsoft.com/office/drawing/2014/main" id="{6EFAF8D7-643D-416F-82D3-4ADC87C980EF}"/>
                  </a:ext>
                </a:extLst>
              </p:cNvPr>
              <p:cNvSpPr/>
              <p:nvPr/>
            </p:nvSpPr>
            <p:spPr>
              <a:xfrm>
                <a:off x="6934220" y="-649524"/>
                <a:ext cx="79685" cy="32683"/>
              </a:xfrm>
              <a:custGeom>
                <a:avLst/>
                <a:gdLst>
                  <a:gd name="connsiteX0" fmla="*/ 353385 w 357247"/>
                  <a:gd name="connsiteY0" fmla="*/ 234303 h 247820"/>
                  <a:gd name="connsiteX1" fmla="*/ 343730 w 357247"/>
                  <a:gd name="connsiteY1" fmla="*/ 243958 h 247820"/>
                  <a:gd name="connsiteX2" fmla="*/ 14483 w 357247"/>
                  <a:gd name="connsiteY2" fmla="*/ 243958 h 247820"/>
                  <a:gd name="connsiteX3" fmla="*/ 4828 w 357247"/>
                  <a:gd name="connsiteY3" fmla="*/ 234303 h 247820"/>
                  <a:gd name="connsiteX4" fmla="*/ 4828 w 357247"/>
                  <a:gd name="connsiteY4" fmla="*/ 14483 h 247820"/>
                  <a:gd name="connsiteX5" fmla="*/ 14483 w 357247"/>
                  <a:gd name="connsiteY5" fmla="*/ 4828 h 247820"/>
                  <a:gd name="connsiteX6" fmla="*/ 342121 w 357247"/>
                  <a:gd name="connsiteY6" fmla="*/ 4828 h 247820"/>
                  <a:gd name="connsiteX7" fmla="*/ 351776 w 357247"/>
                  <a:gd name="connsiteY7" fmla="*/ 14483 h 247820"/>
                  <a:gd name="connsiteX8" fmla="*/ 353385 w 357247"/>
                  <a:gd name="connsiteY8" fmla="*/ 234303 h 247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7247" h="247820">
                    <a:moveTo>
                      <a:pt x="353385" y="234303"/>
                    </a:moveTo>
                    <a:cubicBezTo>
                      <a:pt x="353385" y="239774"/>
                      <a:pt x="349201" y="243958"/>
                      <a:pt x="343730" y="243958"/>
                    </a:cubicBezTo>
                    <a:lnTo>
                      <a:pt x="14483" y="243958"/>
                    </a:lnTo>
                    <a:cubicBezTo>
                      <a:pt x="9012" y="243958"/>
                      <a:pt x="4828" y="239774"/>
                      <a:pt x="4828" y="234303"/>
                    </a:cubicBezTo>
                    <a:lnTo>
                      <a:pt x="4828" y="14483"/>
                    </a:lnTo>
                    <a:cubicBezTo>
                      <a:pt x="4828" y="9012"/>
                      <a:pt x="9012" y="4828"/>
                      <a:pt x="14483" y="4828"/>
                    </a:cubicBezTo>
                    <a:lnTo>
                      <a:pt x="342121" y="4828"/>
                    </a:lnTo>
                    <a:cubicBezTo>
                      <a:pt x="347592" y="4828"/>
                      <a:pt x="351776" y="9012"/>
                      <a:pt x="351776" y="14483"/>
                    </a:cubicBezTo>
                    <a:lnTo>
                      <a:pt x="353385" y="234303"/>
                    </a:lnTo>
                    <a:close/>
                  </a:path>
                </a:pathLst>
              </a:custGeom>
              <a:solidFill>
                <a:schemeClr val="bg1"/>
              </a:solidFill>
              <a:ln w="15875" cap="flat">
                <a:solidFill>
                  <a:schemeClr val="tx1"/>
                </a:solidFill>
                <a:prstDash val="solid"/>
                <a:round/>
              </a:ln>
            </p:spPr>
            <p:txBody>
              <a:bodyPr rtlCol="0" anchor="ctr"/>
              <a:lstStyle/>
              <a:p>
                <a:pPr algn="ctr" defTabSz="731504">
                  <a:defRPr/>
                </a:pPr>
                <a:endParaRPr lang="en-US" sz="1800" dirty="0">
                  <a:solidFill>
                    <a:srgbClr val="FFFFFF"/>
                  </a:solidFill>
                </a:endParaRPr>
              </a:p>
            </p:txBody>
          </p:sp>
        </p:grpSp>
        <p:grpSp>
          <p:nvGrpSpPr>
            <p:cNvPr id="985" name="Graphic 286">
              <a:extLst>
                <a:ext uri="{FF2B5EF4-FFF2-40B4-BE49-F238E27FC236}">
                  <a16:creationId xmlns:a16="http://schemas.microsoft.com/office/drawing/2014/main" id="{9853B17C-A47F-40BD-A1EE-0AFF4D350943}"/>
                </a:ext>
              </a:extLst>
            </p:cNvPr>
            <p:cNvGrpSpPr/>
            <p:nvPr/>
          </p:nvGrpSpPr>
          <p:grpSpPr>
            <a:xfrm>
              <a:off x="9459644" y="7061587"/>
              <a:ext cx="535816" cy="371021"/>
              <a:chOff x="357820" y="2375315"/>
              <a:chExt cx="557756" cy="386213"/>
            </a:xfrm>
          </p:grpSpPr>
          <p:sp>
            <p:nvSpPr>
              <p:cNvPr id="995" name="Freeform: Shape 994">
                <a:extLst>
                  <a:ext uri="{FF2B5EF4-FFF2-40B4-BE49-F238E27FC236}">
                    <a16:creationId xmlns:a16="http://schemas.microsoft.com/office/drawing/2014/main" id="{DC755D9B-6690-4143-96AC-2A6C18F7EE8A}"/>
                  </a:ext>
                </a:extLst>
              </p:cNvPr>
              <p:cNvSpPr/>
              <p:nvPr/>
            </p:nvSpPr>
            <p:spPr>
              <a:xfrm>
                <a:off x="767528" y="2543640"/>
                <a:ext cx="148048" cy="141612"/>
              </a:xfrm>
              <a:custGeom>
                <a:avLst/>
                <a:gdLst>
                  <a:gd name="connsiteX0" fmla="*/ 4828 w 148048"/>
                  <a:gd name="connsiteY0" fmla="*/ 4828 h 141611"/>
                  <a:gd name="connsiteX1" fmla="*/ 93657 w 148048"/>
                  <a:gd name="connsiteY1" fmla="*/ 4828 h 141611"/>
                  <a:gd name="connsiteX2" fmla="*/ 144508 w 148048"/>
                  <a:gd name="connsiteY2" fmla="*/ 70806 h 141611"/>
                  <a:gd name="connsiteX3" fmla="*/ 144508 w 148048"/>
                  <a:gd name="connsiteY3" fmla="*/ 70806 h 141611"/>
                  <a:gd name="connsiteX4" fmla="*/ 93657 w 148048"/>
                  <a:gd name="connsiteY4" fmla="*/ 136784 h 141611"/>
                  <a:gd name="connsiteX5" fmla="*/ 74990 w 148048"/>
                  <a:gd name="connsiteY5" fmla="*/ 136784 h 141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8048" h="141611">
                    <a:moveTo>
                      <a:pt x="4828" y="4828"/>
                    </a:moveTo>
                    <a:lnTo>
                      <a:pt x="93657" y="4828"/>
                    </a:lnTo>
                    <a:cubicBezTo>
                      <a:pt x="121657" y="4828"/>
                      <a:pt x="144508" y="34437"/>
                      <a:pt x="144508" y="70806"/>
                    </a:cubicBezTo>
                    <a:lnTo>
                      <a:pt x="144508" y="70806"/>
                    </a:lnTo>
                    <a:cubicBezTo>
                      <a:pt x="144508" y="107174"/>
                      <a:pt x="121657" y="136784"/>
                      <a:pt x="93657" y="136784"/>
                    </a:cubicBezTo>
                    <a:lnTo>
                      <a:pt x="74990" y="136784"/>
                    </a:lnTo>
                  </a:path>
                </a:pathLst>
              </a:custGeom>
              <a:noFill/>
              <a:ln w="15875" cap="flat">
                <a:solidFill>
                  <a:srgbClr val="A166FF"/>
                </a:solidFill>
                <a:prstDash val="dash"/>
                <a:round/>
              </a:ln>
            </p:spPr>
            <p:txBody>
              <a:bodyPr rtlCol="0" anchor="ctr"/>
              <a:lstStyle/>
              <a:p>
                <a:pPr algn="ctr" defTabSz="731504">
                  <a:defRPr/>
                </a:pPr>
                <a:endParaRPr lang="en-US" sz="1800">
                  <a:solidFill>
                    <a:srgbClr val="FFFFFF"/>
                  </a:solidFill>
                </a:endParaRPr>
              </a:p>
            </p:txBody>
          </p:sp>
          <p:sp>
            <p:nvSpPr>
              <p:cNvPr id="996" name="Freeform: Shape 995">
                <a:extLst>
                  <a:ext uri="{FF2B5EF4-FFF2-40B4-BE49-F238E27FC236}">
                    <a16:creationId xmlns:a16="http://schemas.microsoft.com/office/drawing/2014/main" id="{C7DCA818-FB82-4574-B79B-1B2A92DA7379}"/>
                  </a:ext>
                </a:extLst>
              </p:cNvPr>
              <p:cNvSpPr/>
              <p:nvPr/>
            </p:nvSpPr>
            <p:spPr>
              <a:xfrm>
                <a:off x="413499" y="2397522"/>
                <a:ext cx="119082" cy="154485"/>
              </a:xfrm>
              <a:custGeom>
                <a:avLst/>
                <a:gdLst>
                  <a:gd name="connsiteX0" fmla="*/ 114255 w 119082"/>
                  <a:gd name="connsiteY0" fmla="*/ 4828 h 154485"/>
                  <a:gd name="connsiteX1" fmla="*/ 61150 w 119082"/>
                  <a:gd name="connsiteY1" fmla="*/ 4828 h 154485"/>
                  <a:gd name="connsiteX2" fmla="*/ 4828 w 119082"/>
                  <a:gd name="connsiteY2" fmla="*/ 77886 h 154485"/>
                  <a:gd name="connsiteX3" fmla="*/ 4828 w 119082"/>
                  <a:gd name="connsiteY3" fmla="*/ 77886 h 154485"/>
                  <a:gd name="connsiteX4" fmla="*/ 61150 w 119082"/>
                  <a:gd name="connsiteY4" fmla="*/ 150945 h 154485"/>
                  <a:gd name="connsiteX5" fmla="*/ 96553 w 119082"/>
                  <a:gd name="connsiteY5" fmla="*/ 150945 h 15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082" h="154485">
                    <a:moveTo>
                      <a:pt x="114255" y="4828"/>
                    </a:moveTo>
                    <a:lnTo>
                      <a:pt x="61150" y="4828"/>
                    </a:lnTo>
                    <a:cubicBezTo>
                      <a:pt x="29932" y="4828"/>
                      <a:pt x="4828" y="37656"/>
                      <a:pt x="4828" y="77886"/>
                    </a:cubicBezTo>
                    <a:lnTo>
                      <a:pt x="4828" y="77886"/>
                    </a:lnTo>
                    <a:cubicBezTo>
                      <a:pt x="4828" y="118439"/>
                      <a:pt x="29932" y="150945"/>
                      <a:pt x="61150" y="150945"/>
                    </a:cubicBezTo>
                    <a:lnTo>
                      <a:pt x="96553" y="150945"/>
                    </a:lnTo>
                  </a:path>
                </a:pathLst>
              </a:custGeom>
              <a:noFill/>
              <a:ln w="15875" cap="flat">
                <a:solidFill>
                  <a:srgbClr val="A166FF"/>
                </a:solidFill>
                <a:prstDash val="dash"/>
                <a:round/>
              </a:ln>
            </p:spPr>
            <p:txBody>
              <a:bodyPr rtlCol="0" anchor="ctr"/>
              <a:lstStyle/>
              <a:p>
                <a:pPr algn="ctr" defTabSz="731504">
                  <a:defRPr/>
                </a:pPr>
                <a:endParaRPr lang="en-US" sz="1800">
                  <a:solidFill>
                    <a:srgbClr val="FFFFFF"/>
                  </a:solidFill>
                </a:endParaRPr>
              </a:p>
            </p:txBody>
          </p:sp>
          <p:sp>
            <p:nvSpPr>
              <p:cNvPr id="997" name="Freeform: Shape 996">
                <a:extLst>
                  <a:ext uri="{FF2B5EF4-FFF2-40B4-BE49-F238E27FC236}">
                    <a16:creationId xmlns:a16="http://schemas.microsoft.com/office/drawing/2014/main" id="{770E9167-DC4D-4239-A4F5-2F2F969EF01C}"/>
                  </a:ext>
                </a:extLst>
              </p:cNvPr>
              <p:cNvSpPr/>
              <p:nvPr/>
            </p:nvSpPr>
            <p:spPr>
              <a:xfrm>
                <a:off x="784264" y="2642768"/>
                <a:ext cx="64369" cy="64369"/>
              </a:xfrm>
              <a:custGeom>
                <a:avLst/>
                <a:gdLst>
                  <a:gd name="connsiteX0" fmla="*/ 61472 w 64368"/>
                  <a:gd name="connsiteY0" fmla="*/ 33150 h 64368"/>
                  <a:gd name="connsiteX1" fmla="*/ 33150 w 64368"/>
                  <a:gd name="connsiteY1" fmla="*/ 61472 h 64368"/>
                  <a:gd name="connsiteX2" fmla="*/ 4828 w 64368"/>
                  <a:gd name="connsiteY2" fmla="*/ 33150 h 64368"/>
                  <a:gd name="connsiteX3" fmla="*/ 33150 w 64368"/>
                  <a:gd name="connsiteY3" fmla="*/ 4828 h 64368"/>
                  <a:gd name="connsiteX4" fmla="*/ 61472 w 64368"/>
                  <a:gd name="connsiteY4" fmla="*/ 33150 h 64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68" h="64368">
                    <a:moveTo>
                      <a:pt x="61472" y="33150"/>
                    </a:moveTo>
                    <a:cubicBezTo>
                      <a:pt x="61472" y="48792"/>
                      <a:pt x="48792" y="61472"/>
                      <a:pt x="33150" y="61472"/>
                    </a:cubicBezTo>
                    <a:cubicBezTo>
                      <a:pt x="17508" y="61472"/>
                      <a:pt x="4828" y="48792"/>
                      <a:pt x="4828" y="33150"/>
                    </a:cubicBezTo>
                    <a:cubicBezTo>
                      <a:pt x="4828" y="17508"/>
                      <a:pt x="17508" y="4828"/>
                      <a:pt x="33150" y="4828"/>
                    </a:cubicBezTo>
                    <a:cubicBezTo>
                      <a:pt x="48792" y="4828"/>
                      <a:pt x="61472" y="17508"/>
                      <a:pt x="61472" y="33150"/>
                    </a:cubicBezTo>
                    <a:close/>
                  </a:path>
                </a:pathLst>
              </a:custGeom>
              <a:noFill/>
              <a:ln w="15875" cap="flat">
                <a:solidFill>
                  <a:srgbClr val="A166FF"/>
                </a:solidFill>
                <a:prstDash val="solid"/>
                <a:round/>
              </a:ln>
            </p:spPr>
            <p:txBody>
              <a:bodyPr rtlCol="0" anchor="ctr"/>
              <a:lstStyle/>
              <a:p>
                <a:pPr algn="ctr" defTabSz="731504">
                  <a:defRPr/>
                </a:pPr>
                <a:endParaRPr lang="en-US" sz="1800">
                  <a:solidFill>
                    <a:srgbClr val="FFFFFF"/>
                  </a:solidFill>
                </a:endParaRPr>
              </a:p>
            </p:txBody>
          </p:sp>
          <p:sp>
            <p:nvSpPr>
              <p:cNvPr id="998" name="Freeform: Shape 997">
                <a:extLst>
                  <a:ext uri="{FF2B5EF4-FFF2-40B4-BE49-F238E27FC236}">
                    <a16:creationId xmlns:a16="http://schemas.microsoft.com/office/drawing/2014/main" id="{63B2C173-A0A3-49A5-B5A9-B077C6F2078D}"/>
                  </a:ext>
                </a:extLst>
              </p:cNvPr>
              <p:cNvSpPr/>
              <p:nvPr/>
            </p:nvSpPr>
            <p:spPr>
              <a:xfrm>
                <a:off x="525823" y="2375315"/>
                <a:ext cx="51495" cy="51495"/>
              </a:xfrm>
              <a:custGeom>
                <a:avLst/>
                <a:gdLst>
                  <a:gd name="connsiteX0" fmla="*/ 49242 w 51495"/>
                  <a:gd name="connsiteY0" fmla="*/ 27035 h 51495"/>
                  <a:gd name="connsiteX1" fmla="*/ 27035 w 51495"/>
                  <a:gd name="connsiteY1" fmla="*/ 49242 h 51495"/>
                  <a:gd name="connsiteX2" fmla="*/ 4828 w 51495"/>
                  <a:gd name="connsiteY2" fmla="*/ 27035 h 51495"/>
                  <a:gd name="connsiteX3" fmla="*/ 27035 w 51495"/>
                  <a:gd name="connsiteY3" fmla="*/ 4828 h 51495"/>
                  <a:gd name="connsiteX4" fmla="*/ 49242 w 51495"/>
                  <a:gd name="connsiteY4" fmla="*/ 27035 h 51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5" h="51495">
                    <a:moveTo>
                      <a:pt x="49242" y="27035"/>
                    </a:moveTo>
                    <a:cubicBezTo>
                      <a:pt x="49242" y="39300"/>
                      <a:pt x="39300" y="49242"/>
                      <a:pt x="27035" y="49242"/>
                    </a:cubicBezTo>
                    <a:cubicBezTo>
                      <a:pt x="14770" y="49242"/>
                      <a:pt x="4828" y="39300"/>
                      <a:pt x="4828" y="27035"/>
                    </a:cubicBezTo>
                    <a:cubicBezTo>
                      <a:pt x="4828" y="14770"/>
                      <a:pt x="14770" y="4828"/>
                      <a:pt x="27035" y="4828"/>
                    </a:cubicBezTo>
                    <a:cubicBezTo>
                      <a:pt x="39300" y="4828"/>
                      <a:pt x="49242" y="14770"/>
                      <a:pt x="49242" y="27035"/>
                    </a:cubicBezTo>
                    <a:close/>
                  </a:path>
                </a:pathLst>
              </a:custGeom>
              <a:noFill/>
              <a:ln w="15875" cap="flat">
                <a:solidFill>
                  <a:srgbClr val="A166FF"/>
                </a:solidFill>
                <a:prstDash val="solid"/>
                <a:round/>
              </a:ln>
            </p:spPr>
            <p:txBody>
              <a:bodyPr rtlCol="0" anchor="ctr"/>
              <a:lstStyle/>
              <a:p>
                <a:pPr algn="ctr" defTabSz="731504">
                  <a:defRPr/>
                </a:pPr>
                <a:endParaRPr lang="en-US" sz="1800" dirty="0">
                  <a:solidFill>
                    <a:srgbClr val="FFFFFF"/>
                  </a:solidFill>
                </a:endParaRPr>
              </a:p>
            </p:txBody>
          </p:sp>
          <p:sp>
            <p:nvSpPr>
              <p:cNvPr id="999" name="Freeform: Shape 998">
                <a:extLst>
                  <a:ext uri="{FF2B5EF4-FFF2-40B4-BE49-F238E27FC236}">
                    <a16:creationId xmlns:a16="http://schemas.microsoft.com/office/drawing/2014/main" id="{1B463114-765D-43B4-A349-D3A9DE0AA6E1}"/>
                  </a:ext>
                </a:extLst>
              </p:cNvPr>
              <p:cNvSpPr/>
              <p:nvPr/>
            </p:nvSpPr>
            <p:spPr>
              <a:xfrm>
                <a:off x="416395" y="2581295"/>
                <a:ext cx="41840" cy="9655"/>
              </a:xfrm>
              <a:custGeom>
                <a:avLst/>
                <a:gdLst>
                  <a:gd name="connsiteX0" fmla="*/ 37012 w 41839"/>
                  <a:gd name="connsiteY0" fmla="*/ 4828 h 9655"/>
                  <a:gd name="connsiteX1" fmla="*/ 4828 w 41839"/>
                  <a:gd name="connsiteY1" fmla="*/ 4828 h 9655"/>
                </a:gdLst>
                <a:ahLst/>
                <a:cxnLst>
                  <a:cxn ang="0">
                    <a:pos x="connsiteX0" y="connsiteY0"/>
                  </a:cxn>
                  <a:cxn ang="0">
                    <a:pos x="connsiteX1" y="connsiteY1"/>
                  </a:cxn>
                </a:cxnLst>
                <a:rect l="l" t="t" r="r" b="b"/>
                <a:pathLst>
                  <a:path w="41839" h="9655">
                    <a:moveTo>
                      <a:pt x="37012" y="4828"/>
                    </a:moveTo>
                    <a:lnTo>
                      <a:pt x="4828" y="4828"/>
                    </a:lnTo>
                  </a:path>
                </a:pathLst>
              </a:custGeom>
              <a:ln w="15875" cap="flat">
                <a:solidFill>
                  <a:srgbClr val="A166FF"/>
                </a:solidFill>
                <a:prstDash val="solid"/>
                <a:round/>
              </a:ln>
            </p:spPr>
            <p:txBody>
              <a:bodyPr rtlCol="0" anchor="ctr"/>
              <a:lstStyle/>
              <a:p>
                <a:pPr algn="ctr" defTabSz="731504">
                  <a:defRPr/>
                </a:pPr>
                <a:endParaRPr lang="en-US" sz="1800">
                  <a:solidFill>
                    <a:srgbClr val="FFFFFF"/>
                  </a:solidFill>
                </a:endParaRPr>
              </a:p>
            </p:txBody>
          </p:sp>
          <p:sp>
            <p:nvSpPr>
              <p:cNvPr id="1000" name="Freeform: Shape 999">
                <a:extLst>
                  <a:ext uri="{FF2B5EF4-FFF2-40B4-BE49-F238E27FC236}">
                    <a16:creationId xmlns:a16="http://schemas.microsoft.com/office/drawing/2014/main" id="{A5E2EC23-F18F-4EDE-AACF-71A7C83B6855}"/>
                  </a:ext>
                </a:extLst>
              </p:cNvPr>
              <p:cNvSpPr/>
              <p:nvPr/>
            </p:nvSpPr>
            <p:spPr>
              <a:xfrm>
                <a:off x="357820" y="2581295"/>
                <a:ext cx="405524" cy="180233"/>
              </a:xfrm>
              <a:custGeom>
                <a:avLst/>
                <a:gdLst>
                  <a:gd name="connsiteX0" fmla="*/ 52461 w 405524"/>
                  <a:gd name="connsiteY0" fmla="*/ 4828 h 180232"/>
                  <a:gd name="connsiteX1" fmla="*/ 19311 w 405524"/>
                  <a:gd name="connsiteY1" fmla="*/ 4828 h 180232"/>
                  <a:gd name="connsiteX2" fmla="*/ 4828 w 405524"/>
                  <a:gd name="connsiteY2" fmla="*/ 19311 h 180232"/>
                  <a:gd name="connsiteX3" fmla="*/ 19311 w 405524"/>
                  <a:gd name="connsiteY3" fmla="*/ 33794 h 180232"/>
                  <a:gd name="connsiteX4" fmla="*/ 173474 w 405524"/>
                  <a:gd name="connsiteY4" fmla="*/ 33794 h 180232"/>
                  <a:gd name="connsiteX5" fmla="*/ 237521 w 405524"/>
                  <a:gd name="connsiteY5" fmla="*/ 102347 h 180232"/>
                  <a:gd name="connsiteX6" fmla="*/ 255223 w 405524"/>
                  <a:gd name="connsiteY6" fmla="*/ 110071 h 180232"/>
                  <a:gd name="connsiteX7" fmla="*/ 357891 w 405524"/>
                  <a:gd name="connsiteY7" fmla="*/ 110393 h 180232"/>
                  <a:gd name="connsiteX8" fmla="*/ 323132 w 405524"/>
                  <a:gd name="connsiteY8" fmla="*/ 151911 h 180232"/>
                  <a:gd name="connsiteX9" fmla="*/ 325063 w 405524"/>
                  <a:gd name="connsiteY9" fmla="*/ 172509 h 180232"/>
                  <a:gd name="connsiteX10" fmla="*/ 334396 w 405524"/>
                  <a:gd name="connsiteY10" fmla="*/ 176049 h 180232"/>
                  <a:gd name="connsiteX11" fmla="*/ 345661 w 405524"/>
                  <a:gd name="connsiteY11" fmla="*/ 170899 h 180232"/>
                  <a:gd name="connsiteX12" fmla="*/ 400375 w 405524"/>
                  <a:gd name="connsiteY12" fmla="*/ 105565 h 180232"/>
                  <a:gd name="connsiteX13" fmla="*/ 401018 w 405524"/>
                  <a:gd name="connsiteY13" fmla="*/ 104599 h 180232"/>
                  <a:gd name="connsiteX14" fmla="*/ 401340 w 405524"/>
                  <a:gd name="connsiteY14" fmla="*/ 103956 h 180232"/>
                  <a:gd name="connsiteX15" fmla="*/ 402627 w 405524"/>
                  <a:gd name="connsiteY15" fmla="*/ 101703 h 180232"/>
                  <a:gd name="connsiteX16" fmla="*/ 402949 w 405524"/>
                  <a:gd name="connsiteY16" fmla="*/ 101381 h 180232"/>
                  <a:gd name="connsiteX17" fmla="*/ 403593 w 405524"/>
                  <a:gd name="connsiteY17" fmla="*/ 99450 h 180232"/>
                  <a:gd name="connsiteX18" fmla="*/ 403593 w 405524"/>
                  <a:gd name="connsiteY18" fmla="*/ 98806 h 180232"/>
                  <a:gd name="connsiteX19" fmla="*/ 403915 w 405524"/>
                  <a:gd name="connsiteY19" fmla="*/ 96875 h 180232"/>
                  <a:gd name="connsiteX20" fmla="*/ 403915 w 405524"/>
                  <a:gd name="connsiteY20" fmla="*/ 96232 h 180232"/>
                  <a:gd name="connsiteX21" fmla="*/ 403593 w 405524"/>
                  <a:gd name="connsiteY21" fmla="*/ 93657 h 180232"/>
                  <a:gd name="connsiteX22" fmla="*/ 403593 w 405524"/>
                  <a:gd name="connsiteY22" fmla="*/ 93013 h 180232"/>
                  <a:gd name="connsiteX23" fmla="*/ 402949 w 405524"/>
                  <a:gd name="connsiteY23" fmla="*/ 91082 h 180232"/>
                  <a:gd name="connsiteX24" fmla="*/ 402627 w 405524"/>
                  <a:gd name="connsiteY24" fmla="*/ 90438 h 180232"/>
                  <a:gd name="connsiteX25" fmla="*/ 402306 w 405524"/>
                  <a:gd name="connsiteY25" fmla="*/ 89795 h 180232"/>
                  <a:gd name="connsiteX26" fmla="*/ 401662 w 405524"/>
                  <a:gd name="connsiteY26" fmla="*/ 88507 h 180232"/>
                  <a:gd name="connsiteX27" fmla="*/ 401340 w 405524"/>
                  <a:gd name="connsiteY27" fmla="*/ 88185 h 180232"/>
                  <a:gd name="connsiteX28" fmla="*/ 399731 w 405524"/>
                  <a:gd name="connsiteY28" fmla="*/ 86254 h 180232"/>
                  <a:gd name="connsiteX29" fmla="*/ 399409 w 405524"/>
                  <a:gd name="connsiteY29" fmla="*/ 85933 h 180232"/>
                  <a:gd name="connsiteX30" fmla="*/ 341477 w 405524"/>
                  <a:gd name="connsiteY30" fmla="*/ 26713 h 180232"/>
                  <a:gd name="connsiteX31" fmla="*/ 320879 w 405524"/>
                  <a:gd name="connsiteY31" fmla="*/ 26391 h 180232"/>
                  <a:gd name="connsiteX32" fmla="*/ 320557 w 405524"/>
                  <a:gd name="connsiteY32" fmla="*/ 46989 h 180232"/>
                  <a:gd name="connsiteX33" fmla="*/ 354029 w 405524"/>
                  <a:gd name="connsiteY33" fmla="*/ 81427 h 180232"/>
                  <a:gd name="connsiteX34" fmla="*/ 256832 w 405524"/>
                  <a:gd name="connsiteY34" fmla="*/ 81105 h 180232"/>
                  <a:gd name="connsiteX35" fmla="*/ 192785 w 405524"/>
                  <a:gd name="connsiteY35" fmla="*/ 12552 h 180232"/>
                  <a:gd name="connsiteX36" fmla="*/ 175083 w 405524"/>
                  <a:gd name="connsiteY36" fmla="*/ 4828 h 180232"/>
                  <a:gd name="connsiteX37" fmla="*/ 112967 w 405524"/>
                  <a:gd name="connsiteY37" fmla="*/ 4828 h 180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524" h="180232">
                    <a:moveTo>
                      <a:pt x="52461" y="4828"/>
                    </a:moveTo>
                    <a:lnTo>
                      <a:pt x="19311" y="4828"/>
                    </a:lnTo>
                    <a:cubicBezTo>
                      <a:pt x="11265" y="4828"/>
                      <a:pt x="4828" y="11265"/>
                      <a:pt x="4828" y="19311"/>
                    </a:cubicBezTo>
                    <a:cubicBezTo>
                      <a:pt x="4828" y="27357"/>
                      <a:pt x="11265" y="33794"/>
                      <a:pt x="19311" y="33794"/>
                    </a:cubicBezTo>
                    <a:lnTo>
                      <a:pt x="173474" y="33794"/>
                    </a:lnTo>
                    <a:lnTo>
                      <a:pt x="237521" y="102347"/>
                    </a:lnTo>
                    <a:cubicBezTo>
                      <a:pt x="242027" y="107174"/>
                      <a:pt x="248464" y="110071"/>
                      <a:pt x="255223" y="110071"/>
                    </a:cubicBezTo>
                    <a:lnTo>
                      <a:pt x="357891" y="110393"/>
                    </a:lnTo>
                    <a:lnTo>
                      <a:pt x="323132" y="151911"/>
                    </a:lnTo>
                    <a:cubicBezTo>
                      <a:pt x="317982" y="158026"/>
                      <a:pt x="318626" y="167359"/>
                      <a:pt x="325063" y="172509"/>
                    </a:cubicBezTo>
                    <a:cubicBezTo>
                      <a:pt x="327638" y="174762"/>
                      <a:pt x="331178" y="176049"/>
                      <a:pt x="334396" y="176049"/>
                    </a:cubicBezTo>
                    <a:cubicBezTo>
                      <a:pt x="338580" y="176049"/>
                      <a:pt x="342764" y="174118"/>
                      <a:pt x="345661" y="170899"/>
                    </a:cubicBezTo>
                    <a:lnTo>
                      <a:pt x="400375" y="105565"/>
                    </a:lnTo>
                    <a:cubicBezTo>
                      <a:pt x="400696" y="105243"/>
                      <a:pt x="400696" y="104921"/>
                      <a:pt x="401018" y="104599"/>
                    </a:cubicBezTo>
                    <a:cubicBezTo>
                      <a:pt x="401018" y="104278"/>
                      <a:pt x="401340" y="104278"/>
                      <a:pt x="401340" y="103956"/>
                    </a:cubicBezTo>
                    <a:cubicBezTo>
                      <a:pt x="401662" y="103312"/>
                      <a:pt x="402306" y="102668"/>
                      <a:pt x="402627" y="101703"/>
                    </a:cubicBezTo>
                    <a:cubicBezTo>
                      <a:pt x="402627" y="101703"/>
                      <a:pt x="402627" y="101381"/>
                      <a:pt x="402949" y="101381"/>
                    </a:cubicBezTo>
                    <a:cubicBezTo>
                      <a:pt x="403271" y="100737"/>
                      <a:pt x="403271" y="100094"/>
                      <a:pt x="403593" y="99450"/>
                    </a:cubicBezTo>
                    <a:cubicBezTo>
                      <a:pt x="403593" y="99128"/>
                      <a:pt x="403593" y="98806"/>
                      <a:pt x="403593" y="98806"/>
                    </a:cubicBezTo>
                    <a:cubicBezTo>
                      <a:pt x="403593" y="98163"/>
                      <a:pt x="403915" y="97519"/>
                      <a:pt x="403915" y="96875"/>
                    </a:cubicBezTo>
                    <a:cubicBezTo>
                      <a:pt x="403915" y="96553"/>
                      <a:pt x="403915" y="96553"/>
                      <a:pt x="403915" y="96232"/>
                    </a:cubicBezTo>
                    <a:cubicBezTo>
                      <a:pt x="403915" y="95266"/>
                      <a:pt x="403915" y="94622"/>
                      <a:pt x="403593" y="93657"/>
                    </a:cubicBezTo>
                    <a:cubicBezTo>
                      <a:pt x="403593" y="93335"/>
                      <a:pt x="403593" y="93335"/>
                      <a:pt x="403593" y="93013"/>
                    </a:cubicBezTo>
                    <a:cubicBezTo>
                      <a:pt x="403593" y="92369"/>
                      <a:pt x="403271" y="91726"/>
                      <a:pt x="402949" y="91082"/>
                    </a:cubicBezTo>
                    <a:cubicBezTo>
                      <a:pt x="402949" y="90760"/>
                      <a:pt x="402627" y="90438"/>
                      <a:pt x="402627" y="90438"/>
                    </a:cubicBezTo>
                    <a:cubicBezTo>
                      <a:pt x="402627" y="90116"/>
                      <a:pt x="402627" y="90116"/>
                      <a:pt x="402306" y="89795"/>
                    </a:cubicBezTo>
                    <a:cubicBezTo>
                      <a:pt x="401984" y="89151"/>
                      <a:pt x="401662" y="88829"/>
                      <a:pt x="401662" y="88507"/>
                    </a:cubicBezTo>
                    <a:cubicBezTo>
                      <a:pt x="401662" y="88507"/>
                      <a:pt x="401662" y="88185"/>
                      <a:pt x="401340" y="88185"/>
                    </a:cubicBezTo>
                    <a:cubicBezTo>
                      <a:pt x="401018" y="87542"/>
                      <a:pt x="400375" y="86898"/>
                      <a:pt x="399731" y="86254"/>
                    </a:cubicBezTo>
                    <a:cubicBezTo>
                      <a:pt x="399731" y="86254"/>
                      <a:pt x="399731" y="86254"/>
                      <a:pt x="399409" y="85933"/>
                    </a:cubicBezTo>
                    <a:lnTo>
                      <a:pt x="341477" y="26713"/>
                    </a:lnTo>
                    <a:cubicBezTo>
                      <a:pt x="336006" y="20920"/>
                      <a:pt x="326672" y="20920"/>
                      <a:pt x="320879" y="26391"/>
                    </a:cubicBezTo>
                    <a:cubicBezTo>
                      <a:pt x="315086" y="31863"/>
                      <a:pt x="315086" y="41196"/>
                      <a:pt x="320557" y="46989"/>
                    </a:cubicBezTo>
                    <a:lnTo>
                      <a:pt x="354029" y="81427"/>
                    </a:lnTo>
                    <a:lnTo>
                      <a:pt x="256832" y="81105"/>
                    </a:lnTo>
                    <a:lnTo>
                      <a:pt x="192785" y="12552"/>
                    </a:lnTo>
                    <a:cubicBezTo>
                      <a:pt x="188279" y="7724"/>
                      <a:pt x="181842" y="4828"/>
                      <a:pt x="175083" y="4828"/>
                    </a:cubicBezTo>
                    <a:lnTo>
                      <a:pt x="112967" y="4828"/>
                    </a:lnTo>
                  </a:path>
                </a:pathLst>
              </a:custGeom>
              <a:noFill/>
              <a:ln w="15875" cap="flat">
                <a:solidFill>
                  <a:srgbClr val="A166FF"/>
                </a:solidFill>
                <a:prstDash val="solid"/>
                <a:round/>
              </a:ln>
            </p:spPr>
            <p:txBody>
              <a:bodyPr rtlCol="0" anchor="ctr"/>
              <a:lstStyle/>
              <a:p>
                <a:pPr algn="ctr" defTabSz="731504">
                  <a:defRPr/>
                </a:pPr>
                <a:endParaRPr lang="en-US" sz="1800">
                  <a:solidFill>
                    <a:srgbClr val="FFFFFF"/>
                  </a:solidFill>
                </a:endParaRPr>
              </a:p>
            </p:txBody>
          </p:sp>
          <p:sp>
            <p:nvSpPr>
              <p:cNvPr id="1001" name="Freeform: Shape 1000">
                <a:extLst>
                  <a:ext uri="{FF2B5EF4-FFF2-40B4-BE49-F238E27FC236}">
                    <a16:creationId xmlns:a16="http://schemas.microsoft.com/office/drawing/2014/main" id="{2206F7AA-4FC8-4445-8429-3F19AD640FCF}"/>
                  </a:ext>
                </a:extLst>
              </p:cNvPr>
              <p:cNvSpPr/>
              <p:nvPr/>
            </p:nvSpPr>
            <p:spPr>
              <a:xfrm>
                <a:off x="522926" y="2415546"/>
                <a:ext cx="241383" cy="164141"/>
              </a:xfrm>
              <a:custGeom>
                <a:avLst/>
                <a:gdLst>
                  <a:gd name="connsiteX0" fmla="*/ 4828 w 241383"/>
                  <a:gd name="connsiteY0" fmla="*/ 150301 h 164140"/>
                  <a:gd name="connsiteX1" fmla="*/ 72093 w 241383"/>
                  <a:gd name="connsiteY1" fmla="*/ 78530 h 164140"/>
                  <a:gd name="connsiteX2" fmla="*/ 89795 w 241383"/>
                  <a:gd name="connsiteY2" fmla="*/ 70806 h 164140"/>
                  <a:gd name="connsiteX3" fmla="*/ 192463 w 241383"/>
                  <a:gd name="connsiteY3" fmla="*/ 70484 h 164140"/>
                  <a:gd name="connsiteX4" fmla="*/ 157704 w 241383"/>
                  <a:gd name="connsiteY4" fmla="*/ 28966 h 164140"/>
                  <a:gd name="connsiteX5" fmla="*/ 159635 w 241383"/>
                  <a:gd name="connsiteY5" fmla="*/ 8368 h 164140"/>
                  <a:gd name="connsiteX6" fmla="*/ 168968 w 241383"/>
                  <a:gd name="connsiteY6" fmla="*/ 4828 h 164140"/>
                  <a:gd name="connsiteX7" fmla="*/ 180233 w 241383"/>
                  <a:gd name="connsiteY7" fmla="*/ 9977 h 164140"/>
                  <a:gd name="connsiteX8" fmla="*/ 234946 w 241383"/>
                  <a:gd name="connsiteY8" fmla="*/ 75312 h 164140"/>
                  <a:gd name="connsiteX9" fmla="*/ 235590 w 241383"/>
                  <a:gd name="connsiteY9" fmla="*/ 76277 h 164140"/>
                  <a:gd name="connsiteX10" fmla="*/ 235912 w 241383"/>
                  <a:gd name="connsiteY10" fmla="*/ 76921 h 164140"/>
                  <a:gd name="connsiteX11" fmla="*/ 237199 w 241383"/>
                  <a:gd name="connsiteY11" fmla="*/ 79174 h 164140"/>
                  <a:gd name="connsiteX12" fmla="*/ 237521 w 241383"/>
                  <a:gd name="connsiteY12" fmla="*/ 79496 h 164140"/>
                  <a:gd name="connsiteX13" fmla="*/ 238165 w 241383"/>
                  <a:gd name="connsiteY13" fmla="*/ 81427 h 164140"/>
                  <a:gd name="connsiteX14" fmla="*/ 238165 w 241383"/>
                  <a:gd name="connsiteY14" fmla="*/ 82070 h 164140"/>
                  <a:gd name="connsiteX15" fmla="*/ 238487 w 241383"/>
                  <a:gd name="connsiteY15" fmla="*/ 84001 h 164140"/>
                  <a:gd name="connsiteX16" fmla="*/ 238487 w 241383"/>
                  <a:gd name="connsiteY16" fmla="*/ 84645 h 164140"/>
                  <a:gd name="connsiteX17" fmla="*/ 238165 w 241383"/>
                  <a:gd name="connsiteY17" fmla="*/ 87220 h 164140"/>
                  <a:gd name="connsiteX18" fmla="*/ 238165 w 241383"/>
                  <a:gd name="connsiteY18" fmla="*/ 87864 h 164140"/>
                  <a:gd name="connsiteX19" fmla="*/ 237521 w 241383"/>
                  <a:gd name="connsiteY19" fmla="*/ 89795 h 164140"/>
                  <a:gd name="connsiteX20" fmla="*/ 237199 w 241383"/>
                  <a:gd name="connsiteY20" fmla="*/ 90438 h 164140"/>
                  <a:gd name="connsiteX21" fmla="*/ 236878 w 241383"/>
                  <a:gd name="connsiteY21" fmla="*/ 91082 h 164140"/>
                  <a:gd name="connsiteX22" fmla="*/ 236234 w 241383"/>
                  <a:gd name="connsiteY22" fmla="*/ 92369 h 164140"/>
                  <a:gd name="connsiteX23" fmla="*/ 235912 w 241383"/>
                  <a:gd name="connsiteY23" fmla="*/ 92691 h 164140"/>
                  <a:gd name="connsiteX24" fmla="*/ 234303 w 241383"/>
                  <a:gd name="connsiteY24" fmla="*/ 94622 h 164140"/>
                  <a:gd name="connsiteX25" fmla="*/ 233981 w 241383"/>
                  <a:gd name="connsiteY25" fmla="*/ 94944 h 164140"/>
                  <a:gd name="connsiteX26" fmla="*/ 176049 w 241383"/>
                  <a:gd name="connsiteY26" fmla="*/ 154164 h 164140"/>
                  <a:gd name="connsiteX27" fmla="*/ 155451 w 241383"/>
                  <a:gd name="connsiteY27" fmla="*/ 154485 h 164140"/>
                  <a:gd name="connsiteX28" fmla="*/ 155129 w 241383"/>
                  <a:gd name="connsiteY28" fmla="*/ 133887 h 164140"/>
                  <a:gd name="connsiteX29" fmla="*/ 188601 w 241383"/>
                  <a:gd name="connsiteY29" fmla="*/ 99450 h 164140"/>
                  <a:gd name="connsiteX30" fmla="*/ 91404 w 241383"/>
                  <a:gd name="connsiteY30" fmla="*/ 99772 h 164140"/>
                  <a:gd name="connsiteX31" fmla="*/ 34116 w 241383"/>
                  <a:gd name="connsiteY31" fmla="*/ 161244 h 16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41383" h="164140">
                    <a:moveTo>
                      <a:pt x="4828" y="150301"/>
                    </a:moveTo>
                    <a:lnTo>
                      <a:pt x="72093" y="78530"/>
                    </a:lnTo>
                    <a:cubicBezTo>
                      <a:pt x="76599" y="73702"/>
                      <a:pt x="83036" y="70806"/>
                      <a:pt x="89795" y="70806"/>
                    </a:cubicBezTo>
                    <a:lnTo>
                      <a:pt x="192463" y="70484"/>
                    </a:lnTo>
                    <a:lnTo>
                      <a:pt x="157704" y="28966"/>
                    </a:lnTo>
                    <a:cubicBezTo>
                      <a:pt x="152554" y="22851"/>
                      <a:pt x="153198" y="13517"/>
                      <a:pt x="159635" y="8368"/>
                    </a:cubicBezTo>
                    <a:cubicBezTo>
                      <a:pt x="162210" y="6115"/>
                      <a:pt x="165750" y="4828"/>
                      <a:pt x="168968" y="4828"/>
                    </a:cubicBezTo>
                    <a:cubicBezTo>
                      <a:pt x="173152" y="4828"/>
                      <a:pt x="177336" y="6759"/>
                      <a:pt x="180233" y="9977"/>
                    </a:cubicBezTo>
                    <a:lnTo>
                      <a:pt x="234946" y="75312"/>
                    </a:lnTo>
                    <a:cubicBezTo>
                      <a:pt x="235268" y="75633"/>
                      <a:pt x="235268" y="75955"/>
                      <a:pt x="235590" y="76277"/>
                    </a:cubicBezTo>
                    <a:cubicBezTo>
                      <a:pt x="235590" y="76599"/>
                      <a:pt x="235912" y="76599"/>
                      <a:pt x="235912" y="76921"/>
                    </a:cubicBezTo>
                    <a:cubicBezTo>
                      <a:pt x="236234" y="77565"/>
                      <a:pt x="236878" y="78208"/>
                      <a:pt x="237199" y="79174"/>
                    </a:cubicBezTo>
                    <a:cubicBezTo>
                      <a:pt x="237199" y="79174"/>
                      <a:pt x="237199" y="79496"/>
                      <a:pt x="237521" y="79496"/>
                    </a:cubicBezTo>
                    <a:cubicBezTo>
                      <a:pt x="237843" y="80139"/>
                      <a:pt x="237843" y="80783"/>
                      <a:pt x="238165" y="81427"/>
                    </a:cubicBezTo>
                    <a:cubicBezTo>
                      <a:pt x="238165" y="81749"/>
                      <a:pt x="238165" y="82070"/>
                      <a:pt x="238165" y="82070"/>
                    </a:cubicBezTo>
                    <a:cubicBezTo>
                      <a:pt x="238165" y="82714"/>
                      <a:pt x="238487" y="83358"/>
                      <a:pt x="238487" y="84001"/>
                    </a:cubicBezTo>
                    <a:cubicBezTo>
                      <a:pt x="238487" y="84323"/>
                      <a:pt x="238487" y="84323"/>
                      <a:pt x="238487" y="84645"/>
                    </a:cubicBezTo>
                    <a:cubicBezTo>
                      <a:pt x="238487" y="85611"/>
                      <a:pt x="238487" y="86254"/>
                      <a:pt x="238165" y="87220"/>
                    </a:cubicBezTo>
                    <a:cubicBezTo>
                      <a:pt x="238165" y="87542"/>
                      <a:pt x="238165" y="87542"/>
                      <a:pt x="238165" y="87864"/>
                    </a:cubicBezTo>
                    <a:cubicBezTo>
                      <a:pt x="238165" y="88507"/>
                      <a:pt x="237843" y="89151"/>
                      <a:pt x="237521" y="89795"/>
                    </a:cubicBezTo>
                    <a:cubicBezTo>
                      <a:pt x="237521" y="90116"/>
                      <a:pt x="237199" y="90438"/>
                      <a:pt x="237199" y="90438"/>
                    </a:cubicBezTo>
                    <a:cubicBezTo>
                      <a:pt x="237199" y="90760"/>
                      <a:pt x="237199" y="90760"/>
                      <a:pt x="236878" y="91082"/>
                    </a:cubicBezTo>
                    <a:cubicBezTo>
                      <a:pt x="236556" y="91726"/>
                      <a:pt x="236234" y="92048"/>
                      <a:pt x="236234" y="92369"/>
                    </a:cubicBezTo>
                    <a:cubicBezTo>
                      <a:pt x="236234" y="92369"/>
                      <a:pt x="236234" y="92691"/>
                      <a:pt x="235912" y="92691"/>
                    </a:cubicBezTo>
                    <a:cubicBezTo>
                      <a:pt x="235590" y="93335"/>
                      <a:pt x="234946" y="93979"/>
                      <a:pt x="234303" y="94622"/>
                    </a:cubicBezTo>
                    <a:cubicBezTo>
                      <a:pt x="234303" y="94622"/>
                      <a:pt x="234303" y="94622"/>
                      <a:pt x="233981" y="94944"/>
                    </a:cubicBezTo>
                    <a:lnTo>
                      <a:pt x="176049" y="154164"/>
                    </a:lnTo>
                    <a:cubicBezTo>
                      <a:pt x="170578" y="159957"/>
                      <a:pt x="161244" y="159957"/>
                      <a:pt x="155451" y="154485"/>
                    </a:cubicBezTo>
                    <a:cubicBezTo>
                      <a:pt x="149658" y="149014"/>
                      <a:pt x="149658" y="139681"/>
                      <a:pt x="155129" y="133887"/>
                    </a:cubicBezTo>
                    <a:lnTo>
                      <a:pt x="188601" y="99450"/>
                    </a:lnTo>
                    <a:lnTo>
                      <a:pt x="91404" y="99772"/>
                    </a:lnTo>
                    <a:lnTo>
                      <a:pt x="34116" y="161244"/>
                    </a:lnTo>
                  </a:path>
                </a:pathLst>
              </a:custGeom>
              <a:noFill/>
              <a:ln w="15875" cap="flat">
                <a:solidFill>
                  <a:srgbClr val="A166FF"/>
                </a:solidFill>
                <a:prstDash val="solid"/>
                <a:round/>
              </a:ln>
            </p:spPr>
            <p:txBody>
              <a:bodyPr rtlCol="0" anchor="ctr"/>
              <a:lstStyle/>
              <a:p>
                <a:pPr algn="ctr" defTabSz="731504">
                  <a:defRPr/>
                </a:pPr>
                <a:endParaRPr lang="en-US" sz="1800">
                  <a:solidFill>
                    <a:srgbClr val="FFFFFF"/>
                  </a:solidFill>
                </a:endParaRPr>
              </a:p>
            </p:txBody>
          </p:sp>
        </p:grpSp>
        <p:grpSp>
          <p:nvGrpSpPr>
            <p:cNvPr id="986" name="Group 985">
              <a:extLst>
                <a:ext uri="{FF2B5EF4-FFF2-40B4-BE49-F238E27FC236}">
                  <a16:creationId xmlns:a16="http://schemas.microsoft.com/office/drawing/2014/main" id="{47320D4C-FCC8-4006-9579-2517B24BD92B}"/>
                </a:ext>
              </a:extLst>
            </p:cNvPr>
            <p:cNvGrpSpPr/>
            <p:nvPr/>
          </p:nvGrpSpPr>
          <p:grpSpPr>
            <a:xfrm>
              <a:off x="9869002" y="7003188"/>
              <a:ext cx="57150" cy="57150"/>
              <a:chOff x="10385822" y="7024688"/>
              <a:chExt cx="133350" cy="133350"/>
            </a:xfrm>
          </p:grpSpPr>
          <p:cxnSp>
            <p:nvCxnSpPr>
              <p:cNvPr id="993" name="Straight Connector 992">
                <a:extLst>
                  <a:ext uri="{FF2B5EF4-FFF2-40B4-BE49-F238E27FC236}">
                    <a16:creationId xmlns:a16="http://schemas.microsoft.com/office/drawing/2014/main" id="{437527E1-62B2-43A8-9320-2629B7FE4BBD}"/>
                  </a:ext>
                </a:extLst>
              </p:cNvPr>
              <p:cNvCxnSpPr/>
              <p:nvPr/>
            </p:nvCxnSpPr>
            <p:spPr>
              <a:xfrm>
                <a:off x="10385822" y="7024688"/>
                <a:ext cx="133350" cy="133350"/>
              </a:xfrm>
              <a:prstGeom prst="line">
                <a:avLst/>
              </a:prstGeom>
              <a:noFill/>
              <a:ln w="15875" cap="flat">
                <a:solidFill>
                  <a:srgbClr val="A166FF"/>
                </a:solidFill>
                <a:prstDash val="solid"/>
                <a:round/>
              </a:ln>
            </p:spPr>
          </p:cxnSp>
          <p:cxnSp>
            <p:nvCxnSpPr>
              <p:cNvPr id="994" name="Straight Connector 993">
                <a:extLst>
                  <a:ext uri="{FF2B5EF4-FFF2-40B4-BE49-F238E27FC236}">
                    <a16:creationId xmlns:a16="http://schemas.microsoft.com/office/drawing/2014/main" id="{1FE98960-1453-4FED-821C-3B21771B4FF3}"/>
                  </a:ext>
                </a:extLst>
              </p:cNvPr>
              <p:cNvCxnSpPr>
                <a:cxnSpLocks/>
              </p:cNvCxnSpPr>
              <p:nvPr/>
            </p:nvCxnSpPr>
            <p:spPr>
              <a:xfrm flipH="1">
                <a:off x="10385822" y="7024688"/>
                <a:ext cx="133350" cy="133350"/>
              </a:xfrm>
              <a:prstGeom prst="line">
                <a:avLst/>
              </a:prstGeom>
              <a:noFill/>
              <a:ln w="15875" cap="flat">
                <a:solidFill>
                  <a:srgbClr val="A166FF"/>
                </a:solidFill>
                <a:prstDash val="solid"/>
                <a:round/>
              </a:ln>
            </p:spPr>
          </p:cxnSp>
        </p:grpSp>
        <p:grpSp>
          <p:nvGrpSpPr>
            <p:cNvPr id="987" name="Group 986">
              <a:extLst>
                <a:ext uri="{FF2B5EF4-FFF2-40B4-BE49-F238E27FC236}">
                  <a16:creationId xmlns:a16="http://schemas.microsoft.com/office/drawing/2014/main" id="{D85482C9-FCB8-4143-8EB8-D18AC003BF54}"/>
                </a:ext>
              </a:extLst>
            </p:cNvPr>
            <p:cNvGrpSpPr/>
            <p:nvPr/>
          </p:nvGrpSpPr>
          <p:grpSpPr>
            <a:xfrm>
              <a:off x="9561036" y="7466749"/>
              <a:ext cx="57150" cy="57150"/>
              <a:chOff x="10385822" y="7024688"/>
              <a:chExt cx="133350" cy="133350"/>
            </a:xfrm>
          </p:grpSpPr>
          <p:cxnSp>
            <p:nvCxnSpPr>
              <p:cNvPr id="991" name="Straight Connector 990">
                <a:extLst>
                  <a:ext uri="{FF2B5EF4-FFF2-40B4-BE49-F238E27FC236}">
                    <a16:creationId xmlns:a16="http://schemas.microsoft.com/office/drawing/2014/main" id="{F1A669FD-2E44-41B4-B8B3-400CAFF53506}"/>
                  </a:ext>
                </a:extLst>
              </p:cNvPr>
              <p:cNvCxnSpPr/>
              <p:nvPr/>
            </p:nvCxnSpPr>
            <p:spPr>
              <a:xfrm>
                <a:off x="10385822" y="7024688"/>
                <a:ext cx="133350" cy="133350"/>
              </a:xfrm>
              <a:prstGeom prst="line">
                <a:avLst/>
              </a:prstGeom>
              <a:noFill/>
              <a:ln w="15875" cap="flat">
                <a:solidFill>
                  <a:srgbClr val="A166FF"/>
                </a:solidFill>
                <a:prstDash val="solid"/>
                <a:round/>
              </a:ln>
            </p:spPr>
          </p:cxnSp>
          <p:cxnSp>
            <p:nvCxnSpPr>
              <p:cNvPr id="992" name="Straight Connector 991">
                <a:extLst>
                  <a:ext uri="{FF2B5EF4-FFF2-40B4-BE49-F238E27FC236}">
                    <a16:creationId xmlns:a16="http://schemas.microsoft.com/office/drawing/2014/main" id="{129FA14A-C7A6-4FB9-81D6-6D3BEEDBACB2}"/>
                  </a:ext>
                </a:extLst>
              </p:cNvPr>
              <p:cNvCxnSpPr>
                <a:cxnSpLocks/>
              </p:cNvCxnSpPr>
              <p:nvPr/>
            </p:nvCxnSpPr>
            <p:spPr>
              <a:xfrm flipH="1">
                <a:off x="10385822" y="7024688"/>
                <a:ext cx="133350" cy="133350"/>
              </a:xfrm>
              <a:prstGeom prst="line">
                <a:avLst/>
              </a:prstGeom>
              <a:noFill/>
              <a:ln w="15875" cap="flat">
                <a:solidFill>
                  <a:srgbClr val="A166FF"/>
                </a:solidFill>
                <a:prstDash val="solid"/>
                <a:round/>
              </a:ln>
            </p:spPr>
          </p:cxnSp>
        </p:grpSp>
        <p:grpSp>
          <p:nvGrpSpPr>
            <p:cNvPr id="988" name="Group 987">
              <a:extLst>
                <a:ext uri="{FF2B5EF4-FFF2-40B4-BE49-F238E27FC236}">
                  <a16:creationId xmlns:a16="http://schemas.microsoft.com/office/drawing/2014/main" id="{B82FB434-8E94-45FB-8829-7E77F0C7C0BA}"/>
                </a:ext>
              </a:extLst>
            </p:cNvPr>
            <p:cNvGrpSpPr/>
            <p:nvPr/>
          </p:nvGrpSpPr>
          <p:grpSpPr>
            <a:xfrm>
              <a:off x="9853214" y="7527132"/>
              <a:ext cx="57150" cy="57150"/>
              <a:chOff x="10385822" y="7024688"/>
              <a:chExt cx="133350" cy="133350"/>
            </a:xfrm>
          </p:grpSpPr>
          <p:cxnSp>
            <p:nvCxnSpPr>
              <p:cNvPr id="989" name="Straight Connector 988">
                <a:extLst>
                  <a:ext uri="{FF2B5EF4-FFF2-40B4-BE49-F238E27FC236}">
                    <a16:creationId xmlns:a16="http://schemas.microsoft.com/office/drawing/2014/main" id="{BE2FFE83-E7CC-4B46-9829-9BF1A8A03401}"/>
                  </a:ext>
                </a:extLst>
              </p:cNvPr>
              <p:cNvCxnSpPr/>
              <p:nvPr/>
            </p:nvCxnSpPr>
            <p:spPr>
              <a:xfrm>
                <a:off x="10385822" y="7024688"/>
                <a:ext cx="133350" cy="133350"/>
              </a:xfrm>
              <a:prstGeom prst="line">
                <a:avLst/>
              </a:prstGeom>
              <a:noFill/>
              <a:ln w="15875" cap="flat">
                <a:solidFill>
                  <a:srgbClr val="A166FF"/>
                </a:solidFill>
                <a:prstDash val="solid"/>
                <a:round/>
              </a:ln>
            </p:spPr>
          </p:cxnSp>
          <p:cxnSp>
            <p:nvCxnSpPr>
              <p:cNvPr id="990" name="Straight Connector 989">
                <a:extLst>
                  <a:ext uri="{FF2B5EF4-FFF2-40B4-BE49-F238E27FC236}">
                    <a16:creationId xmlns:a16="http://schemas.microsoft.com/office/drawing/2014/main" id="{BC567B94-43BC-4185-B830-D41D5CC1131B}"/>
                  </a:ext>
                </a:extLst>
              </p:cNvPr>
              <p:cNvCxnSpPr>
                <a:cxnSpLocks/>
              </p:cNvCxnSpPr>
              <p:nvPr/>
            </p:nvCxnSpPr>
            <p:spPr>
              <a:xfrm flipH="1">
                <a:off x="10385822" y="7024688"/>
                <a:ext cx="133350" cy="133350"/>
              </a:xfrm>
              <a:prstGeom prst="line">
                <a:avLst/>
              </a:prstGeom>
              <a:noFill/>
              <a:ln w="15875" cap="flat">
                <a:solidFill>
                  <a:srgbClr val="A166FF"/>
                </a:solidFill>
                <a:prstDash val="solid"/>
                <a:round/>
              </a:ln>
            </p:spPr>
          </p:cxnSp>
        </p:grpSp>
      </p:grpSp>
      <p:grpSp>
        <p:nvGrpSpPr>
          <p:cNvPr id="1004" name="Group 1003">
            <a:extLst>
              <a:ext uri="{FF2B5EF4-FFF2-40B4-BE49-F238E27FC236}">
                <a16:creationId xmlns:a16="http://schemas.microsoft.com/office/drawing/2014/main" id="{E8D59516-DE7C-478E-9A4A-1541D29D3104}"/>
              </a:ext>
            </a:extLst>
          </p:cNvPr>
          <p:cNvGrpSpPr/>
          <p:nvPr/>
        </p:nvGrpSpPr>
        <p:grpSpPr>
          <a:xfrm>
            <a:off x="5856516" y="2632343"/>
            <a:ext cx="718766" cy="790712"/>
            <a:chOff x="10283651" y="2930442"/>
            <a:chExt cx="727249" cy="800043"/>
          </a:xfrm>
        </p:grpSpPr>
        <p:sp>
          <p:nvSpPr>
            <p:cNvPr id="1005" name="Oval 1004">
              <a:extLst>
                <a:ext uri="{FF2B5EF4-FFF2-40B4-BE49-F238E27FC236}">
                  <a16:creationId xmlns:a16="http://schemas.microsoft.com/office/drawing/2014/main" id="{0E966A35-2F65-43E1-8642-8F33435F51C1}"/>
                </a:ext>
              </a:extLst>
            </p:cNvPr>
            <p:cNvSpPr/>
            <p:nvPr/>
          </p:nvSpPr>
          <p:spPr>
            <a:xfrm>
              <a:off x="10419224" y="3561559"/>
              <a:ext cx="456101" cy="168926"/>
            </a:xfrm>
            <a:prstGeom prst="ellipse">
              <a:avLst/>
            </a:prstGeom>
            <a:noFill/>
            <a:ln w="158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731504">
                <a:defRPr/>
              </a:pPr>
              <a:endParaRPr lang="en-US" sz="1800">
                <a:solidFill>
                  <a:srgbClr val="FFFFFF"/>
                </a:solidFill>
                <a:latin typeface="Amazon Ember"/>
              </a:endParaRPr>
            </a:p>
          </p:txBody>
        </p:sp>
        <p:sp>
          <p:nvSpPr>
            <p:cNvPr id="1006" name="Rectangle 1005">
              <a:extLst>
                <a:ext uri="{FF2B5EF4-FFF2-40B4-BE49-F238E27FC236}">
                  <a16:creationId xmlns:a16="http://schemas.microsoft.com/office/drawing/2014/main" id="{F84BB20F-CBCA-47F1-9BA1-9B56323EAC67}"/>
                </a:ext>
              </a:extLst>
            </p:cNvPr>
            <p:cNvSpPr/>
            <p:nvPr/>
          </p:nvSpPr>
          <p:spPr>
            <a:xfrm>
              <a:off x="10558493" y="3450716"/>
              <a:ext cx="177565" cy="19370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731504">
                <a:defRPr/>
              </a:pPr>
              <a:endParaRPr lang="en-US" sz="1800" dirty="0">
                <a:solidFill>
                  <a:srgbClr val="FFFFFF"/>
                </a:solidFill>
                <a:latin typeface="Amazon Ember"/>
              </a:endParaRPr>
            </a:p>
          </p:txBody>
        </p:sp>
        <p:grpSp>
          <p:nvGrpSpPr>
            <p:cNvPr id="1007" name="Graphic 236">
              <a:extLst>
                <a:ext uri="{FF2B5EF4-FFF2-40B4-BE49-F238E27FC236}">
                  <a16:creationId xmlns:a16="http://schemas.microsoft.com/office/drawing/2014/main" id="{BB894820-A0F5-472A-9542-ED02202FD2AB}"/>
                </a:ext>
              </a:extLst>
            </p:cNvPr>
            <p:cNvGrpSpPr/>
            <p:nvPr/>
          </p:nvGrpSpPr>
          <p:grpSpPr>
            <a:xfrm rot="18950275">
              <a:off x="10283651" y="2930442"/>
              <a:ext cx="727249" cy="727249"/>
              <a:chOff x="4629252" y="322847"/>
              <a:chExt cx="643689" cy="643689"/>
            </a:xfrm>
          </p:grpSpPr>
          <p:sp>
            <p:nvSpPr>
              <p:cNvPr id="1008" name="Freeform: Shape 1007">
                <a:extLst>
                  <a:ext uri="{FF2B5EF4-FFF2-40B4-BE49-F238E27FC236}">
                    <a16:creationId xmlns:a16="http://schemas.microsoft.com/office/drawing/2014/main" id="{DFAD5E61-BA82-4711-A4C9-E34901AF20EC}"/>
                  </a:ext>
                </a:extLst>
              </p:cNvPr>
              <p:cNvSpPr/>
              <p:nvPr/>
            </p:nvSpPr>
            <p:spPr>
              <a:xfrm>
                <a:off x="4829117" y="427235"/>
                <a:ext cx="337937" cy="337937"/>
              </a:xfrm>
              <a:custGeom>
                <a:avLst/>
                <a:gdLst>
                  <a:gd name="connsiteX0" fmla="*/ 101059 w 337936"/>
                  <a:gd name="connsiteY0" fmla="*/ 334286 h 337936"/>
                  <a:gd name="connsiteX1" fmla="*/ 226257 w 337936"/>
                  <a:gd name="connsiteY1" fmla="*/ 254790 h 337936"/>
                  <a:gd name="connsiteX2" fmla="*/ 333753 w 337936"/>
                  <a:gd name="connsiteY2" fmla="*/ 5361 h 337936"/>
                  <a:gd name="connsiteX3" fmla="*/ 84323 w 337936"/>
                  <a:gd name="connsiteY3" fmla="*/ 112857 h 337936"/>
                  <a:gd name="connsiteX4" fmla="*/ 4828 w 337936"/>
                  <a:gd name="connsiteY4" fmla="*/ 238055 h 337936"/>
                  <a:gd name="connsiteX5" fmla="*/ 101059 w 337936"/>
                  <a:gd name="connsiteY5" fmla="*/ 334286 h 337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36" h="337936">
                    <a:moveTo>
                      <a:pt x="101059" y="334286"/>
                    </a:moveTo>
                    <a:cubicBezTo>
                      <a:pt x="162210" y="313044"/>
                      <a:pt x="226257" y="254790"/>
                      <a:pt x="226257" y="254790"/>
                    </a:cubicBezTo>
                    <a:cubicBezTo>
                      <a:pt x="348236" y="132811"/>
                      <a:pt x="333753" y="5361"/>
                      <a:pt x="333753" y="5361"/>
                    </a:cubicBezTo>
                    <a:cubicBezTo>
                      <a:pt x="333753" y="5361"/>
                      <a:pt x="206302" y="-9122"/>
                      <a:pt x="84323" y="112857"/>
                    </a:cubicBezTo>
                    <a:cubicBezTo>
                      <a:pt x="84323" y="112857"/>
                      <a:pt x="26391" y="176904"/>
                      <a:pt x="4828" y="238055"/>
                    </a:cubicBezTo>
                    <a:lnTo>
                      <a:pt x="101059" y="334286"/>
                    </a:lnTo>
                    <a:close/>
                  </a:path>
                </a:pathLst>
              </a:custGeom>
              <a:noFill/>
              <a:ln w="15875" cap="flat">
                <a:solidFill>
                  <a:schemeClr val="tx1"/>
                </a:solidFill>
                <a:prstDash val="solid"/>
                <a:round/>
              </a:ln>
            </p:spPr>
            <p:txBody>
              <a:bodyPr rtlCol="0" anchor="ctr"/>
              <a:lstStyle/>
              <a:p>
                <a:pPr defTabSz="731504">
                  <a:defRPr/>
                </a:pPr>
                <a:endParaRPr lang="en-US" sz="1800" dirty="0">
                  <a:solidFill>
                    <a:srgbClr val="FFFFFF"/>
                  </a:solidFill>
                </a:endParaRPr>
              </a:p>
            </p:txBody>
          </p:sp>
          <p:sp>
            <p:nvSpPr>
              <p:cNvPr id="1009" name="Freeform: Shape 1008">
                <a:extLst>
                  <a:ext uri="{FF2B5EF4-FFF2-40B4-BE49-F238E27FC236}">
                    <a16:creationId xmlns:a16="http://schemas.microsoft.com/office/drawing/2014/main" id="{C3012081-7212-497F-89EB-B54F9C70B8E5}"/>
                  </a:ext>
                </a:extLst>
              </p:cNvPr>
              <p:cNvSpPr/>
              <p:nvPr/>
            </p:nvSpPr>
            <p:spPr>
              <a:xfrm>
                <a:off x="4804657" y="682669"/>
                <a:ext cx="106209" cy="106209"/>
              </a:xfrm>
              <a:custGeom>
                <a:avLst/>
                <a:gdLst>
                  <a:gd name="connsiteX0" fmla="*/ 51495 w 106208"/>
                  <a:gd name="connsiteY0" fmla="*/ 4828 h 106208"/>
                  <a:gd name="connsiteX1" fmla="*/ 4828 w 106208"/>
                  <a:gd name="connsiteY1" fmla="*/ 5471 h 106208"/>
                  <a:gd name="connsiteX2" fmla="*/ 102668 w 106208"/>
                  <a:gd name="connsiteY2" fmla="*/ 103312 h 106208"/>
                  <a:gd name="connsiteX3" fmla="*/ 102668 w 106208"/>
                  <a:gd name="connsiteY3" fmla="*/ 56001 h 106208"/>
                </a:gdLst>
                <a:ahLst/>
                <a:cxnLst>
                  <a:cxn ang="0">
                    <a:pos x="connsiteX0" y="connsiteY0"/>
                  </a:cxn>
                  <a:cxn ang="0">
                    <a:pos x="connsiteX1" y="connsiteY1"/>
                  </a:cxn>
                  <a:cxn ang="0">
                    <a:pos x="connsiteX2" y="connsiteY2"/>
                  </a:cxn>
                  <a:cxn ang="0">
                    <a:pos x="connsiteX3" y="connsiteY3"/>
                  </a:cxn>
                </a:cxnLst>
                <a:rect l="l" t="t" r="r" b="b"/>
                <a:pathLst>
                  <a:path w="106208" h="106208">
                    <a:moveTo>
                      <a:pt x="51495" y="4828"/>
                    </a:moveTo>
                    <a:lnTo>
                      <a:pt x="4828" y="5471"/>
                    </a:lnTo>
                    <a:lnTo>
                      <a:pt x="102668" y="103312"/>
                    </a:lnTo>
                    <a:lnTo>
                      <a:pt x="102668" y="56001"/>
                    </a:lnTo>
                    <a:close/>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010" name="Freeform: Shape 1009">
                <a:extLst>
                  <a:ext uri="{FF2B5EF4-FFF2-40B4-BE49-F238E27FC236}">
                    <a16:creationId xmlns:a16="http://schemas.microsoft.com/office/drawing/2014/main" id="{B831ACED-B5FF-465D-93A1-BBC32AC7E311}"/>
                  </a:ext>
                </a:extLst>
              </p:cNvPr>
              <p:cNvSpPr/>
              <p:nvPr/>
            </p:nvSpPr>
            <p:spPr>
              <a:xfrm>
                <a:off x="4733851" y="539417"/>
                <a:ext cx="177014" cy="106209"/>
              </a:xfrm>
              <a:custGeom>
                <a:avLst/>
                <a:gdLst>
                  <a:gd name="connsiteX0" fmla="*/ 174762 w 177014"/>
                  <a:gd name="connsiteY0" fmla="*/ 5503 h 106208"/>
                  <a:gd name="connsiteX1" fmla="*/ 94944 w 177014"/>
                  <a:gd name="connsiteY1" fmla="*/ 11618 h 106208"/>
                  <a:gd name="connsiteX2" fmla="*/ 4828 w 177014"/>
                  <a:gd name="connsiteY2" fmla="*/ 101734 h 106208"/>
                  <a:gd name="connsiteX3" fmla="*/ 110071 w 177014"/>
                  <a:gd name="connsiteY3" fmla="*/ 101734 h 106208"/>
                </a:gdLst>
                <a:ahLst/>
                <a:cxnLst>
                  <a:cxn ang="0">
                    <a:pos x="connsiteX0" y="connsiteY0"/>
                  </a:cxn>
                  <a:cxn ang="0">
                    <a:pos x="connsiteX1" y="connsiteY1"/>
                  </a:cxn>
                  <a:cxn ang="0">
                    <a:pos x="connsiteX2" y="connsiteY2"/>
                  </a:cxn>
                  <a:cxn ang="0">
                    <a:pos x="connsiteX3" y="connsiteY3"/>
                  </a:cxn>
                </a:cxnLst>
                <a:rect l="l" t="t" r="r" b="b"/>
                <a:pathLst>
                  <a:path w="177014" h="106208">
                    <a:moveTo>
                      <a:pt x="174762" y="5503"/>
                    </a:moveTo>
                    <a:cubicBezTo>
                      <a:pt x="171543" y="2284"/>
                      <a:pt x="94944" y="11618"/>
                      <a:pt x="94944" y="11618"/>
                    </a:cubicBezTo>
                    <a:lnTo>
                      <a:pt x="4828" y="101734"/>
                    </a:lnTo>
                    <a:lnTo>
                      <a:pt x="110071" y="101734"/>
                    </a:lnTo>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011" name="Freeform: Shape 1010">
                <a:extLst>
                  <a:ext uri="{FF2B5EF4-FFF2-40B4-BE49-F238E27FC236}">
                    <a16:creationId xmlns:a16="http://schemas.microsoft.com/office/drawing/2014/main" id="{80892266-78A0-4929-8FDF-E763F4821753}"/>
                  </a:ext>
                </a:extLst>
              </p:cNvPr>
              <p:cNvSpPr/>
              <p:nvPr/>
            </p:nvSpPr>
            <p:spPr>
              <a:xfrm>
                <a:off x="4949809" y="682347"/>
                <a:ext cx="106209" cy="177014"/>
              </a:xfrm>
              <a:custGeom>
                <a:avLst/>
                <a:gdLst>
                  <a:gd name="connsiteX0" fmla="*/ 101381 w 106208"/>
                  <a:gd name="connsiteY0" fmla="*/ 4828 h 177014"/>
                  <a:gd name="connsiteX1" fmla="*/ 95266 w 106208"/>
                  <a:gd name="connsiteY1" fmla="*/ 84645 h 177014"/>
                  <a:gd name="connsiteX2" fmla="*/ 4828 w 106208"/>
                  <a:gd name="connsiteY2" fmla="*/ 175083 h 177014"/>
                  <a:gd name="connsiteX3" fmla="*/ 4828 w 106208"/>
                  <a:gd name="connsiteY3" fmla="*/ 69840 h 177014"/>
                </a:gdLst>
                <a:ahLst/>
                <a:cxnLst>
                  <a:cxn ang="0">
                    <a:pos x="connsiteX0" y="connsiteY0"/>
                  </a:cxn>
                  <a:cxn ang="0">
                    <a:pos x="connsiteX1" y="connsiteY1"/>
                  </a:cxn>
                  <a:cxn ang="0">
                    <a:pos x="connsiteX2" y="connsiteY2"/>
                  </a:cxn>
                  <a:cxn ang="0">
                    <a:pos x="connsiteX3" y="connsiteY3"/>
                  </a:cxn>
                </a:cxnLst>
                <a:rect l="l" t="t" r="r" b="b"/>
                <a:pathLst>
                  <a:path w="106208" h="177014">
                    <a:moveTo>
                      <a:pt x="101381" y="4828"/>
                    </a:moveTo>
                    <a:cubicBezTo>
                      <a:pt x="104599" y="8046"/>
                      <a:pt x="95266" y="84645"/>
                      <a:pt x="95266" y="84645"/>
                    </a:cubicBezTo>
                    <a:lnTo>
                      <a:pt x="4828" y="175083"/>
                    </a:lnTo>
                    <a:lnTo>
                      <a:pt x="4828" y="69840"/>
                    </a:lnTo>
                  </a:path>
                </a:pathLst>
              </a:custGeom>
              <a:noFill/>
              <a:ln w="15875"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012" name="Freeform: Shape 1011">
                <a:extLst>
                  <a:ext uri="{FF2B5EF4-FFF2-40B4-BE49-F238E27FC236}">
                    <a16:creationId xmlns:a16="http://schemas.microsoft.com/office/drawing/2014/main" id="{82DF55FC-8B9B-4FBB-9BBE-6C3BEDDBDA81}"/>
                  </a:ext>
                </a:extLst>
              </p:cNvPr>
              <p:cNvSpPr/>
              <p:nvPr/>
            </p:nvSpPr>
            <p:spPr>
              <a:xfrm>
                <a:off x="4739323" y="728049"/>
                <a:ext cx="74024" cy="74024"/>
              </a:xfrm>
              <a:custGeom>
                <a:avLst/>
                <a:gdLst>
                  <a:gd name="connsiteX0" fmla="*/ 69197 w 74024"/>
                  <a:gd name="connsiteY0" fmla="*/ 4828 h 74024"/>
                  <a:gd name="connsiteX1" fmla="*/ 4828 w 74024"/>
                  <a:gd name="connsiteY1" fmla="*/ 69197 h 74024"/>
                </a:gdLst>
                <a:ahLst/>
                <a:cxnLst>
                  <a:cxn ang="0">
                    <a:pos x="connsiteX0" y="connsiteY0"/>
                  </a:cxn>
                  <a:cxn ang="0">
                    <a:pos x="connsiteX1" y="connsiteY1"/>
                  </a:cxn>
                </a:cxnLst>
                <a:rect l="l" t="t" r="r" b="b"/>
                <a:pathLst>
                  <a:path w="74024" h="74024">
                    <a:moveTo>
                      <a:pt x="69197" y="4828"/>
                    </a:moveTo>
                    <a:lnTo>
                      <a:pt x="4828" y="69197"/>
                    </a:lnTo>
                  </a:path>
                </a:pathLst>
              </a:custGeom>
              <a:noFill/>
              <a:ln w="15875" cap="flat">
                <a:solidFill>
                  <a:srgbClr val="A166FF"/>
                </a:solidFill>
                <a:prstDash val="solid"/>
                <a:round/>
              </a:ln>
            </p:spPr>
            <p:txBody>
              <a:bodyPr rtlCol="0" anchor="ctr"/>
              <a:lstStyle/>
              <a:p>
                <a:pPr defTabSz="731504">
                  <a:defRPr/>
                </a:pPr>
                <a:endParaRPr lang="en-US" sz="1800">
                  <a:solidFill>
                    <a:srgbClr val="FFFFFF"/>
                  </a:solidFill>
                </a:endParaRPr>
              </a:p>
            </p:txBody>
          </p:sp>
          <p:sp>
            <p:nvSpPr>
              <p:cNvPr id="1013" name="Freeform: Shape 1012">
                <a:extLst>
                  <a:ext uri="{FF2B5EF4-FFF2-40B4-BE49-F238E27FC236}">
                    <a16:creationId xmlns:a16="http://schemas.microsoft.com/office/drawing/2014/main" id="{ED14E059-8D43-4D99-A4A4-8DC618DF62E2}"/>
                  </a:ext>
                </a:extLst>
              </p:cNvPr>
              <p:cNvSpPr/>
              <p:nvPr/>
            </p:nvSpPr>
            <p:spPr>
              <a:xfrm>
                <a:off x="4795967" y="784694"/>
                <a:ext cx="74024" cy="74024"/>
              </a:xfrm>
              <a:custGeom>
                <a:avLst/>
                <a:gdLst>
                  <a:gd name="connsiteX0" fmla="*/ 69197 w 74024"/>
                  <a:gd name="connsiteY0" fmla="*/ 4828 h 74024"/>
                  <a:gd name="connsiteX1" fmla="*/ 4828 w 74024"/>
                  <a:gd name="connsiteY1" fmla="*/ 69197 h 74024"/>
                </a:gdLst>
                <a:ahLst/>
                <a:cxnLst>
                  <a:cxn ang="0">
                    <a:pos x="connsiteX0" y="connsiteY0"/>
                  </a:cxn>
                  <a:cxn ang="0">
                    <a:pos x="connsiteX1" y="connsiteY1"/>
                  </a:cxn>
                </a:cxnLst>
                <a:rect l="l" t="t" r="r" b="b"/>
                <a:pathLst>
                  <a:path w="74024" h="74024">
                    <a:moveTo>
                      <a:pt x="69197" y="4828"/>
                    </a:moveTo>
                    <a:lnTo>
                      <a:pt x="4828" y="69197"/>
                    </a:lnTo>
                  </a:path>
                </a:pathLst>
              </a:custGeom>
              <a:noFill/>
              <a:ln w="15875" cap="flat">
                <a:solidFill>
                  <a:srgbClr val="A166FF"/>
                </a:solidFill>
                <a:prstDash val="solid"/>
                <a:round/>
              </a:ln>
            </p:spPr>
            <p:txBody>
              <a:bodyPr rtlCol="0" anchor="ctr"/>
              <a:lstStyle/>
              <a:p>
                <a:pPr defTabSz="731504">
                  <a:defRPr/>
                </a:pPr>
                <a:endParaRPr lang="en-US" sz="1800" dirty="0">
                  <a:solidFill>
                    <a:srgbClr val="FFFFFF"/>
                  </a:solidFill>
                </a:endParaRPr>
              </a:p>
            </p:txBody>
          </p:sp>
          <p:sp>
            <p:nvSpPr>
              <p:cNvPr id="1014" name="Freeform: Shape 1013">
                <a:extLst>
                  <a:ext uri="{FF2B5EF4-FFF2-40B4-BE49-F238E27FC236}">
                    <a16:creationId xmlns:a16="http://schemas.microsoft.com/office/drawing/2014/main" id="{1AE61AA5-9907-4353-9A71-FDAA14D5615B}"/>
                  </a:ext>
                </a:extLst>
              </p:cNvPr>
              <p:cNvSpPr/>
              <p:nvPr/>
            </p:nvSpPr>
            <p:spPr>
              <a:xfrm>
                <a:off x="4739323" y="767314"/>
                <a:ext cx="90116" cy="90116"/>
              </a:xfrm>
              <a:custGeom>
                <a:avLst/>
                <a:gdLst>
                  <a:gd name="connsiteX0" fmla="*/ 86576 w 90116"/>
                  <a:gd name="connsiteY0" fmla="*/ 4828 h 90116"/>
                  <a:gd name="connsiteX1" fmla="*/ 4828 w 90116"/>
                  <a:gd name="connsiteY1" fmla="*/ 86576 h 90116"/>
                </a:gdLst>
                <a:ahLst/>
                <a:cxnLst>
                  <a:cxn ang="0">
                    <a:pos x="connsiteX0" y="connsiteY0"/>
                  </a:cxn>
                  <a:cxn ang="0">
                    <a:pos x="connsiteX1" y="connsiteY1"/>
                  </a:cxn>
                </a:cxnLst>
                <a:rect l="l" t="t" r="r" b="b"/>
                <a:pathLst>
                  <a:path w="90116" h="90116">
                    <a:moveTo>
                      <a:pt x="86576" y="4828"/>
                    </a:moveTo>
                    <a:lnTo>
                      <a:pt x="4828" y="86576"/>
                    </a:lnTo>
                  </a:path>
                </a:pathLst>
              </a:custGeom>
              <a:noFill/>
              <a:ln w="15875" cap="flat">
                <a:solidFill>
                  <a:srgbClr val="A166FF"/>
                </a:solidFill>
                <a:prstDash val="solid"/>
                <a:round/>
              </a:ln>
            </p:spPr>
            <p:txBody>
              <a:bodyPr rtlCol="0" anchor="ctr"/>
              <a:lstStyle/>
              <a:p>
                <a:pPr defTabSz="731504">
                  <a:defRPr/>
                </a:pPr>
                <a:endParaRPr lang="en-US" sz="1800">
                  <a:solidFill>
                    <a:srgbClr val="FFFFFF"/>
                  </a:solidFill>
                </a:endParaRPr>
              </a:p>
            </p:txBody>
          </p:sp>
          <p:sp>
            <p:nvSpPr>
              <p:cNvPr id="1015" name="Freeform: Shape 1014">
                <a:extLst>
                  <a:ext uri="{FF2B5EF4-FFF2-40B4-BE49-F238E27FC236}">
                    <a16:creationId xmlns:a16="http://schemas.microsoft.com/office/drawing/2014/main" id="{F211AAAE-A799-4996-BEF0-708E117AF9E4}"/>
                  </a:ext>
                </a:extLst>
              </p:cNvPr>
              <p:cNvSpPr/>
              <p:nvPr/>
            </p:nvSpPr>
            <p:spPr>
              <a:xfrm>
                <a:off x="4988994" y="477252"/>
                <a:ext cx="128738" cy="128738"/>
              </a:xfrm>
              <a:custGeom>
                <a:avLst/>
                <a:gdLst>
                  <a:gd name="connsiteX0" fmla="*/ 66702 w 128737"/>
                  <a:gd name="connsiteY0" fmla="*/ 118841 h 128737"/>
                  <a:gd name="connsiteX1" fmla="*/ 10379 w 128737"/>
                  <a:gd name="connsiteY1" fmla="*/ 62518 h 128737"/>
                  <a:gd name="connsiteX2" fmla="*/ 10379 w 128737"/>
                  <a:gd name="connsiteY2" fmla="*/ 36127 h 128737"/>
                  <a:gd name="connsiteX3" fmla="*/ 36127 w 128737"/>
                  <a:gd name="connsiteY3" fmla="*/ 10379 h 128737"/>
                  <a:gd name="connsiteX4" fmla="*/ 62518 w 128737"/>
                  <a:gd name="connsiteY4" fmla="*/ 10379 h 128737"/>
                  <a:gd name="connsiteX5" fmla="*/ 119163 w 128737"/>
                  <a:gd name="connsiteY5" fmla="*/ 67024 h 128737"/>
                  <a:gd name="connsiteX6" fmla="*/ 119163 w 128737"/>
                  <a:gd name="connsiteY6" fmla="*/ 93415 h 128737"/>
                  <a:gd name="connsiteX7" fmla="*/ 93415 w 128737"/>
                  <a:gd name="connsiteY7" fmla="*/ 119163 h 128737"/>
                  <a:gd name="connsiteX8" fmla="*/ 66702 w 128737"/>
                  <a:gd name="connsiteY8" fmla="*/ 118841 h 1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7" h="128737">
                    <a:moveTo>
                      <a:pt x="66702" y="118841"/>
                    </a:moveTo>
                    <a:lnTo>
                      <a:pt x="10379" y="62518"/>
                    </a:lnTo>
                    <a:cubicBezTo>
                      <a:pt x="2977" y="55116"/>
                      <a:pt x="2977" y="43529"/>
                      <a:pt x="10379" y="36127"/>
                    </a:cubicBezTo>
                    <a:lnTo>
                      <a:pt x="36127" y="10379"/>
                    </a:lnTo>
                    <a:cubicBezTo>
                      <a:pt x="43529" y="2977"/>
                      <a:pt x="55116" y="2977"/>
                      <a:pt x="62518" y="10379"/>
                    </a:cubicBezTo>
                    <a:lnTo>
                      <a:pt x="119163" y="67024"/>
                    </a:lnTo>
                    <a:cubicBezTo>
                      <a:pt x="126565" y="74427"/>
                      <a:pt x="126565" y="86013"/>
                      <a:pt x="119163" y="93415"/>
                    </a:cubicBezTo>
                    <a:lnTo>
                      <a:pt x="93415" y="119163"/>
                    </a:lnTo>
                    <a:cubicBezTo>
                      <a:pt x="86013" y="126243"/>
                      <a:pt x="74105" y="126243"/>
                      <a:pt x="66702" y="118841"/>
                    </a:cubicBezTo>
                    <a:close/>
                  </a:path>
                </a:pathLst>
              </a:custGeom>
              <a:noFill/>
              <a:ln w="15875" cap="flat">
                <a:solidFill>
                  <a:srgbClr val="A166FF"/>
                </a:solidFill>
                <a:prstDash val="solid"/>
                <a:round/>
              </a:ln>
            </p:spPr>
            <p:txBody>
              <a:bodyPr rtlCol="0" anchor="ctr"/>
              <a:lstStyle/>
              <a:p>
                <a:pPr defTabSz="731504">
                  <a:defRPr/>
                </a:pPr>
                <a:endParaRPr lang="en-US" sz="1800" dirty="0">
                  <a:solidFill>
                    <a:srgbClr val="FFFFFF"/>
                  </a:solidFill>
                </a:endParaRPr>
              </a:p>
            </p:txBody>
          </p:sp>
        </p:grpSp>
      </p:grpSp>
      <p:cxnSp>
        <p:nvCxnSpPr>
          <p:cNvPr id="1134" name="Connector: Elbow 1133">
            <a:extLst>
              <a:ext uri="{FF2B5EF4-FFF2-40B4-BE49-F238E27FC236}">
                <a16:creationId xmlns:a16="http://schemas.microsoft.com/office/drawing/2014/main" id="{297968FC-7A4C-4D85-B0F7-5A9BC32C5611}"/>
              </a:ext>
            </a:extLst>
          </p:cNvPr>
          <p:cNvCxnSpPr>
            <a:cxnSpLocks/>
          </p:cNvCxnSpPr>
          <p:nvPr/>
        </p:nvCxnSpPr>
        <p:spPr>
          <a:xfrm rot="5400000" flipH="1" flipV="1">
            <a:off x="11288191" y="2883648"/>
            <a:ext cx="166123" cy="288102"/>
          </a:xfrm>
          <a:prstGeom prst="bentConnector2">
            <a:avLst/>
          </a:prstGeom>
          <a:ln w="19050">
            <a:solidFill>
              <a:srgbClr val="FDC500"/>
            </a:solidFill>
            <a:tailEnd type="arrow" w="lg" len="med"/>
          </a:ln>
          <a:effectLst>
            <a:outerShdw blurRad="40000" dist="20000" dir="5400000" rotWithShape="0">
              <a:srgbClr val="000000">
                <a:alpha val="0"/>
              </a:srgbClr>
            </a:outerShdw>
          </a:effectLst>
        </p:spPr>
        <p:style>
          <a:lnRef idx="2">
            <a:schemeClr val="accent1"/>
          </a:lnRef>
          <a:fillRef idx="0">
            <a:schemeClr val="accent1"/>
          </a:fillRef>
          <a:effectRef idx="1">
            <a:schemeClr val="accent1"/>
          </a:effectRef>
          <a:fontRef idx="minor">
            <a:schemeClr val="tx1"/>
          </a:fontRef>
        </p:style>
      </p:cxnSp>
      <p:grpSp>
        <p:nvGrpSpPr>
          <p:cNvPr id="1138" name="Group 1137">
            <a:extLst>
              <a:ext uri="{FF2B5EF4-FFF2-40B4-BE49-F238E27FC236}">
                <a16:creationId xmlns:a16="http://schemas.microsoft.com/office/drawing/2014/main" id="{BEFBF8FA-12E6-40C5-82FA-49352B76B5F1}"/>
              </a:ext>
            </a:extLst>
          </p:cNvPr>
          <p:cNvGrpSpPr>
            <a:grpSpLocks noChangeAspect="1"/>
          </p:cNvGrpSpPr>
          <p:nvPr/>
        </p:nvGrpSpPr>
        <p:grpSpPr>
          <a:xfrm>
            <a:off x="11593570" y="2834803"/>
            <a:ext cx="312777" cy="265176"/>
            <a:chOff x="1251736" y="3105936"/>
            <a:chExt cx="1189635" cy="1008586"/>
          </a:xfrm>
        </p:grpSpPr>
        <p:sp>
          <p:nvSpPr>
            <p:cNvPr id="1139" name="Freeform: Shape 1138">
              <a:extLst>
                <a:ext uri="{FF2B5EF4-FFF2-40B4-BE49-F238E27FC236}">
                  <a16:creationId xmlns:a16="http://schemas.microsoft.com/office/drawing/2014/main" id="{713107F5-5BAA-45ED-94DB-72A2195FFF2B}"/>
                </a:ext>
              </a:extLst>
            </p:cNvPr>
            <p:cNvSpPr/>
            <p:nvPr/>
          </p:nvSpPr>
          <p:spPr>
            <a:xfrm>
              <a:off x="1382496" y="3573196"/>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140" name="Freeform: Shape 1139">
              <a:extLst>
                <a:ext uri="{FF2B5EF4-FFF2-40B4-BE49-F238E27FC236}">
                  <a16:creationId xmlns:a16="http://schemas.microsoft.com/office/drawing/2014/main" id="{2DFACE53-4F63-475A-9747-1B996FCC42BD}"/>
                </a:ext>
              </a:extLst>
            </p:cNvPr>
            <p:cNvSpPr/>
            <p:nvPr/>
          </p:nvSpPr>
          <p:spPr>
            <a:xfrm>
              <a:off x="1622983" y="3573196"/>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141" name="Freeform: Shape 1140">
              <a:extLst>
                <a:ext uri="{FF2B5EF4-FFF2-40B4-BE49-F238E27FC236}">
                  <a16:creationId xmlns:a16="http://schemas.microsoft.com/office/drawing/2014/main" id="{66AD939C-F20B-40C8-9AED-C892607719FD}"/>
                </a:ext>
              </a:extLst>
            </p:cNvPr>
            <p:cNvSpPr/>
            <p:nvPr/>
          </p:nvSpPr>
          <p:spPr>
            <a:xfrm>
              <a:off x="1864384" y="3573196"/>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142" name="Freeform: Shape 1141">
              <a:extLst>
                <a:ext uri="{FF2B5EF4-FFF2-40B4-BE49-F238E27FC236}">
                  <a16:creationId xmlns:a16="http://schemas.microsoft.com/office/drawing/2014/main" id="{89BE2CA9-0FCB-436F-8F2B-045936C186CF}"/>
                </a:ext>
              </a:extLst>
            </p:cNvPr>
            <p:cNvSpPr/>
            <p:nvPr/>
          </p:nvSpPr>
          <p:spPr>
            <a:xfrm>
              <a:off x="2105786" y="3573196"/>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143" name="Freeform: Shape 1142">
              <a:extLst>
                <a:ext uri="{FF2B5EF4-FFF2-40B4-BE49-F238E27FC236}">
                  <a16:creationId xmlns:a16="http://schemas.microsoft.com/office/drawing/2014/main" id="{15D7A9D6-3D86-4FD6-A193-2AC4A9DE2551}"/>
                </a:ext>
              </a:extLst>
            </p:cNvPr>
            <p:cNvSpPr/>
            <p:nvPr/>
          </p:nvSpPr>
          <p:spPr>
            <a:xfrm>
              <a:off x="2037207" y="3180004"/>
              <a:ext cx="283465" cy="27431"/>
            </a:xfrm>
            <a:custGeom>
              <a:avLst/>
              <a:gdLst>
                <a:gd name="connsiteX0" fmla="*/ 94944 w 99771"/>
                <a:gd name="connsiteY0" fmla="*/ 4828 h 9655"/>
                <a:gd name="connsiteX1" fmla="*/ 4828 w 99771"/>
                <a:gd name="connsiteY1" fmla="*/ 4828 h 9655"/>
              </a:gdLst>
              <a:ahLst/>
              <a:cxnLst>
                <a:cxn ang="0">
                  <a:pos x="connsiteX0" y="connsiteY0"/>
                </a:cxn>
                <a:cxn ang="0">
                  <a:pos x="connsiteX1" y="connsiteY1"/>
                </a:cxn>
              </a:cxnLst>
              <a:rect l="l" t="t" r="r" b="b"/>
              <a:pathLst>
                <a:path w="99771" h="9655">
                  <a:moveTo>
                    <a:pt x="94944"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144" name="Freeform: Shape 1143">
              <a:extLst>
                <a:ext uri="{FF2B5EF4-FFF2-40B4-BE49-F238E27FC236}">
                  <a16:creationId xmlns:a16="http://schemas.microsoft.com/office/drawing/2014/main" id="{4067BD82-886A-4DF3-806E-314FEDA9C78F}"/>
                </a:ext>
              </a:extLst>
            </p:cNvPr>
            <p:cNvSpPr/>
            <p:nvPr/>
          </p:nvSpPr>
          <p:spPr>
            <a:xfrm>
              <a:off x="1718081" y="3180004"/>
              <a:ext cx="283465" cy="27431"/>
            </a:xfrm>
            <a:custGeom>
              <a:avLst/>
              <a:gdLst>
                <a:gd name="connsiteX0" fmla="*/ 95588 w 99771"/>
                <a:gd name="connsiteY0" fmla="*/ 4828 h 9655"/>
                <a:gd name="connsiteX1" fmla="*/ 4828 w 99771"/>
                <a:gd name="connsiteY1" fmla="*/ 5150 h 9655"/>
              </a:gdLst>
              <a:ahLst/>
              <a:cxnLst>
                <a:cxn ang="0">
                  <a:pos x="connsiteX0" y="connsiteY0"/>
                </a:cxn>
                <a:cxn ang="0">
                  <a:pos x="connsiteX1" y="connsiteY1"/>
                </a:cxn>
              </a:cxnLst>
              <a:rect l="l" t="t" r="r" b="b"/>
              <a:pathLst>
                <a:path w="99771" h="9655">
                  <a:moveTo>
                    <a:pt x="95588" y="4828"/>
                  </a:moveTo>
                  <a:lnTo>
                    <a:pt x="4828" y="5150"/>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145" name="Freeform: Shape 1144">
              <a:extLst>
                <a:ext uri="{FF2B5EF4-FFF2-40B4-BE49-F238E27FC236}">
                  <a16:creationId xmlns:a16="http://schemas.microsoft.com/office/drawing/2014/main" id="{60CB438C-0AE0-413A-81DE-27498305AAFC}"/>
                </a:ext>
              </a:extLst>
            </p:cNvPr>
            <p:cNvSpPr/>
            <p:nvPr/>
          </p:nvSpPr>
          <p:spPr>
            <a:xfrm>
              <a:off x="1252651" y="3180004"/>
              <a:ext cx="1188720" cy="155449"/>
            </a:xfrm>
            <a:custGeom>
              <a:avLst/>
              <a:gdLst>
                <a:gd name="connsiteX0" fmla="*/ 392650 w 418397"/>
                <a:gd name="connsiteY0" fmla="*/ 4828 h 54713"/>
                <a:gd name="connsiteX1" fmla="*/ 406811 w 418397"/>
                <a:gd name="connsiteY1" fmla="*/ 4828 h 54713"/>
                <a:gd name="connsiteX2" fmla="*/ 415501 w 418397"/>
                <a:gd name="connsiteY2" fmla="*/ 13517 h 54713"/>
                <a:gd name="connsiteX3" fmla="*/ 415501 w 418397"/>
                <a:gd name="connsiteY3" fmla="*/ 50530 h 54713"/>
                <a:gd name="connsiteX4" fmla="*/ 4828 w 418397"/>
                <a:gd name="connsiteY4" fmla="*/ 50851 h 54713"/>
                <a:gd name="connsiteX5" fmla="*/ 4828 w 418397"/>
                <a:gd name="connsiteY5" fmla="*/ 13839 h 54713"/>
                <a:gd name="connsiteX6" fmla="*/ 13517 w 418397"/>
                <a:gd name="connsiteY6" fmla="*/ 5150 h 54713"/>
                <a:gd name="connsiteX7" fmla="*/ 35725 w 418397"/>
                <a:gd name="connsiteY7" fmla="*/ 5150 h 5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8397" h="54713">
                  <a:moveTo>
                    <a:pt x="392650" y="4828"/>
                  </a:moveTo>
                  <a:lnTo>
                    <a:pt x="406811" y="4828"/>
                  </a:lnTo>
                  <a:cubicBezTo>
                    <a:pt x="411639" y="4828"/>
                    <a:pt x="415501" y="8690"/>
                    <a:pt x="415501" y="13517"/>
                  </a:cubicBezTo>
                  <a:lnTo>
                    <a:pt x="415501" y="50530"/>
                  </a:lnTo>
                  <a:lnTo>
                    <a:pt x="4828" y="50851"/>
                  </a:lnTo>
                  <a:lnTo>
                    <a:pt x="4828" y="13839"/>
                  </a:lnTo>
                  <a:cubicBezTo>
                    <a:pt x="4828" y="9012"/>
                    <a:pt x="8690" y="5150"/>
                    <a:pt x="13517" y="5150"/>
                  </a:cubicBezTo>
                  <a:lnTo>
                    <a:pt x="35725" y="5150"/>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146" name="Freeform: Shape 1145">
              <a:extLst>
                <a:ext uri="{FF2B5EF4-FFF2-40B4-BE49-F238E27FC236}">
                  <a16:creationId xmlns:a16="http://schemas.microsoft.com/office/drawing/2014/main" id="{3FE9D6D9-7418-453C-8156-B07F5CD9A05F}"/>
                </a:ext>
              </a:extLst>
            </p:cNvPr>
            <p:cNvSpPr/>
            <p:nvPr/>
          </p:nvSpPr>
          <p:spPr>
            <a:xfrm>
              <a:off x="1400784" y="3180919"/>
              <a:ext cx="283465" cy="27431"/>
            </a:xfrm>
            <a:custGeom>
              <a:avLst/>
              <a:gdLst>
                <a:gd name="connsiteX0" fmla="*/ 95266 w 99771"/>
                <a:gd name="connsiteY0" fmla="*/ 4828 h 9655"/>
                <a:gd name="connsiteX1" fmla="*/ 4828 w 99771"/>
                <a:gd name="connsiteY1" fmla="*/ 4828 h 9655"/>
              </a:gdLst>
              <a:ahLst/>
              <a:cxnLst>
                <a:cxn ang="0">
                  <a:pos x="connsiteX0" y="connsiteY0"/>
                </a:cxn>
                <a:cxn ang="0">
                  <a:pos x="connsiteX1" y="connsiteY1"/>
                </a:cxn>
              </a:cxnLst>
              <a:rect l="l" t="t" r="r" b="b"/>
              <a:pathLst>
                <a:path w="99771" h="9655">
                  <a:moveTo>
                    <a:pt x="95266"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147" name="Freeform: Shape 1146">
              <a:extLst>
                <a:ext uri="{FF2B5EF4-FFF2-40B4-BE49-F238E27FC236}">
                  <a16:creationId xmlns:a16="http://schemas.microsoft.com/office/drawing/2014/main" id="{41B695E7-5844-41A2-9171-714F4D17A2C2}"/>
                </a:ext>
              </a:extLst>
            </p:cNvPr>
            <p:cNvSpPr/>
            <p:nvPr/>
          </p:nvSpPr>
          <p:spPr>
            <a:xfrm>
              <a:off x="1339518" y="3105936"/>
              <a:ext cx="27431" cy="164592"/>
            </a:xfrm>
            <a:custGeom>
              <a:avLst/>
              <a:gdLst>
                <a:gd name="connsiteX0" fmla="*/ 4828 w 9655"/>
                <a:gd name="connsiteY0" fmla="*/ 55679 h 57932"/>
                <a:gd name="connsiteX1" fmla="*/ 4828 w 9655"/>
                <a:gd name="connsiteY1" fmla="*/ 4828 h 57932"/>
              </a:gdLst>
              <a:ahLst/>
              <a:cxnLst>
                <a:cxn ang="0">
                  <a:pos x="connsiteX0" y="connsiteY0"/>
                </a:cxn>
                <a:cxn ang="0">
                  <a:pos x="connsiteX1" y="connsiteY1"/>
                </a:cxn>
              </a:cxnLst>
              <a:rect l="l" t="t" r="r" b="b"/>
              <a:pathLst>
                <a:path w="9655" h="57932">
                  <a:moveTo>
                    <a:pt x="4828" y="55679"/>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148" name="Freeform: Shape 1147">
              <a:extLst>
                <a:ext uri="{FF2B5EF4-FFF2-40B4-BE49-F238E27FC236}">
                  <a16:creationId xmlns:a16="http://schemas.microsoft.com/office/drawing/2014/main" id="{217781C0-6BA4-4F25-8F81-D478283CC00E}"/>
                </a:ext>
              </a:extLst>
            </p:cNvPr>
            <p:cNvSpPr/>
            <p:nvPr/>
          </p:nvSpPr>
          <p:spPr>
            <a:xfrm>
              <a:off x="1657730" y="3105936"/>
              <a:ext cx="27431" cy="164592"/>
            </a:xfrm>
            <a:custGeom>
              <a:avLst/>
              <a:gdLst>
                <a:gd name="connsiteX0" fmla="*/ 4828 w 9655"/>
                <a:gd name="connsiteY0" fmla="*/ 55679 h 57932"/>
                <a:gd name="connsiteX1" fmla="*/ 4828 w 9655"/>
                <a:gd name="connsiteY1" fmla="*/ 4828 h 57932"/>
              </a:gdLst>
              <a:ahLst/>
              <a:cxnLst>
                <a:cxn ang="0">
                  <a:pos x="connsiteX0" y="connsiteY0"/>
                </a:cxn>
                <a:cxn ang="0">
                  <a:pos x="connsiteX1" y="connsiteY1"/>
                </a:cxn>
              </a:cxnLst>
              <a:rect l="l" t="t" r="r" b="b"/>
              <a:pathLst>
                <a:path w="9655" h="57932">
                  <a:moveTo>
                    <a:pt x="4828" y="55679"/>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149" name="Freeform: Shape 1148">
              <a:extLst>
                <a:ext uri="{FF2B5EF4-FFF2-40B4-BE49-F238E27FC236}">
                  <a16:creationId xmlns:a16="http://schemas.microsoft.com/office/drawing/2014/main" id="{48C3B803-4E94-4FAD-8EB1-2ED966B73E46}"/>
                </a:ext>
              </a:extLst>
            </p:cNvPr>
            <p:cNvSpPr/>
            <p:nvPr/>
          </p:nvSpPr>
          <p:spPr>
            <a:xfrm>
              <a:off x="2293238" y="3105936"/>
              <a:ext cx="27431" cy="164592"/>
            </a:xfrm>
            <a:custGeom>
              <a:avLst/>
              <a:gdLst>
                <a:gd name="connsiteX0" fmla="*/ 4828 w 9655"/>
                <a:gd name="connsiteY0" fmla="*/ 55679 h 57932"/>
                <a:gd name="connsiteX1" fmla="*/ 4828 w 9655"/>
                <a:gd name="connsiteY1" fmla="*/ 4828 h 57932"/>
              </a:gdLst>
              <a:ahLst/>
              <a:cxnLst>
                <a:cxn ang="0">
                  <a:pos x="connsiteX0" y="connsiteY0"/>
                </a:cxn>
                <a:cxn ang="0">
                  <a:pos x="connsiteX1" y="connsiteY1"/>
                </a:cxn>
              </a:cxnLst>
              <a:rect l="l" t="t" r="r" b="b"/>
              <a:pathLst>
                <a:path w="9655" h="57932">
                  <a:moveTo>
                    <a:pt x="4828" y="55679"/>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150" name="Freeform: Shape 1149">
              <a:extLst>
                <a:ext uri="{FF2B5EF4-FFF2-40B4-BE49-F238E27FC236}">
                  <a16:creationId xmlns:a16="http://schemas.microsoft.com/office/drawing/2014/main" id="{7BCFF909-5D95-4F60-8B8C-8B5FB3D477CE}"/>
                </a:ext>
              </a:extLst>
            </p:cNvPr>
            <p:cNvSpPr/>
            <p:nvPr/>
          </p:nvSpPr>
          <p:spPr>
            <a:xfrm>
              <a:off x="1975941" y="3105936"/>
              <a:ext cx="27431" cy="164592"/>
            </a:xfrm>
            <a:custGeom>
              <a:avLst/>
              <a:gdLst>
                <a:gd name="connsiteX0" fmla="*/ 4828 w 9655"/>
                <a:gd name="connsiteY0" fmla="*/ 55679 h 57932"/>
                <a:gd name="connsiteX1" fmla="*/ 4828 w 9655"/>
                <a:gd name="connsiteY1" fmla="*/ 4828 h 57932"/>
              </a:gdLst>
              <a:ahLst/>
              <a:cxnLst>
                <a:cxn ang="0">
                  <a:pos x="connsiteX0" y="connsiteY0"/>
                </a:cxn>
                <a:cxn ang="0">
                  <a:pos x="connsiteX1" y="connsiteY1"/>
                </a:cxn>
              </a:cxnLst>
              <a:rect l="l" t="t" r="r" b="b"/>
              <a:pathLst>
                <a:path w="9655" h="57932">
                  <a:moveTo>
                    <a:pt x="4828" y="55679"/>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151" name="Freeform: Shape 1150">
              <a:extLst>
                <a:ext uri="{FF2B5EF4-FFF2-40B4-BE49-F238E27FC236}">
                  <a16:creationId xmlns:a16="http://schemas.microsoft.com/office/drawing/2014/main" id="{6C022DE0-3C37-478D-B3A4-8139C56794ED}"/>
                </a:ext>
              </a:extLst>
            </p:cNvPr>
            <p:cNvSpPr/>
            <p:nvPr/>
          </p:nvSpPr>
          <p:spPr>
            <a:xfrm>
              <a:off x="1382496" y="3759733"/>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152" name="Freeform: Shape 1151">
              <a:extLst>
                <a:ext uri="{FF2B5EF4-FFF2-40B4-BE49-F238E27FC236}">
                  <a16:creationId xmlns:a16="http://schemas.microsoft.com/office/drawing/2014/main" id="{0895284B-24B3-4F35-AB14-A45F59E04749}"/>
                </a:ext>
              </a:extLst>
            </p:cNvPr>
            <p:cNvSpPr/>
            <p:nvPr/>
          </p:nvSpPr>
          <p:spPr>
            <a:xfrm>
              <a:off x="1622983" y="3759733"/>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153" name="Freeform: Shape 1152">
              <a:extLst>
                <a:ext uri="{FF2B5EF4-FFF2-40B4-BE49-F238E27FC236}">
                  <a16:creationId xmlns:a16="http://schemas.microsoft.com/office/drawing/2014/main" id="{36A48713-A325-45B7-AE7E-E0ACE23EE6C4}"/>
                </a:ext>
              </a:extLst>
            </p:cNvPr>
            <p:cNvSpPr/>
            <p:nvPr/>
          </p:nvSpPr>
          <p:spPr>
            <a:xfrm>
              <a:off x="1864384" y="3759733"/>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154" name="Freeform: Shape 1153">
              <a:extLst>
                <a:ext uri="{FF2B5EF4-FFF2-40B4-BE49-F238E27FC236}">
                  <a16:creationId xmlns:a16="http://schemas.microsoft.com/office/drawing/2014/main" id="{6976F554-C1CC-4069-8446-46EF3C8A7FB2}"/>
                </a:ext>
              </a:extLst>
            </p:cNvPr>
            <p:cNvSpPr/>
            <p:nvPr/>
          </p:nvSpPr>
          <p:spPr>
            <a:xfrm>
              <a:off x="2105786" y="3759733"/>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155" name="Freeform: Shape 1154">
              <a:extLst>
                <a:ext uri="{FF2B5EF4-FFF2-40B4-BE49-F238E27FC236}">
                  <a16:creationId xmlns:a16="http://schemas.microsoft.com/office/drawing/2014/main" id="{FB428E12-A57A-4489-84BC-BE07887FBC3E}"/>
                </a:ext>
              </a:extLst>
            </p:cNvPr>
            <p:cNvSpPr/>
            <p:nvPr/>
          </p:nvSpPr>
          <p:spPr>
            <a:xfrm>
              <a:off x="1382496" y="3935297"/>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156" name="Freeform: Shape 1155">
              <a:extLst>
                <a:ext uri="{FF2B5EF4-FFF2-40B4-BE49-F238E27FC236}">
                  <a16:creationId xmlns:a16="http://schemas.microsoft.com/office/drawing/2014/main" id="{9BAA4D31-8C4E-4634-BCA7-91387C7F170C}"/>
                </a:ext>
              </a:extLst>
            </p:cNvPr>
            <p:cNvSpPr/>
            <p:nvPr/>
          </p:nvSpPr>
          <p:spPr>
            <a:xfrm>
              <a:off x="1622983" y="3935297"/>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157" name="Freeform: Shape 1156">
              <a:extLst>
                <a:ext uri="{FF2B5EF4-FFF2-40B4-BE49-F238E27FC236}">
                  <a16:creationId xmlns:a16="http://schemas.microsoft.com/office/drawing/2014/main" id="{1898DBF6-CD0B-47C5-8262-5A190D8F1C98}"/>
                </a:ext>
              </a:extLst>
            </p:cNvPr>
            <p:cNvSpPr/>
            <p:nvPr/>
          </p:nvSpPr>
          <p:spPr>
            <a:xfrm>
              <a:off x="1864384" y="3935297"/>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158" name="Freeform: Shape 1157">
              <a:extLst>
                <a:ext uri="{FF2B5EF4-FFF2-40B4-BE49-F238E27FC236}">
                  <a16:creationId xmlns:a16="http://schemas.microsoft.com/office/drawing/2014/main" id="{E9665937-BA44-4330-9903-9EFAA434C1D0}"/>
                </a:ext>
              </a:extLst>
            </p:cNvPr>
            <p:cNvSpPr/>
            <p:nvPr/>
          </p:nvSpPr>
          <p:spPr>
            <a:xfrm>
              <a:off x="1251736" y="3309850"/>
              <a:ext cx="1188720" cy="804672"/>
            </a:xfrm>
            <a:custGeom>
              <a:avLst/>
              <a:gdLst>
                <a:gd name="connsiteX0" fmla="*/ 5150 w 418397"/>
                <a:gd name="connsiteY0" fmla="*/ 5150 h 283223"/>
                <a:gd name="connsiteX1" fmla="*/ 415823 w 418397"/>
                <a:gd name="connsiteY1" fmla="*/ 4828 h 283223"/>
                <a:gd name="connsiteX2" fmla="*/ 415823 w 418397"/>
                <a:gd name="connsiteY2" fmla="*/ 270671 h 283223"/>
                <a:gd name="connsiteX3" fmla="*/ 407133 w 418397"/>
                <a:gd name="connsiteY3" fmla="*/ 279361 h 283223"/>
                <a:gd name="connsiteX4" fmla="*/ 13517 w 418397"/>
                <a:gd name="connsiteY4" fmla="*/ 279683 h 283223"/>
                <a:gd name="connsiteX5" fmla="*/ 4828 w 418397"/>
                <a:gd name="connsiteY5" fmla="*/ 270993 h 283223"/>
                <a:gd name="connsiteX6" fmla="*/ 4828 w 418397"/>
                <a:gd name="connsiteY6" fmla="*/ 48277 h 283223"/>
                <a:gd name="connsiteX7" fmla="*/ 35725 w 418397"/>
                <a:gd name="connsiteY7" fmla="*/ 48277 h 283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8397" h="283223">
                  <a:moveTo>
                    <a:pt x="5150" y="5150"/>
                  </a:moveTo>
                  <a:lnTo>
                    <a:pt x="415823" y="4828"/>
                  </a:lnTo>
                  <a:lnTo>
                    <a:pt x="415823" y="270671"/>
                  </a:lnTo>
                  <a:cubicBezTo>
                    <a:pt x="415823" y="275499"/>
                    <a:pt x="411961" y="279361"/>
                    <a:pt x="407133" y="279361"/>
                  </a:cubicBezTo>
                  <a:lnTo>
                    <a:pt x="13517" y="279683"/>
                  </a:lnTo>
                  <a:cubicBezTo>
                    <a:pt x="8690" y="279683"/>
                    <a:pt x="4828" y="275821"/>
                    <a:pt x="4828" y="270993"/>
                  </a:cubicBezTo>
                  <a:lnTo>
                    <a:pt x="4828" y="48277"/>
                  </a:lnTo>
                  <a:lnTo>
                    <a:pt x="35725" y="48277"/>
                  </a:lnTo>
                </a:path>
              </a:pathLst>
            </a:custGeom>
            <a:noFill/>
            <a:ln w="12700" cap="flat">
              <a:solidFill>
                <a:schemeClr val="tx1"/>
              </a:solidFill>
              <a:prstDash val="solid"/>
              <a:round/>
            </a:ln>
          </p:spPr>
          <p:txBody>
            <a:bodyPr rtlCol="0" anchor="ctr"/>
            <a:lstStyle/>
            <a:p>
              <a:pPr defTabSz="731504">
                <a:defRPr/>
              </a:pPr>
              <a:endParaRPr lang="en-US" sz="1800" dirty="0">
                <a:solidFill>
                  <a:srgbClr val="FFFFFF"/>
                </a:solidFill>
              </a:endParaRPr>
            </a:p>
          </p:txBody>
        </p:sp>
        <p:sp>
          <p:nvSpPr>
            <p:cNvPr id="1159" name="Freeform: Shape 1158">
              <a:extLst>
                <a:ext uri="{FF2B5EF4-FFF2-40B4-BE49-F238E27FC236}">
                  <a16:creationId xmlns:a16="http://schemas.microsoft.com/office/drawing/2014/main" id="{3624692B-41E4-48D9-A12B-672CD082EBDE}"/>
                </a:ext>
              </a:extLst>
            </p:cNvPr>
            <p:cNvSpPr/>
            <p:nvPr/>
          </p:nvSpPr>
          <p:spPr>
            <a:xfrm>
              <a:off x="2131390" y="3867633"/>
              <a:ext cx="164592" cy="164592"/>
            </a:xfrm>
            <a:custGeom>
              <a:avLst/>
              <a:gdLst>
                <a:gd name="connsiteX0" fmla="*/ 4828 w 57932"/>
                <a:gd name="connsiteY0" fmla="*/ 4828 h 57932"/>
                <a:gd name="connsiteX1" fmla="*/ 54070 w 57932"/>
                <a:gd name="connsiteY1" fmla="*/ 54070 h 57932"/>
              </a:gdLst>
              <a:ahLst/>
              <a:cxnLst>
                <a:cxn ang="0">
                  <a:pos x="connsiteX0" y="connsiteY0"/>
                </a:cxn>
                <a:cxn ang="0">
                  <a:pos x="connsiteX1" y="connsiteY1"/>
                </a:cxn>
              </a:cxnLst>
              <a:rect l="l" t="t" r="r" b="b"/>
              <a:pathLst>
                <a:path w="57932" h="57932">
                  <a:moveTo>
                    <a:pt x="4828" y="4828"/>
                  </a:moveTo>
                  <a:lnTo>
                    <a:pt x="54070" y="54070"/>
                  </a:lnTo>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1160" name="Freeform: Shape 1159">
              <a:extLst>
                <a:ext uri="{FF2B5EF4-FFF2-40B4-BE49-F238E27FC236}">
                  <a16:creationId xmlns:a16="http://schemas.microsoft.com/office/drawing/2014/main" id="{7FF7903F-70E3-47DF-BFAE-B937BEB81015}"/>
                </a:ext>
              </a:extLst>
            </p:cNvPr>
            <p:cNvSpPr/>
            <p:nvPr/>
          </p:nvSpPr>
          <p:spPr>
            <a:xfrm>
              <a:off x="2131390" y="3867633"/>
              <a:ext cx="164592" cy="164592"/>
            </a:xfrm>
            <a:custGeom>
              <a:avLst/>
              <a:gdLst>
                <a:gd name="connsiteX0" fmla="*/ 54070 w 57932"/>
                <a:gd name="connsiteY0" fmla="*/ 4828 h 57932"/>
                <a:gd name="connsiteX1" fmla="*/ 4828 w 57932"/>
                <a:gd name="connsiteY1" fmla="*/ 54392 h 57932"/>
              </a:gdLst>
              <a:ahLst/>
              <a:cxnLst>
                <a:cxn ang="0">
                  <a:pos x="connsiteX0" y="connsiteY0"/>
                </a:cxn>
                <a:cxn ang="0">
                  <a:pos x="connsiteX1" y="connsiteY1"/>
                </a:cxn>
              </a:cxnLst>
              <a:rect l="l" t="t" r="r" b="b"/>
              <a:pathLst>
                <a:path w="57932" h="57932">
                  <a:moveTo>
                    <a:pt x="54070" y="4828"/>
                  </a:moveTo>
                  <a:lnTo>
                    <a:pt x="4828" y="54392"/>
                  </a:lnTo>
                </a:path>
              </a:pathLst>
            </a:custGeom>
            <a:ln w="12700" cap="flat">
              <a:solidFill>
                <a:srgbClr val="FDC500"/>
              </a:solidFill>
              <a:prstDash val="solid"/>
              <a:round/>
            </a:ln>
          </p:spPr>
          <p:txBody>
            <a:bodyPr rtlCol="0" anchor="ctr"/>
            <a:lstStyle/>
            <a:p>
              <a:pPr defTabSz="731504">
                <a:defRPr/>
              </a:pPr>
              <a:endParaRPr lang="en-US" sz="1800" dirty="0">
                <a:solidFill>
                  <a:srgbClr val="FFFFFF"/>
                </a:solidFill>
              </a:endParaRPr>
            </a:p>
          </p:txBody>
        </p:sp>
      </p:grpSp>
      <p:cxnSp>
        <p:nvCxnSpPr>
          <p:cNvPr id="1242" name="Connector: Elbow 1241">
            <a:extLst>
              <a:ext uri="{FF2B5EF4-FFF2-40B4-BE49-F238E27FC236}">
                <a16:creationId xmlns:a16="http://schemas.microsoft.com/office/drawing/2014/main" id="{15C36C9E-495E-481D-B80C-F4666020786C}"/>
              </a:ext>
            </a:extLst>
          </p:cNvPr>
          <p:cNvCxnSpPr>
            <a:cxnSpLocks/>
          </p:cNvCxnSpPr>
          <p:nvPr/>
        </p:nvCxnSpPr>
        <p:spPr>
          <a:xfrm rot="5400000" flipH="1" flipV="1">
            <a:off x="11461508" y="2342136"/>
            <a:ext cx="166123" cy="288102"/>
          </a:xfrm>
          <a:prstGeom prst="bentConnector2">
            <a:avLst/>
          </a:prstGeom>
          <a:ln w="19050">
            <a:solidFill>
              <a:srgbClr val="FDC500"/>
            </a:solidFill>
            <a:tailEnd type="arrow" w="lg" len="med"/>
          </a:ln>
          <a:effectLst>
            <a:outerShdw blurRad="40000" dist="20000" dir="5400000" rotWithShape="0">
              <a:srgbClr val="000000">
                <a:alpha val="0"/>
              </a:srgbClr>
            </a:outerShdw>
          </a:effectLst>
        </p:spPr>
        <p:style>
          <a:lnRef idx="2">
            <a:schemeClr val="accent1"/>
          </a:lnRef>
          <a:fillRef idx="0">
            <a:schemeClr val="accent1"/>
          </a:fillRef>
          <a:effectRef idx="1">
            <a:schemeClr val="accent1"/>
          </a:effectRef>
          <a:fontRef idx="minor">
            <a:schemeClr val="tx1"/>
          </a:fontRef>
        </p:style>
      </p:cxnSp>
      <p:grpSp>
        <p:nvGrpSpPr>
          <p:cNvPr id="1243" name="Group 1242">
            <a:extLst>
              <a:ext uri="{FF2B5EF4-FFF2-40B4-BE49-F238E27FC236}">
                <a16:creationId xmlns:a16="http://schemas.microsoft.com/office/drawing/2014/main" id="{F8A9CA52-CD88-4E7F-BC4E-CA98E01ADABB}"/>
              </a:ext>
            </a:extLst>
          </p:cNvPr>
          <p:cNvGrpSpPr/>
          <p:nvPr/>
        </p:nvGrpSpPr>
        <p:grpSpPr>
          <a:xfrm>
            <a:off x="12707001" y="2265474"/>
            <a:ext cx="404028" cy="322423"/>
            <a:chOff x="6630539" y="5287514"/>
            <a:chExt cx="1865762" cy="1488919"/>
          </a:xfrm>
        </p:grpSpPr>
        <p:sp>
          <p:nvSpPr>
            <p:cNvPr id="1340" name="Freeform: Shape 1339">
              <a:extLst>
                <a:ext uri="{FF2B5EF4-FFF2-40B4-BE49-F238E27FC236}">
                  <a16:creationId xmlns:a16="http://schemas.microsoft.com/office/drawing/2014/main" id="{5944CC31-7163-4305-8BFA-0F9908F637F1}"/>
                </a:ext>
              </a:extLst>
            </p:cNvPr>
            <p:cNvSpPr/>
            <p:nvPr/>
          </p:nvSpPr>
          <p:spPr>
            <a:xfrm>
              <a:off x="7750331" y="6186674"/>
              <a:ext cx="589759" cy="589759"/>
            </a:xfrm>
            <a:custGeom>
              <a:avLst/>
              <a:gdLst>
                <a:gd name="connsiteX0" fmla="*/ 22529 w 196325"/>
                <a:gd name="connsiteY0" fmla="*/ 154807 h 196325"/>
                <a:gd name="connsiteX1" fmla="*/ 26391 w 196325"/>
                <a:gd name="connsiteY1" fmla="*/ 159313 h 196325"/>
                <a:gd name="connsiteX2" fmla="*/ 30253 w 196325"/>
                <a:gd name="connsiteY2" fmla="*/ 163819 h 196325"/>
                <a:gd name="connsiteX3" fmla="*/ 34116 w 196325"/>
                <a:gd name="connsiteY3" fmla="*/ 168325 h 196325"/>
                <a:gd name="connsiteX4" fmla="*/ 60185 w 196325"/>
                <a:gd name="connsiteY4" fmla="*/ 154807 h 196325"/>
                <a:gd name="connsiteX5" fmla="*/ 78852 w 196325"/>
                <a:gd name="connsiteY5" fmla="*/ 164141 h 196325"/>
                <a:gd name="connsiteX6" fmla="*/ 84001 w 196325"/>
                <a:gd name="connsiteY6" fmla="*/ 193107 h 196325"/>
                <a:gd name="connsiteX7" fmla="*/ 89795 w 196325"/>
                <a:gd name="connsiteY7" fmla="*/ 193429 h 196325"/>
                <a:gd name="connsiteX8" fmla="*/ 95588 w 196325"/>
                <a:gd name="connsiteY8" fmla="*/ 193429 h 196325"/>
                <a:gd name="connsiteX9" fmla="*/ 101381 w 196325"/>
                <a:gd name="connsiteY9" fmla="*/ 193750 h 196325"/>
                <a:gd name="connsiteX10" fmla="*/ 110393 w 196325"/>
                <a:gd name="connsiteY10" fmla="*/ 165750 h 196325"/>
                <a:gd name="connsiteX11" fmla="*/ 130025 w 196325"/>
                <a:gd name="connsiteY11" fmla="*/ 158991 h 196325"/>
                <a:gd name="connsiteX12" fmla="*/ 154164 w 196325"/>
                <a:gd name="connsiteY12" fmla="*/ 175727 h 196325"/>
                <a:gd name="connsiteX13" fmla="*/ 158669 w 196325"/>
                <a:gd name="connsiteY13" fmla="*/ 171865 h 196325"/>
                <a:gd name="connsiteX14" fmla="*/ 163175 w 196325"/>
                <a:gd name="connsiteY14" fmla="*/ 168003 h 196325"/>
                <a:gd name="connsiteX15" fmla="*/ 167681 w 196325"/>
                <a:gd name="connsiteY15" fmla="*/ 164141 h 196325"/>
                <a:gd name="connsiteX16" fmla="*/ 154164 w 196325"/>
                <a:gd name="connsiteY16" fmla="*/ 138071 h 196325"/>
                <a:gd name="connsiteX17" fmla="*/ 163497 w 196325"/>
                <a:gd name="connsiteY17" fmla="*/ 119404 h 196325"/>
                <a:gd name="connsiteX18" fmla="*/ 192463 w 196325"/>
                <a:gd name="connsiteY18" fmla="*/ 114255 h 196325"/>
                <a:gd name="connsiteX19" fmla="*/ 192785 w 196325"/>
                <a:gd name="connsiteY19" fmla="*/ 108462 h 196325"/>
                <a:gd name="connsiteX20" fmla="*/ 193107 w 196325"/>
                <a:gd name="connsiteY20" fmla="*/ 102668 h 196325"/>
                <a:gd name="connsiteX21" fmla="*/ 193429 w 196325"/>
                <a:gd name="connsiteY21" fmla="*/ 96875 h 196325"/>
                <a:gd name="connsiteX22" fmla="*/ 165428 w 196325"/>
                <a:gd name="connsiteY22" fmla="*/ 87864 h 196325"/>
                <a:gd name="connsiteX23" fmla="*/ 158669 w 196325"/>
                <a:gd name="connsiteY23" fmla="*/ 68231 h 196325"/>
                <a:gd name="connsiteX24" fmla="*/ 175405 w 196325"/>
                <a:gd name="connsiteY24" fmla="*/ 44093 h 196325"/>
                <a:gd name="connsiteX25" fmla="*/ 171543 w 196325"/>
                <a:gd name="connsiteY25" fmla="*/ 39587 h 196325"/>
                <a:gd name="connsiteX26" fmla="*/ 167681 w 196325"/>
                <a:gd name="connsiteY26" fmla="*/ 35081 h 196325"/>
                <a:gd name="connsiteX27" fmla="*/ 163819 w 196325"/>
                <a:gd name="connsiteY27" fmla="*/ 30575 h 196325"/>
                <a:gd name="connsiteX28" fmla="*/ 137749 w 196325"/>
                <a:gd name="connsiteY28" fmla="*/ 43771 h 196325"/>
                <a:gd name="connsiteX29" fmla="*/ 119082 w 196325"/>
                <a:gd name="connsiteY29" fmla="*/ 34437 h 196325"/>
                <a:gd name="connsiteX30" fmla="*/ 113933 w 196325"/>
                <a:gd name="connsiteY30" fmla="*/ 5793 h 196325"/>
                <a:gd name="connsiteX31" fmla="*/ 108140 w 196325"/>
                <a:gd name="connsiteY31" fmla="*/ 5471 h 196325"/>
                <a:gd name="connsiteX32" fmla="*/ 102347 w 196325"/>
                <a:gd name="connsiteY32" fmla="*/ 5150 h 196325"/>
                <a:gd name="connsiteX33" fmla="*/ 96553 w 196325"/>
                <a:gd name="connsiteY33" fmla="*/ 4828 h 196325"/>
                <a:gd name="connsiteX34" fmla="*/ 87542 w 196325"/>
                <a:gd name="connsiteY34" fmla="*/ 32506 h 196325"/>
                <a:gd name="connsiteX35" fmla="*/ 67587 w 196325"/>
                <a:gd name="connsiteY35" fmla="*/ 39265 h 196325"/>
                <a:gd name="connsiteX36" fmla="*/ 43771 w 196325"/>
                <a:gd name="connsiteY36" fmla="*/ 22529 h 196325"/>
                <a:gd name="connsiteX37" fmla="*/ 39265 w 196325"/>
                <a:gd name="connsiteY37" fmla="*/ 26391 h 196325"/>
                <a:gd name="connsiteX38" fmla="*/ 34759 w 196325"/>
                <a:gd name="connsiteY38" fmla="*/ 30253 h 196325"/>
                <a:gd name="connsiteX39" fmla="*/ 30253 w 196325"/>
                <a:gd name="connsiteY39" fmla="*/ 34116 h 196325"/>
                <a:gd name="connsiteX40" fmla="*/ 43449 w 196325"/>
                <a:gd name="connsiteY40" fmla="*/ 60185 h 196325"/>
                <a:gd name="connsiteX41" fmla="*/ 34116 w 196325"/>
                <a:gd name="connsiteY41" fmla="*/ 78852 h 196325"/>
                <a:gd name="connsiteX42" fmla="*/ 5471 w 196325"/>
                <a:gd name="connsiteY42" fmla="*/ 84001 h 196325"/>
                <a:gd name="connsiteX43" fmla="*/ 5471 w 196325"/>
                <a:gd name="connsiteY43" fmla="*/ 90438 h 196325"/>
                <a:gd name="connsiteX44" fmla="*/ 5150 w 196325"/>
                <a:gd name="connsiteY44" fmla="*/ 96232 h 196325"/>
                <a:gd name="connsiteX45" fmla="*/ 4828 w 196325"/>
                <a:gd name="connsiteY45" fmla="*/ 102025 h 196325"/>
                <a:gd name="connsiteX46" fmla="*/ 32506 w 196325"/>
                <a:gd name="connsiteY46" fmla="*/ 111036 h 196325"/>
                <a:gd name="connsiteX47" fmla="*/ 39265 w 196325"/>
                <a:gd name="connsiteY47" fmla="*/ 130669 h 196325"/>
                <a:gd name="connsiteX48" fmla="*/ 22529 w 196325"/>
                <a:gd name="connsiteY48" fmla="*/ 154807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2529" y="154807"/>
                  </a:moveTo>
                  <a:lnTo>
                    <a:pt x="26391" y="159313"/>
                  </a:lnTo>
                  <a:lnTo>
                    <a:pt x="30253" y="163819"/>
                  </a:lnTo>
                  <a:lnTo>
                    <a:pt x="34116" y="168325"/>
                  </a:lnTo>
                  <a:lnTo>
                    <a:pt x="60185" y="154807"/>
                  </a:lnTo>
                  <a:cubicBezTo>
                    <a:pt x="65978" y="158991"/>
                    <a:pt x="72415" y="161888"/>
                    <a:pt x="78852" y="164141"/>
                  </a:cubicBezTo>
                  <a:lnTo>
                    <a:pt x="84001" y="193107"/>
                  </a:lnTo>
                  <a:lnTo>
                    <a:pt x="89795" y="193429"/>
                  </a:lnTo>
                  <a:lnTo>
                    <a:pt x="95588" y="193429"/>
                  </a:lnTo>
                  <a:lnTo>
                    <a:pt x="101381" y="193750"/>
                  </a:lnTo>
                  <a:lnTo>
                    <a:pt x="110393" y="165750"/>
                  </a:lnTo>
                  <a:cubicBezTo>
                    <a:pt x="117151" y="164463"/>
                    <a:pt x="123910" y="162210"/>
                    <a:pt x="130025" y="158991"/>
                  </a:cubicBezTo>
                  <a:lnTo>
                    <a:pt x="154164" y="175727"/>
                  </a:lnTo>
                  <a:lnTo>
                    <a:pt x="158669" y="171865"/>
                  </a:lnTo>
                  <a:lnTo>
                    <a:pt x="163175" y="168003"/>
                  </a:lnTo>
                  <a:lnTo>
                    <a:pt x="167681" y="164141"/>
                  </a:lnTo>
                  <a:lnTo>
                    <a:pt x="154164" y="138071"/>
                  </a:lnTo>
                  <a:cubicBezTo>
                    <a:pt x="158347" y="132278"/>
                    <a:pt x="161244" y="126163"/>
                    <a:pt x="163497" y="119404"/>
                  </a:cubicBezTo>
                  <a:lnTo>
                    <a:pt x="192463" y="114255"/>
                  </a:lnTo>
                  <a:lnTo>
                    <a:pt x="192785" y="108462"/>
                  </a:lnTo>
                  <a:lnTo>
                    <a:pt x="193107" y="102668"/>
                  </a:lnTo>
                  <a:lnTo>
                    <a:pt x="193429" y="96875"/>
                  </a:lnTo>
                  <a:lnTo>
                    <a:pt x="165428" y="87864"/>
                  </a:lnTo>
                  <a:cubicBezTo>
                    <a:pt x="164141" y="81105"/>
                    <a:pt x="162210" y="74346"/>
                    <a:pt x="158669" y="68231"/>
                  </a:cubicBezTo>
                  <a:lnTo>
                    <a:pt x="175405" y="44093"/>
                  </a:lnTo>
                  <a:lnTo>
                    <a:pt x="171543" y="39587"/>
                  </a:lnTo>
                  <a:lnTo>
                    <a:pt x="167681" y="35081"/>
                  </a:lnTo>
                  <a:lnTo>
                    <a:pt x="163819" y="30575"/>
                  </a:lnTo>
                  <a:lnTo>
                    <a:pt x="137749" y="43771"/>
                  </a:lnTo>
                  <a:cubicBezTo>
                    <a:pt x="131956" y="39587"/>
                    <a:pt x="125519" y="36690"/>
                    <a:pt x="119082" y="34437"/>
                  </a:cubicBezTo>
                  <a:lnTo>
                    <a:pt x="113933" y="5793"/>
                  </a:lnTo>
                  <a:lnTo>
                    <a:pt x="108140" y="5471"/>
                  </a:lnTo>
                  <a:lnTo>
                    <a:pt x="102347" y="5150"/>
                  </a:lnTo>
                  <a:lnTo>
                    <a:pt x="96553" y="4828"/>
                  </a:lnTo>
                  <a:lnTo>
                    <a:pt x="87542" y="32506"/>
                  </a:lnTo>
                  <a:cubicBezTo>
                    <a:pt x="80783" y="33794"/>
                    <a:pt x="74024" y="36047"/>
                    <a:pt x="67587" y="39265"/>
                  </a:cubicBezTo>
                  <a:lnTo>
                    <a:pt x="43771" y="22529"/>
                  </a:lnTo>
                  <a:lnTo>
                    <a:pt x="39265" y="26391"/>
                  </a:lnTo>
                  <a:lnTo>
                    <a:pt x="34759" y="30253"/>
                  </a:lnTo>
                  <a:lnTo>
                    <a:pt x="30253" y="34116"/>
                  </a:lnTo>
                  <a:lnTo>
                    <a:pt x="43449" y="60185"/>
                  </a:lnTo>
                  <a:cubicBezTo>
                    <a:pt x="39265" y="65978"/>
                    <a:pt x="36368" y="72415"/>
                    <a:pt x="34116" y="78852"/>
                  </a:cubicBezTo>
                  <a:lnTo>
                    <a:pt x="5471" y="84001"/>
                  </a:lnTo>
                  <a:lnTo>
                    <a:pt x="5471" y="90438"/>
                  </a:lnTo>
                  <a:lnTo>
                    <a:pt x="5150" y="96232"/>
                  </a:lnTo>
                  <a:lnTo>
                    <a:pt x="4828" y="102025"/>
                  </a:lnTo>
                  <a:lnTo>
                    <a:pt x="32506" y="111036"/>
                  </a:lnTo>
                  <a:cubicBezTo>
                    <a:pt x="33794" y="117795"/>
                    <a:pt x="36047" y="124554"/>
                    <a:pt x="39265" y="130669"/>
                  </a:cubicBezTo>
                  <a:lnTo>
                    <a:pt x="22529" y="154807"/>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341" name="Freeform: Shape 1340">
              <a:extLst>
                <a:ext uri="{FF2B5EF4-FFF2-40B4-BE49-F238E27FC236}">
                  <a16:creationId xmlns:a16="http://schemas.microsoft.com/office/drawing/2014/main" id="{EE96CFF0-43EC-47EF-A594-DA18A677B336}"/>
                </a:ext>
              </a:extLst>
            </p:cNvPr>
            <p:cNvSpPr/>
            <p:nvPr/>
          </p:nvSpPr>
          <p:spPr>
            <a:xfrm>
              <a:off x="7919525" y="6357802"/>
              <a:ext cx="251374" cy="251374"/>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1342" name="Freeform: Shape 1341">
              <a:extLst>
                <a:ext uri="{FF2B5EF4-FFF2-40B4-BE49-F238E27FC236}">
                  <a16:creationId xmlns:a16="http://schemas.microsoft.com/office/drawing/2014/main" id="{F7E46619-DE03-4AFD-812E-04889072818B}"/>
                </a:ext>
              </a:extLst>
            </p:cNvPr>
            <p:cNvSpPr/>
            <p:nvPr/>
          </p:nvSpPr>
          <p:spPr>
            <a:xfrm>
              <a:off x="7997836" y="6436114"/>
              <a:ext cx="96681" cy="96681"/>
            </a:xfrm>
            <a:custGeom>
              <a:avLst/>
              <a:gdLst>
                <a:gd name="connsiteX0" fmla="*/ 28000 w 32184"/>
                <a:gd name="connsiteY0" fmla="*/ 16414 h 32184"/>
                <a:gd name="connsiteX1" fmla="*/ 16414 w 32184"/>
                <a:gd name="connsiteY1" fmla="*/ 28000 h 32184"/>
                <a:gd name="connsiteX2" fmla="*/ 4828 w 32184"/>
                <a:gd name="connsiteY2" fmla="*/ 16414 h 32184"/>
                <a:gd name="connsiteX3" fmla="*/ 16414 w 32184"/>
                <a:gd name="connsiteY3" fmla="*/ 4828 h 32184"/>
                <a:gd name="connsiteX4" fmla="*/ 28000 w 32184"/>
                <a:gd name="connsiteY4" fmla="*/ 16414 h 3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4" h="32184">
                  <a:moveTo>
                    <a:pt x="28000" y="16414"/>
                  </a:moveTo>
                  <a:cubicBezTo>
                    <a:pt x="28000" y="22813"/>
                    <a:pt x="22813" y="28000"/>
                    <a:pt x="16414" y="28000"/>
                  </a:cubicBezTo>
                  <a:cubicBezTo>
                    <a:pt x="10015" y="28000"/>
                    <a:pt x="4828" y="22813"/>
                    <a:pt x="4828" y="16414"/>
                  </a:cubicBezTo>
                  <a:cubicBezTo>
                    <a:pt x="4828" y="10015"/>
                    <a:pt x="10015" y="4828"/>
                    <a:pt x="16414" y="4828"/>
                  </a:cubicBezTo>
                  <a:cubicBezTo>
                    <a:pt x="22813" y="4828"/>
                    <a:pt x="28000" y="10015"/>
                    <a:pt x="28000" y="16414"/>
                  </a:cubicBez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343" name="Freeform: Shape 1342">
              <a:extLst>
                <a:ext uri="{FF2B5EF4-FFF2-40B4-BE49-F238E27FC236}">
                  <a16:creationId xmlns:a16="http://schemas.microsoft.com/office/drawing/2014/main" id="{4905B333-2145-4022-9DC0-549DE61B413D}"/>
                </a:ext>
              </a:extLst>
            </p:cNvPr>
            <p:cNvSpPr/>
            <p:nvPr/>
          </p:nvSpPr>
          <p:spPr>
            <a:xfrm>
              <a:off x="6630539" y="5548499"/>
              <a:ext cx="1119001" cy="1119001"/>
            </a:xfrm>
            <a:custGeom>
              <a:avLst/>
              <a:gdLst>
                <a:gd name="connsiteX0" fmla="*/ 22529 w 196325"/>
                <a:gd name="connsiteY0" fmla="*/ 154807 h 196325"/>
                <a:gd name="connsiteX1" fmla="*/ 26391 w 196325"/>
                <a:gd name="connsiteY1" fmla="*/ 159313 h 196325"/>
                <a:gd name="connsiteX2" fmla="*/ 30253 w 196325"/>
                <a:gd name="connsiteY2" fmla="*/ 163819 h 196325"/>
                <a:gd name="connsiteX3" fmla="*/ 34116 w 196325"/>
                <a:gd name="connsiteY3" fmla="*/ 168325 h 196325"/>
                <a:gd name="connsiteX4" fmla="*/ 60185 w 196325"/>
                <a:gd name="connsiteY4" fmla="*/ 154807 h 196325"/>
                <a:gd name="connsiteX5" fmla="*/ 78852 w 196325"/>
                <a:gd name="connsiteY5" fmla="*/ 164141 h 196325"/>
                <a:gd name="connsiteX6" fmla="*/ 84001 w 196325"/>
                <a:gd name="connsiteY6" fmla="*/ 193107 h 196325"/>
                <a:gd name="connsiteX7" fmla="*/ 89795 w 196325"/>
                <a:gd name="connsiteY7" fmla="*/ 193429 h 196325"/>
                <a:gd name="connsiteX8" fmla="*/ 95588 w 196325"/>
                <a:gd name="connsiteY8" fmla="*/ 193429 h 196325"/>
                <a:gd name="connsiteX9" fmla="*/ 101381 w 196325"/>
                <a:gd name="connsiteY9" fmla="*/ 193750 h 196325"/>
                <a:gd name="connsiteX10" fmla="*/ 110393 w 196325"/>
                <a:gd name="connsiteY10" fmla="*/ 165750 h 196325"/>
                <a:gd name="connsiteX11" fmla="*/ 130025 w 196325"/>
                <a:gd name="connsiteY11" fmla="*/ 158991 h 196325"/>
                <a:gd name="connsiteX12" fmla="*/ 154164 w 196325"/>
                <a:gd name="connsiteY12" fmla="*/ 175727 h 196325"/>
                <a:gd name="connsiteX13" fmla="*/ 158669 w 196325"/>
                <a:gd name="connsiteY13" fmla="*/ 171865 h 196325"/>
                <a:gd name="connsiteX14" fmla="*/ 163175 w 196325"/>
                <a:gd name="connsiteY14" fmla="*/ 168003 h 196325"/>
                <a:gd name="connsiteX15" fmla="*/ 167681 w 196325"/>
                <a:gd name="connsiteY15" fmla="*/ 164141 h 196325"/>
                <a:gd name="connsiteX16" fmla="*/ 154164 w 196325"/>
                <a:gd name="connsiteY16" fmla="*/ 138071 h 196325"/>
                <a:gd name="connsiteX17" fmla="*/ 163497 w 196325"/>
                <a:gd name="connsiteY17" fmla="*/ 119404 h 196325"/>
                <a:gd name="connsiteX18" fmla="*/ 192463 w 196325"/>
                <a:gd name="connsiteY18" fmla="*/ 114255 h 196325"/>
                <a:gd name="connsiteX19" fmla="*/ 192785 w 196325"/>
                <a:gd name="connsiteY19" fmla="*/ 108462 h 196325"/>
                <a:gd name="connsiteX20" fmla="*/ 193107 w 196325"/>
                <a:gd name="connsiteY20" fmla="*/ 102668 h 196325"/>
                <a:gd name="connsiteX21" fmla="*/ 193429 w 196325"/>
                <a:gd name="connsiteY21" fmla="*/ 96875 h 196325"/>
                <a:gd name="connsiteX22" fmla="*/ 165428 w 196325"/>
                <a:gd name="connsiteY22" fmla="*/ 87864 h 196325"/>
                <a:gd name="connsiteX23" fmla="*/ 158669 w 196325"/>
                <a:gd name="connsiteY23" fmla="*/ 68231 h 196325"/>
                <a:gd name="connsiteX24" fmla="*/ 175405 w 196325"/>
                <a:gd name="connsiteY24" fmla="*/ 44093 h 196325"/>
                <a:gd name="connsiteX25" fmla="*/ 171543 w 196325"/>
                <a:gd name="connsiteY25" fmla="*/ 39587 h 196325"/>
                <a:gd name="connsiteX26" fmla="*/ 167681 w 196325"/>
                <a:gd name="connsiteY26" fmla="*/ 35081 h 196325"/>
                <a:gd name="connsiteX27" fmla="*/ 163819 w 196325"/>
                <a:gd name="connsiteY27" fmla="*/ 30575 h 196325"/>
                <a:gd name="connsiteX28" fmla="*/ 137749 w 196325"/>
                <a:gd name="connsiteY28" fmla="*/ 43771 h 196325"/>
                <a:gd name="connsiteX29" fmla="*/ 119082 w 196325"/>
                <a:gd name="connsiteY29" fmla="*/ 34437 h 196325"/>
                <a:gd name="connsiteX30" fmla="*/ 113933 w 196325"/>
                <a:gd name="connsiteY30" fmla="*/ 5793 h 196325"/>
                <a:gd name="connsiteX31" fmla="*/ 108140 w 196325"/>
                <a:gd name="connsiteY31" fmla="*/ 5471 h 196325"/>
                <a:gd name="connsiteX32" fmla="*/ 102347 w 196325"/>
                <a:gd name="connsiteY32" fmla="*/ 5150 h 196325"/>
                <a:gd name="connsiteX33" fmla="*/ 96553 w 196325"/>
                <a:gd name="connsiteY33" fmla="*/ 4828 h 196325"/>
                <a:gd name="connsiteX34" fmla="*/ 87542 w 196325"/>
                <a:gd name="connsiteY34" fmla="*/ 32506 h 196325"/>
                <a:gd name="connsiteX35" fmla="*/ 67587 w 196325"/>
                <a:gd name="connsiteY35" fmla="*/ 39265 h 196325"/>
                <a:gd name="connsiteX36" fmla="*/ 43771 w 196325"/>
                <a:gd name="connsiteY36" fmla="*/ 22529 h 196325"/>
                <a:gd name="connsiteX37" fmla="*/ 39265 w 196325"/>
                <a:gd name="connsiteY37" fmla="*/ 26391 h 196325"/>
                <a:gd name="connsiteX38" fmla="*/ 34759 w 196325"/>
                <a:gd name="connsiteY38" fmla="*/ 30253 h 196325"/>
                <a:gd name="connsiteX39" fmla="*/ 30253 w 196325"/>
                <a:gd name="connsiteY39" fmla="*/ 34116 h 196325"/>
                <a:gd name="connsiteX40" fmla="*/ 43449 w 196325"/>
                <a:gd name="connsiteY40" fmla="*/ 60185 h 196325"/>
                <a:gd name="connsiteX41" fmla="*/ 34116 w 196325"/>
                <a:gd name="connsiteY41" fmla="*/ 78852 h 196325"/>
                <a:gd name="connsiteX42" fmla="*/ 5471 w 196325"/>
                <a:gd name="connsiteY42" fmla="*/ 84001 h 196325"/>
                <a:gd name="connsiteX43" fmla="*/ 5471 w 196325"/>
                <a:gd name="connsiteY43" fmla="*/ 90438 h 196325"/>
                <a:gd name="connsiteX44" fmla="*/ 5150 w 196325"/>
                <a:gd name="connsiteY44" fmla="*/ 96232 h 196325"/>
                <a:gd name="connsiteX45" fmla="*/ 4828 w 196325"/>
                <a:gd name="connsiteY45" fmla="*/ 102025 h 196325"/>
                <a:gd name="connsiteX46" fmla="*/ 32506 w 196325"/>
                <a:gd name="connsiteY46" fmla="*/ 111036 h 196325"/>
                <a:gd name="connsiteX47" fmla="*/ 39265 w 196325"/>
                <a:gd name="connsiteY47" fmla="*/ 130669 h 196325"/>
                <a:gd name="connsiteX48" fmla="*/ 22529 w 196325"/>
                <a:gd name="connsiteY48" fmla="*/ 154807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2529" y="154807"/>
                  </a:moveTo>
                  <a:lnTo>
                    <a:pt x="26391" y="159313"/>
                  </a:lnTo>
                  <a:lnTo>
                    <a:pt x="30253" y="163819"/>
                  </a:lnTo>
                  <a:lnTo>
                    <a:pt x="34116" y="168325"/>
                  </a:lnTo>
                  <a:lnTo>
                    <a:pt x="60185" y="154807"/>
                  </a:lnTo>
                  <a:cubicBezTo>
                    <a:pt x="65978" y="158991"/>
                    <a:pt x="72415" y="161888"/>
                    <a:pt x="78852" y="164141"/>
                  </a:cubicBezTo>
                  <a:lnTo>
                    <a:pt x="84001" y="193107"/>
                  </a:lnTo>
                  <a:lnTo>
                    <a:pt x="89795" y="193429"/>
                  </a:lnTo>
                  <a:lnTo>
                    <a:pt x="95588" y="193429"/>
                  </a:lnTo>
                  <a:lnTo>
                    <a:pt x="101381" y="193750"/>
                  </a:lnTo>
                  <a:lnTo>
                    <a:pt x="110393" y="165750"/>
                  </a:lnTo>
                  <a:cubicBezTo>
                    <a:pt x="117151" y="164463"/>
                    <a:pt x="123910" y="162210"/>
                    <a:pt x="130025" y="158991"/>
                  </a:cubicBezTo>
                  <a:lnTo>
                    <a:pt x="154164" y="175727"/>
                  </a:lnTo>
                  <a:lnTo>
                    <a:pt x="158669" y="171865"/>
                  </a:lnTo>
                  <a:lnTo>
                    <a:pt x="163175" y="168003"/>
                  </a:lnTo>
                  <a:lnTo>
                    <a:pt x="167681" y="164141"/>
                  </a:lnTo>
                  <a:lnTo>
                    <a:pt x="154164" y="138071"/>
                  </a:lnTo>
                  <a:cubicBezTo>
                    <a:pt x="158347" y="132278"/>
                    <a:pt x="161244" y="126163"/>
                    <a:pt x="163497" y="119404"/>
                  </a:cubicBezTo>
                  <a:lnTo>
                    <a:pt x="192463" y="114255"/>
                  </a:lnTo>
                  <a:lnTo>
                    <a:pt x="192785" y="108462"/>
                  </a:lnTo>
                  <a:lnTo>
                    <a:pt x="193107" y="102668"/>
                  </a:lnTo>
                  <a:lnTo>
                    <a:pt x="193429" y="96875"/>
                  </a:lnTo>
                  <a:lnTo>
                    <a:pt x="165428" y="87864"/>
                  </a:lnTo>
                  <a:cubicBezTo>
                    <a:pt x="164141" y="81105"/>
                    <a:pt x="162210" y="74346"/>
                    <a:pt x="158669" y="68231"/>
                  </a:cubicBezTo>
                  <a:lnTo>
                    <a:pt x="175405" y="44093"/>
                  </a:lnTo>
                  <a:lnTo>
                    <a:pt x="171543" y="39587"/>
                  </a:lnTo>
                  <a:lnTo>
                    <a:pt x="167681" y="35081"/>
                  </a:lnTo>
                  <a:lnTo>
                    <a:pt x="163819" y="30575"/>
                  </a:lnTo>
                  <a:lnTo>
                    <a:pt x="137749" y="43771"/>
                  </a:lnTo>
                  <a:cubicBezTo>
                    <a:pt x="131956" y="39587"/>
                    <a:pt x="125519" y="36690"/>
                    <a:pt x="119082" y="34437"/>
                  </a:cubicBezTo>
                  <a:lnTo>
                    <a:pt x="113933" y="5793"/>
                  </a:lnTo>
                  <a:lnTo>
                    <a:pt x="108140" y="5471"/>
                  </a:lnTo>
                  <a:lnTo>
                    <a:pt x="102347" y="5150"/>
                  </a:lnTo>
                  <a:lnTo>
                    <a:pt x="96553" y="4828"/>
                  </a:lnTo>
                  <a:lnTo>
                    <a:pt x="87542" y="32506"/>
                  </a:lnTo>
                  <a:cubicBezTo>
                    <a:pt x="80783" y="33794"/>
                    <a:pt x="74024" y="36047"/>
                    <a:pt x="67587" y="39265"/>
                  </a:cubicBezTo>
                  <a:lnTo>
                    <a:pt x="43771" y="22529"/>
                  </a:lnTo>
                  <a:lnTo>
                    <a:pt x="39265" y="26391"/>
                  </a:lnTo>
                  <a:lnTo>
                    <a:pt x="34759" y="30253"/>
                  </a:lnTo>
                  <a:lnTo>
                    <a:pt x="30253" y="34116"/>
                  </a:lnTo>
                  <a:lnTo>
                    <a:pt x="43449" y="60185"/>
                  </a:lnTo>
                  <a:cubicBezTo>
                    <a:pt x="39265" y="65978"/>
                    <a:pt x="36368" y="72415"/>
                    <a:pt x="34116" y="78852"/>
                  </a:cubicBezTo>
                  <a:lnTo>
                    <a:pt x="5471" y="84001"/>
                  </a:lnTo>
                  <a:lnTo>
                    <a:pt x="5471" y="90438"/>
                  </a:lnTo>
                  <a:lnTo>
                    <a:pt x="5150" y="96232"/>
                  </a:lnTo>
                  <a:lnTo>
                    <a:pt x="4828" y="102025"/>
                  </a:lnTo>
                  <a:lnTo>
                    <a:pt x="32506" y="111036"/>
                  </a:lnTo>
                  <a:cubicBezTo>
                    <a:pt x="33794" y="117795"/>
                    <a:pt x="36047" y="124554"/>
                    <a:pt x="39265" y="130669"/>
                  </a:cubicBezTo>
                  <a:lnTo>
                    <a:pt x="22529" y="154807"/>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344" name="Freeform: Shape 1343">
              <a:extLst>
                <a:ext uri="{FF2B5EF4-FFF2-40B4-BE49-F238E27FC236}">
                  <a16:creationId xmlns:a16="http://schemas.microsoft.com/office/drawing/2014/main" id="{47A726E3-91C3-4A08-84D4-3F2E7A13D5A5}"/>
                </a:ext>
              </a:extLst>
            </p:cNvPr>
            <p:cNvSpPr/>
            <p:nvPr/>
          </p:nvSpPr>
          <p:spPr>
            <a:xfrm>
              <a:off x="6951565" y="5873196"/>
              <a:ext cx="476954" cy="476954"/>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1345" name="Freeform: Shape 1344">
              <a:extLst>
                <a:ext uri="{FF2B5EF4-FFF2-40B4-BE49-F238E27FC236}">
                  <a16:creationId xmlns:a16="http://schemas.microsoft.com/office/drawing/2014/main" id="{B0C904E0-EBAB-404F-8D87-9C0E5EE86D79}"/>
                </a:ext>
              </a:extLst>
            </p:cNvPr>
            <p:cNvSpPr/>
            <p:nvPr/>
          </p:nvSpPr>
          <p:spPr>
            <a:xfrm>
              <a:off x="7100152" y="6021782"/>
              <a:ext cx="183440" cy="183440"/>
            </a:xfrm>
            <a:custGeom>
              <a:avLst/>
              <a:gdLst>
                <a:gd name="connsiteX0" fmla="*/ 28000 w 32184"/>
                <a:gd name="connsiteY0" fmla="*/ 16414 h 32184"/>
                <a:gd name="connsiteX1" fmla="*/ 16414 w 32184"/>
                <a:gd name="connsiteY1" fmla="*/ 28000 h 32184"/>
                <a:gd name="connsiteX2" fmla="*/ 4828 w 32184"/>
                <a:gd name="connsiteY2" fmla="*/ 16414 h 32184"/>
                <a:gd name="connsiteX3" fmla="*/ 16414 w 32184"/>
                <a:gd name="connsiteY3" fmla="*/ 4828 h 32184"/>
                <a:gd name="connsiteX4" fmla="*/ 28000 w 32184"/>
                <a:gd name="connsiteY4" fmla="*/ 16414 h 3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4" h="32184">
                  <a:moveTo>
                    <a:pt x="28000" y="16414"/>
                  </a:moveTo>
                  <a:cubicBezTo>
                    <a:pt x="28000" y="22813"/>
                    <a:pt x="22813" y="28000"/>
                    <a:pt x="16414" y="28000"/>
                  </a:cubicBezTo>
                  <a:cubicBezTo>
                    <a:pt x="10015" y="28000"/>
                    <a:pt x="4828" y="22813"/>
                    <a:pt x="4828" y="16414"/>
                  </a:cubicBezTo>
                  <a:cubicBezTo>
                    <a:pt x="4828" y="10015"/>
                    <a:pt x="10015" y="4828"/>
                    <a:pt x="16414" y="4828"/>
                  </a:cubicBezTo>
                  <a:cubicBezTo>
                    <a:pt x="22813" y="4828"/>
                    <a:pt x="28000" y="10015"/>
                    <a:pt x="28000" y="16414"/>
                  </a:cubicBez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346" name="Freeform: Shape 1345">
              <a:extLst>
                <a:ext uri="{FF2B5EF4-FFF2-40B4-BE49-F238E27FC236}">
                  <a16:creationId xmlns:a16="http://schemas.microsoft.com/office/drawing/2014/main" id="{F6EFE659-D745-4E68-94E3-445C294B19FE}"/>
                </a:ext>
              </a:extLst>
            </p:cNvPr>
            <p:cNvSpPr/>
            <p:nvPr/>
          </p:nvSpPr>
          <p:spPr>
            <a:xfrm>
              <a:off x="7702707" y="5287514"/>
              <a:ext cx="793594" cy="793594"/>
            </a:xfrm>
            <a:custGeom>
              <a:avLst/>
              <a:gdLst>
                <a:gd name="connsiteX0" fmla="*/ 22529 w 196325"/>
                <a:gd name="connsiteY0" fmla="*/ 154807 h 196325"/>
                <a:gd name="connsiteX1" fmla="*/ 26391 w 196325"/>
                <a:gd name="connsiteY1" fmla="*/ 159313 h 196325"/>
                <a:gd name="connsiteX2" fmla="*/ 30253 w 196325"/>
                <a:gd name="connsiteY2" fmla="*/ 163819 h 196325"/>
                <a:gd name="connsiteX3" fmla="*/ 34116 w 196325"/>
                <a:gd name="connsiteY3" fmla="*/ 168325 h 196325"/>
                <a:gd name="connsiteX4" fmla="*/ 60185 w 196325"/>
                <a:gd name="connsiteY4" fmla="*/ 154807 h 196325"/>
                <a:gd name="connsiteX5" fmla="*/ 78852 w 196325"/>
                <a:gd name="connsiteY5" fmla="*/ 164141 h 196325"/>
                <a:gd name="connsiteX6" fmla="*/ 84001 w 196325"/>
                <a:gd name="connsiteY6" fmla="*/ 193107 h 196325"/>
                <a:gd name="connsiteX7" fmla="*/ 89795 w 196325"/>
                <a:gd name="connsiteY7" fmla="*/ 193429 h 196325"/>
                <a:gd name="connsiteX8" fmla="*/ 95588 w 196325"/>
                <a:gd name="connsiteY8" fmla="*/ 193429 h 196325"/>
                <a:gd name="connsiteX9" fmla="*/ 101381 w 196325"/>
                <a:gd name="connsiteY9" fmla="*/ 193750 h 196325"/>
                <a:gd name="connsiteX10" fmla="*/ 110393 w 196325"/>
                <a:gd name="connsiteY10" fmla="*/ 165750 h 196325"/>
                <a:gd name="connsiteX11" fmla="*/ 130025 w 196325"/>
                <a:gd name="connsiteY11" fmla="*/ 158991 h 196325"/>
                <a:gd name="connsiteX12" fmla="*/ 154164 w 196325"/>
                <a:gd name="connsiteY12" fmla="*/ 175727 h 196325"/>
                <a:gd name="connsiteX13" fmla="*/ 158669 w 196325"/>
                <a:gd name="connsiteY13" fmla="*/ 171865 h 196325"/>
                <a:gd name="connsiteX14" fmla="*/ 163175 w 196325"/>
                <a:gd name="connsiteY14" fmla="*/ 168003 h 196325"/>
                <a:gd name="connsiteX15" fmla="*/ 167681 w 196325"/>
                <a:gd name="connsiteY15" fmla="*/ 164141 h 196325"/>
                <a:gd name="connsiteX16" fmla="*/ 154164 w 196325"/>
                <a:gd name="connsiteY16" fmla="*/ 138071 h 196325"/>
                <a:gd name="connsiteX17" fmla="*/ 163497 w 196325"/>
                <a:gd name="connsiteY17" fmla="*/ 119404 h 196325"/>
                <a:gd name="connsiteX18" fmla="*/ 192463 w 196325"/>
                <a:gd name="connsiteY18" fmla="*/ 114255 h 196325"/>
                <a:gd name="connsiteX19" fmla="*/ 192785 w 196325"/>
                <a:gd name="connsiteY19" fmla="*/ 108462 h 196325"/>
                <a:gd name="connsiteX20" fmla="*/ 193107 w 196325"/>
                <a:gd name="connsiteY20" fmla="*/ 102668 h 196325"/>
                <a:gd name="connsiteX21" fmla="*/ 193429 w 196325"/>
                <a:gd name="connsiteY21" fmla="*/ 96875 h 196325"/>
                <a:gd name="connsiteX22" fmla="*/ 165428 w 196325"/>
                <a:gd name="connsiteY22" fmla="*/ 87864 h 196325"/>
                <a:gd name="connsiteX23" fmla="*/ 158669 w 196325"/>
                <a:gd name="connsiteY23" fmla="*/ 68231 h 196325"/>
                <a:gd name="connsiteX24" fmla="*/ 175405 w 196325"/>
                <a:gd name="connsiteY24" fmla="*/ 44093 h 196325"/>
                <a:gd name="connsiteX25" fmla="*/ 171543 w 196325"/>
                <a:gd name="connsiteY25" fmla="*/ 39587 h 196325"/>
                <a:gd name="connsiteX26" fmla="*/ 167681 w 196325"/>
                <a:gd name="connsiteY26" fmla="*/ 35081 h 196325"/>
                <a:gd name="connsiteX27" fmla="*/ 163819 w 196325"/>
                <a:gd name="connsiteY27" fmla="*/ 30575 h 196325"/>
                <a:gd name="connsiteX28" fmla="*/ 137749 w 196325"/>
                <a:gd name="connsiteY28" fmla="*/ 43771 h 196325"/>
                <a:gd name="connsiteX29" fmla="*/ 119082 w 196325"/>
                <a:gd name="connsiteY29" fmla="*/ 34437 h 196325"/>
                <a:gd name="connsiteX30" fmla="*/ 113933 w 196325"/>
                <a:gd name="connsiteY30" fmla="*/ 5793 h 196325"/>
                <a:gd name="connsiteX31" fmla="*/ 108140 w 196325"/>
                <a:gd name="connsiteY31" fmla="*/ 5471 h 196325"/>
                <a:gd name="connsiteX32" fmla="*/ 102347 w 196325"/>
                <a:gd name="connsiteY32" fmla="*/ 5150 h 196325"/>
                <a:gd name="connsiteX33" fmla="*/ 96553 w 196325"/>
                <a:gd name="connsiteY33" fmla="*/ 4828 h 196325"/>
                <a:gd name="connsiteX34" fmla="*/ 87542 w 196325"/>
                <a:gd name="connsiteY34" fmla="*/ 32506 h 196325"/>
                <a:gd name="connsiteX35" fmla="*/ 67587 w 196325"/>
                <a:gd name="connsiteY35" fmla="*/ 39265 h 196325"/>
                <a:gd name="connsiteX36" fmla="*/ 43771 w 196325"/>
                <a:gd name="connsiteY36" fmla="*/ 22529 h 196325"/>
                <a:gd name="connsiteX37" fmla="*/ 39265 w 196325"/>
                <a:gd name="connsiteY37" fmla="*/ 26391 h 196325"/>
                <a:gd name="connsiteX38" fmla="*/ 34759 w 196325"/>
                <a:gd name="connsiteY38" fmla="*/ 30253 h 196325"/>
                <a:gd name="connsiteX39" fmla="*/ 30253 w 196325"/>
                <a:gd name="connsiteY39" fmla="*/ 34116 h 196325"/>
                <a:gd name="connsiteX40" fmla="*/ 43449 w 196325"/>
                <a:gd name="connsiteY40" fmla="*/ 60185 h 196325"/>
                <a:gd name="connsiteX41" fmla="*/ 34116 w 196325"/>
                <a:gd name="connsiteY41" fmla="*/ 78852 h 196325"/>
                <a:gd name="connsiteX42" fmla="*/ 5471 w 196325"/>
                <a:gd name="connsiteY42" fmla="*/ 84001 h 196325"/>
                <a:gd name="connsiteX43" fmla="*/ 5471 w 196325"/>
                <a:gd name="connsiteY43" fmla="*/ 90438 h 196325"/>
                <a:gd name="connsiteX44" fmla="*/ 5150 w 196325"/>
                <a:gd name="connsiteY44" fmla="*/ 96232 h 196325"/>
                <a:gd name="connsiteX45" fmla="*/ 4828 w 196325"/>
                <a:gd name="connsiteY45" fmla="*/ 102025 h 196325"/>
                <a:gd name="connsiteX46" fmla="*/ 32506 w 196325"/>
                <a:gd name="connsiteY46" fmla="*/ 111036 h 196325"/>
                <a:gd name="connsiteX47" fmla="*/ 39265 w 196325"/>
                <a:gd name="connsiteY47" fmla="*/ 130669 h 196325"/>
                <a:gd name="connsiteX48" fmla="*/ 22529 w 196325"/>
                <a:gd name="connsiteY48" fmla="*/ 154807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2529" y="154807"/>
                  </a:moveTo>
                  <a:lnTo>
                    <a:pt x="26391" y="159313"/>
                  </a:lnTo>
                  <a:lnTo>
                    <a:pt x="30253" y="163819"/>
                  </a:lnTo>
                  <a:lnTo>
                    <a:pt x="34116" y="168325"/>
                  </a:lnTo>
                  <a:lnTo>
                    <a:pt x="60185" y="154807"/>
                  </a:lnTo>
                  <a:cubicBezTo>
                    <a:pt x="65978" y="158991"/>
                    <a:pt x="72415" y="161888"/>
                    <a:pt x="78852" y="164141"/>
                  </a:cubicBezTo>
                  <a:lnTo>
                    <a:pt x="84001" y="193107"/>
                  </a:lnTo>
                  <a:lnTo>
                    <a:pt x="89795" y="193429"/>
                  </a:lnTo>
                  <a:lnTo>
                    <a:pt x="95588" y="193429"/>
                  </a:lnTo>
                  <a:lnTo>
                    <a:pt x="101381" y="193750"/>
                  </a:lnTo>
                  <a:lnTo>
                    <a:pt x="110393" y="165750"/>
                  </a:lnTo>
                  <a:cubicBezTo>
                    <a:pt x="117151" y="164463"/>
                    <a:pt x="123910" y="162210"/>
                    <a:pt x="130025" y="158991"/>
                  </a:cubicBezTo>
                  <a:lnTo>
                    <a:pt x="154164" y="175727"/>
                  </a:lnTo>
                  <a:lnTo>
                    <a:pt x="158669" y="171865"/>
                  </a:lnTo>
                  <a:lnTo>
                    <a:pt x="163175" y="168003"/>
                  </a:lnTo>
                  <a:lnTo>
                    <a:pt x="167681" y="164141"/>
                  </a:lnTo>
                  <a:lnTo>
                    <a:pt x="154164" y="138071"/>
                  </a:lnTo>
                  <a:cubicBezTo>
                    <a:pt x="158347" y="132278"/>
                    <a:pt x="161244" y="126163"/>
                    <a:pt x="163497" y="119404"/>
                  </a:cubicBezTo>
                  <a:lnTo>
                    <a:pt x="192463" y="114255"/>
                  </a:lnTo>
                  <a:lnTo>
                    <a:pt x="192785" y="108462"/>
                  </a:lnTo>
                  <a:lnTo>
                    <a:pt x="193107" y="102668"/>
                  </a:lnTo>
                  <a:lnTo>
                    <a:pt x="193429" y="96875"/>
                  </a:lnTo>
                  <a:lnTo>
                    <a:pt x="165428" y="87864"/>
                  </a:lnTo>
                  <a:cubicBezTo>
                    <a:pt x="164141" y="81105"/>
                    <a:pt x="162210" y="74346"/>
                    <a:pt x="158669" y="68231"/>
                  </a:cubicBezTo>
                  <a:lnTo>
                    <a:pt x="175405" y="44093"/>
                  </a:lnTo>
                  <a:lnTo>
                    <a:pt x="171543" y="39587"/>
                  </a:lnTo>
                  <a:lnTo>
                    <a:pt x="167681" y="35081"/>
                  </a:lnTo>
                  <a:lnTo>
                    <a:pt x="163819" y="30575"/>
                  </a:lnTo>
                  <a:lnTo>
                    <a:pt x="137749" y="43771"/>
                  </a:lnTo>
                  <a:cubicBezTo>
                    <a:pt x="131956" y="39587"/>
                    <a:pt x="125519" y="36690"/>
                    <a:pt x="119082" y="34437"/>
                  </a:cubicBezTo>
                  <a:lnTo>
                    <a:pt x="113933" y="5793"/>
                  </a:lnTo>
                  <a:lnTo>
                    <a:pt x="108140" y="5471"/>
                  </a:lnTo>
                  <a:lnTo>
                    <a:pt x="102347" y="5150"/>
                  </a:lnTo>
                  <a:lnTo>
                    <a:pt x="96553" y="4828"/>
                  </a:lnTo>
                  <a:lnTo>
                    <a:pt x="87542" y="32506"/>
                  </a:lnTo>
                  <a:cubicBezTo>
                    <a:pt x="80783" y="33794"/>
                    <a:pt x="74024" y="36047"/>
                    <a:pt x="67587" y="39265"/>
                  </a:cubicBezTo>
                  <a:lnTo>
                    <a:pt x="43771" y="22529"/>
                  </a:lnTo>
                  <a:lnTo>
                    <a:pt x="39265" y="26391"/>
                  </a:lnTo>
                  <a:lnTo>
                    <a:pt x="34759" y="30253"/>
                  </a:lnTo>
                  <a:lnTo>
                    <a:pt x="30253" y="34116"/>
                  </a:lnTo>
                  <a:lnTo>
                    <a:pt x="43449" y="60185"/>
                  </a:lnTo>
                  <a:cubicBezTo>
                    <a:pt x="39265" y="65978"/>
                    <a:pt x="36368" y="72415"/>
                    <a:pt x="34116" y="78852"/>
                  </a:cubicBezTo>
                  <a:lnTo>
                    <a:pt x="5471" y="84001"/>
                  </a:lnTo>
                  <a:lnTo>
                    <a:pt x="5471" y="90438"/>
                  </a:lnTo>
                  <a:lnTo>
                    <a:pt x="5150" y="96232"/>
                  </a:lnTo>
                  <a:lnTo>
                    <a:pt x="4828" y="102025"/>
                  </a:lnTo>
                  <a:lnTo>
                    <a:pt x="32506" y="111036"/>
                  </a:lnTo>
                  <a:cubicBezTo>
                    <a:pt x="33794" y="117795"/>
                    <a:pt x="36047" y="124554"/>
                    <a:pt x="39265" y="130669"/>
                  </a:cubicBezTo>
                  <a:lnTo>
                    <a:pt x="22529" y="154807"/>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347" name="Freeform: Shape 1346">
              <a:extLst>
                <a:ext uri="{FF2B5EF4-FFF2-40B4-BE49-F238E27FC236}">
                  <a16:creationId xmlns:a16="http://schemas.microsoft.com/office/drawing/2014/main" id="{36CA514B-E9DB-466C-853D-2B4E6F8948C7}"/>
                </a:ext>
              </a:extLst>
            </p:cNvPr>
            <p:cNvSpPr/>
            <p:nvPr/>
          </p:nvSpPr>
          <p:spPr>
            <a:xfrm>
              <a:off x="7930378" y="5517789"/>
              <a:ext cx="338255" cy="338255"/>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ln w="12700" cap="flat">
              <a:solidFill>
                <a:srgbClr val="FDC500"/>
              </a:solidFill>
              <a:prstDash val="solid"/>
              <a:round/>
            </a:ln>
          </p:spPr>
          <p:txBody>
            <a:bodyPr rtlCol="0" anchor="ctr"/>
            <a:lstStyle/>
            <a:p>
              <a:pPr defTabSz="731504">
                <a:defRPr/>
              </a:pPr>
              <a:endParaRPr lang="en-US" sz="1800" dirty="0">
                <a:solidFill>
                  <a:srgbClr val="FFFFFF"/>
                </a:solidFill>
              </a:endParaRPr>
            </a:p>
          </p:txBody>
        </p:sp>
        <p:sp>
          <p:nvSpPr>
            <p:cNvPr id="1348" name="Freeform: Shape 1347">
              <a:extLst>
                <a:ext uri="{FF2B5EF4-FFF2-40B4-BE49-F238E27FC236}">
                  <a16:creationId xmlns:a16="http://schemas.microsoft.com/office/drawing/2014/main" id="{D28B4C4E-2E4B-4E31-854E-17D68956C5A0}"/>
                </a:ext>
              </a:extLst>
            </p:cNvPr>
            <p:cNvSpPr/>
            <p:nvPr/>
          </p:nvSpPr>
          <p:spPr>
            <a:xfrm>
              <a:off x="8035756" y="5623166"/>
              <a:ext cx="130096" cy="130096"/>
            </a:xfrm>
            <a:custGeom>
              <a:avLst/>
              <a:gdLst>
                <a:gd name="connsiteX0" fmla="*/ 28000 w 32184"/>
                <a:gd name="connsiteY0" fmla="*/ 16414 h 32184"/>
                <a:gd name="connsiteX1" fmla="*/ 16414 w 32184"/>
                <a:gd name="connsiteY1" fmla="*/ 28000 h 32184"/>
                <a:gd name="connsiteX2" fmla="*/ 4828 w 32184"/>
                <a:gd name="connsiteY2" fmla="*/ 16414 h 32184"/>
                <a:gd name="connsiteX3" fmla="*/ 16414 w 32184"/>
                <a:gd name="connsiteY3" fmla="*/ 4828 h 32184"/>
                <a:gd name="connsiteX4" fmla="*/ 28000 w 32184"/>
                <a:gd name="connsiteY4" fmla="*/ 16414 h 3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4" h="32184">
                  <a:moveTo>
                    <a:pt x="28000" y="16414"/>
                  </a:moveTo>
                  <a:cubicBezTo>
                    <a:pt x="28000" y="22813"/>
                    <a:pt x="22813" y="28000"/>
                    <a:pt x="16414" y="28000"/>
                  </a:cubicBezTo>
                  <a:cubicBezTo>
                    <a:pt x="10015" y="28000"/>
                    <a:pt x="4828" y="22813"/>
                    <a:pt x="4828" y="16414"/>
                  </a:cubicBezTo>
                  <a:cubicBezTo>
                    <a:pt x="4828" y="10015"/>
                    <a:pt x="10015" y="4828"/>
                    <a:pt x="16414" y="4828"/>
                  </a:cubicBezTo>
                  <a:cubicBezTo>
                    <a:pt x="22813" y="4828"/>
                    <a:pt x="28000" y="10015"/>
                    <a:pt x="28000" y="16414"/>
                  </a:cubicBez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grpSp>
      <p:grpSp>
        <p:nvGrpSpPr>
          <p:cNvPr id="1244" name="Group 1243">
            <a:extLst>
              <a:ext uri="{FF2B5EF4-FFF2-40B4-BE49-F238E27FC236}">
                <a16:creationId xmlns:a16="http://schemas.microsoft.com/office/drawing/2014/main" id="{C9376807-BD57-4EE1-BCF3-2EA1E3B3268A}"/>
              </a:ext>
            </a:extLst>
          </p:cNvPr>
          <p:cNvGrpSpPr/>
          <p:nvPr/>
        </p:nvGrpSpPr>
        <p:grpSpPr>
          <a:xfrm>
            <a:off x="13218783" y="2249540"/>
            <a:ext cx="462784" cy="356616"/>
            <a:chOff x="13914391" y="3271480"/>
            <a:chExt cx="462784" cy="356616"/>
          </a:xfrm>
        </p:grpSpPr>
        <p:grpSp>
          <p:nvGrpSpPr>
            <p:cNvPr id="1300" name="Group 1299">
              <a:extLst>
                <a:ext uri="{FF2B5EF4-FFF2-40B4-BE49-F238E27FC236}">
                  <a16:creationId xmlns:a16="http://schemas.microsoft.com/office/drawing/2014/main" id="{0AA86AD2-F41F-4F6B-80DD-1037D4DDB953}"/>
                </a:ext>
              </a:extLst>
            </p:cNvPr>
            <p:cNvGrpSpPr/>
            <p:nvPr/>
          </p:nvGrpSpPr>
          <p:grpSpPr>
            <a:xfrm>
              <a:off x="13914391" y="3271480"/>
              <a:ext cx="334784" cy="292114"/>
              <a:chOff x="8648967" y="2983833"/>
              <a:chExt cx="1285975" cy="1122070"/>
            </a:xfrm>
          </p:grpSpPr>
          <p:sp>
            <p:nvSpPr>
              <p:cNvPr id="1328" name="Freeform: Shape 1327">
                <a:extLst>
                  <a:ext uri="{FF2B5EF4-FFF2-40B4-BE49-F238E27FC236}">
                    <a16:creationId xmlns:a16="http://schemas.microsoft.com/office/drawing/2014/main" id="{B811593E-1B84-412F-B45F-0D30A249A0D4}"/>
                  </a:ext>
                </a:extLst>
              </p:cNvPr>
              <p:cNvSpPr/>
              <p:nvPr/>
            </p:nvSpPr>
            <p:spPr>
              <a:xfrm>
                <a:off x="9051631" y="3389926"/>
                <a:ext cx="822960" cy="576072"/>
              </a:xfrm>
              <a:custGeom>
                <a:avLst/>
                <a:gdLst>
                  <a:gd name="connsiteX0" fmla="*/ 288051 w 289660"/>
                  <a:gd name="connsiteY0" fmla="*/ 93657 h 202762"/>
                  <a:gd name="connsiteX1" fmla="*/ 288051 w 289660"/>
                  <a:gd name="connsiteY1" fmla="*/ 12552 h 202762"/>
                  <a:gd name="connsiteX2" fmla="*/ 280327 w 289660"/>
                  <a:gd name="connsiteY2" fmla="*/ 4828 h 202762"/>
                  <a:gd name="connsiteX3" fmla="*/ 12552 w 289660"/>
                  <a:gd name="connsiteY3" fmla="*/ 4828 h 202762"/>
                  <a:gd name="connsiteX4" fmla="*/ 4828 w 289660"/>
                  <a:gd name="connsiteY4" fmla="*/ 12552 h 202762"/>
                  <a:gd name="connsiteX5" fmla="*/ 4828 w 289660"/>
                  <a:gd name="connsiteY5" fmla="*/ 190854 h 202762"/>
                  <a:gd name="connsiteX6" fmla="*/ 12552 w 289660"/>
                  <a:gd name="connsiteY6" fmla="*/ 198578 h 202762"/>
                  <a:gd name="connsiteX7" fmla="*/ 225613 w 289660"/>
                  <a:gd name="connsiteY7" fmla="*/ 198578 h 20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660" h="202762">
                    <a:moveTo>
                      <a:pt x="288051" y="93657"/>
                    </a:moveTo>
                    <a:lnTo>
                      <a:pt x="288051" y="12552"/>
                    </a:lnTo>
                    <a:cubicBezTo>
                      <a:pt x="288051" y="8046"/>
                      <a:pt x="284511" y="4828"/>
                      <a:pt x="280327" y="4828"/>
                    </a:cubicBezTo>
                    <a:lnTo>
                      <a:pt x="12552" y="4828"/>
                    </a:lnTo>
                    <a:cubicBezTo>
                      <a:pt x="8046" y="4828"/>
                      <a:pt x="4828" y="8368"/>
                      <a:pt x="4828" y="12552"/>
                    </a:cubicBezTo>
                    <a:lnTo>
                      <a:pt x="4828" y="190854"/>
                    </a:lnTo>
                    <a:cubicBezTo>
                      <a:pt x="4828" y="195360"/>
                      <a:pt x="8368" y="198578"/>
                      <a:pt x="12552" y="198578"/>
                    </a:cubicBezTo>
                    <a:lnTo>
                      <a:pt x="225613" y="198578"/>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329" name="Freeform: Shape 1328">
                <a:extLst>
                  <a:ext uri="{FF2B5EF4-FFF2-40B4-BE49-F238E27FC236}">
                    <a16:creationId xmlns:a16="http://schemas.microsoft.com/office/drawing/2014/main" id="{47FCE0D5-AE7B-432A-AE8A-16EB37DC3C7C}"/>
                  </a:ext>
                </a:extLst>
              </p:cNvPr>
              <p:cNvSpPr/>
              <p:nvPr/>
            </p:nvSpPr>
            <p:spPr>
              <a:xfrm>
                <a:off x="8896185" y="4005319"/>
                <a:ext cx="841248" cy="100584"/>
              </a:xfrm>
              <a:custGeom>
                <a:avLst/>
                <a:gdLst>
                  <a:gd name="connsiteX0" fmla="*/ 291913 w 296096"/>
                  <a:gd name="connsiteY0" fmla="*/ 33472 h 35402"/>
                  <a:gd name="connsiteX1" fmla="*/ 28000 w 296096"/>
                  <a:gd name="connsiteY1" fmla="*/ 33472 h 35402"/>
                  <a:gd name="connsiteX2" fmla="*/ 4828 w 296096"/>
                  <a:gd name="connsiteY2" fmla="*/ 23495 h 35402"/>
                  <a:gd name="connsiteX3" fmla="*/ 4828 w 296096"/>
                  <a:gd name="connsiteY3" fmla="*/ 4828 h 35402"/>
                  <a:gd name="connsiteX4" fmla="*/ 42483 w 296096"/>
                  <a:gd name="connsiteY4" fmla="*/ 4828 h 35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96" h="35402">
                    <a:moveTo>
                      <a:pt x="291913" y="33472"/>
                    </a:moveTo>
                    <a:lnTo>
                      <a:pt x="28000" y="33472"/>
                    </a:lnTo>
                    <a:cubicBezTo>
                      <a:pt x="28000" y="33472"/>
                      <a:pt x="11265" y="33472"/>
                      <a:pt x="4828" y="23495"/>
                    </a:cubicBezTo>
                    <a:lnTo>
                      <a:pt x="4828" y="4828"/>
                    </a:lnTo>
                    <a:lnTo>
                      <a:pt x="42483" y="4828"/>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330" name="Freeform: Shape 1329">
                <a:extLst>
                  <a:ext uri="{FF2B5EF4-FFF2-40B4-BE49-F238E27FC236}">
                    <a16:creationId xmlns:a16="http://schemas.microsoft.com/office/drawing/2014/main" id="{9DC39603-5DA8-43C4-9AD6-070578F4A908}"/>
                  </a:ext>
                </a:extLst>
              </p:cNvPr>
              <p:cNvSpPr/>
              <p:nvPr/>
            </p:nvSpPr>
            <p:spPr>
              <a:xfrm>
                <a:off x="8993109" y="3337806"/>
                <a:ext cx="941833" cy="685799"/>
              </a:xfrm>
              <a:custGeom>
                <a:avLst/>
                <a:gdLst>
                  <a:gd name="connsiteX0" fmla="*/ 327638 w 331499"/>
                  <a:gd name="connsiteY0" fmla="*/ 93335 h 241383"/>
                  <a:gd name="connsiteX1" fmla="*/ 327638 w 331499"/>
                  <a:gd name="connsiteY1" fmla="*/ 12552 h 241383"/>
                  <a:gd name="connsiteX2" fmla="*/ 319913 w 331499"/>
                  <a:gd name="connsiteY2" fmla="*/ 4828 h 241383"/>
                  <a:gd name="connsiteX3" fmla="*/ 12552 w 331499"/>
                  <a:gd name="connsiteY3" fmla="*/ 4828 h 241383"/>
                  <a:gd name="connsiteX4" fmla="*/ 4828 w 331499"/>
                  <a:gd name="connsiteY4" fmla="*/ 12552 h 241383"/>
                  <a:gd name="connsiteX5" fmla="*/ 4828 w 331499"/>
                  <a:gd name="connsiteY5" fmla="*/ 232050 h 241383"/>
                  <a:gd name="connsiteX6" fmla="*/ 12552 w 331499"/>
                  <a:gd name="connsiteY6" fmla="*/ 239774 h 241383"/>
                  <a:gd name="connsiteX7" fmla="*/ 255223 w 331499"/>
                  <a:gd name="connsiteY7" fmla="*/ 239774 h 241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1499" h="241383">
                    <a:moveTo>
                      <a:pt x="327638" y="93335"/>
                    </a:moveTo>
                    <a:lnTo>
                      <a:pt x="327638" y="12552"/>
                    </a:lnTo>
                    <a:cubicBezTo>
                      <a:pt x="327638" y="8046"/>
                      <a:pt x="324097" y="4828"/>
                      <a:pt x="319913" y="4828"/>
                    </a:cubicBezTo>
                    <a:lnTo>
                      <a:pt x="12552" y="4828"/>
                    </a:lnTo>
                    <a:cubicBezTo>
                      <a:pt x="8046" y="4828"/>
                      <a:pt x="4828" y="8368"/>
                      <a:pt x="4828" y="12552"/>
                    </a:cubicBezTo>
                    <a:lnTo>
                      <a:pt x="4828" y="232050"/>
                    </a:lnTo>
                    <a:cubicBezTo>
                      <a:pt x="4828" y="236556"/>
                      <a:pt x="8368" y="239774"/>
                      <a:pt x="12552" y="239774"/>
                    </a:cubicBezTo>
                    <a:lnTo>
                      <a:pt x="255223" y="239774"/>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331" name="Freeform: Shape 1330">
                <a:extLst>
                  <a:ext uri="{FF2B5EF4-FFF2-40B4-BE49-F238E27FC236}">
                    <a16:creationId xmlns:a16="http://schemas.microsoft.com/office/drawing/2014/main" id="{E19F6481-CA9F-4B70-8027-72700993CDA7}"/>
                  </a:ext>
                </a:extLst>
              </p:cNvPr>
              <p:cNvSpPr/>
              <p:nvPr/>
            </p:nvSpPr>
            <p:spPr>
              <a:xfrm>
                <a:off x="9042974" y="3275721"/>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332" name="Freeform: Shape 1331">
                <a:extLst>
                  <a:ext uri="{FF2B5EF4-FFF2-40B4-BE49-F238E27FC236}">
                    <a16:creationId xmlns:a16="http://schemas.microsoft.com/office/drawing/2014/main" id="{E7990FAB-E721-47E4-8BC0-A85AB1FE3B82}"/>
                  </a:ext>
                </a:extLst>
              </p:cNvPr>
              <p:cNvSpPr/>
              <p:nvPr/>
            </p:nvSpPr>
            <p:spPr>
              <a:xfrm>
                <a:off x="8961937" y="3162673"/>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333" name="Freeform: Shape 1332">
                <a:extLst>
                  <a:ext uri="{FF2B5EF4-FFF2-40B4-BE49-F238E27FC236}">
                    <a16:creationId xmlns:a16="http://schemas.microsoft.com/office/drawing/2014/main" id="{427BA8A0-9A76-4BC8-B2E0-4F675416CEC8}"/>
                  </a:ext>
                </a:extLst>
              </p:cNvPr>
              <p:cNvSpPr/>
              <p:nvPr/>
            </p:nvSpPr>
            <p:spPr>
              <a:xfrm>
                <a:off x="9074170" y="3039948"/>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334" name="Freeform: Shape 1333">
                <a:extLst>
                  <a:ext uri="{FF2B5EF4-FFF2-40B4-BE49-F238E27FC236}">
                    <a16:creationId xmlns:a16="http://schemas.microsoft.com/office/drawing/2014/main" id="{06E14133-D5DE-4BC7-8D8F-6C76B63A3798}"/>
                  </a:ext>
                </a:extLst>
              </p:cNvPr>
              <p:cNvSpPr/>
              <p:nvPr/>
            </p:nvSpPr>
            <p:spPr>
              <a:xfrm>
                <a:off x="8648967" y="2983833"/>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335" name="Freeform: Shape 1334">
                <a:extLst>
                  <a:ext uri="{FF2B5EF4-FFF2-40B4-BE49-F238E27FC236}">
                    <a16:creationId xmlns:a16="http://schemas.microsoft.com/office/drawing/2014/main" id="{B3C4C4CF-C6E1-490D-9048-7EB9ECB1AD40}"/>
                  </a:ext>
                </a:extLst>
              </p:cNvPr>
              <p:cNvSpPr/>
              <p:nvPr/>
            </p:nvSpPr>
            <p:spPr>
              <a:xfrm>
                <a:off x="9164560" y="3227184"/>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336" name="Freeform: Shape 1335">
                <a:extLst>
                  <a:ext uri="{FF2B5EF4-FFF2-40B4-BE49-F238E27FC236}">
                    <a16:creationId xmlns:a16="http://schemas.microsoft.com/office/drawing/2014/main" id="{2FEF1A5C-B942-41C0-A4A8-AB1B5A013A9D}"/>
                  </a:ext>
                </a:extLst>
              </p:cNvPr>
              <p:cNvSpPr/>
              <p:nvPr/>
            </p:nvSpPr>
            <p:spPr>
              <a:xfrm>
                <a:off x="8885650" y="3287035"/>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337" name="Freeform: Shape 1336">
                <a:extLst>
                  <a:ext uri="{FF2B5EF4-FFF2-40B4-BE49-F238E27FC236}">
                    <a16:creationId xmlns:a16="http://schemas.microsoft.com/office/drawing/2014/main" id="{372A1191-9FB6-40D2-ADDB-193D2833E904}"/>
                  </a:ext>
                </a:extLst>
              </p:cNvPr>
              <p:cNvSpPr/>
              <p:nvPr/>
            </p:nvSpPr>
            <p:spPr>
              <a:xfrm>
                <a:off x="8867336" y="3474179"/>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338" name="Freeform: Shape 1337">
                <a:extLst>
                  <a:ext uri="{FF2B5EF4-FFF2-40B4-BE49-F238E27FC236}">
                    <a16:creationId xmlns:a16="http://schemas.microsoft.com/office/drawing/2014/main" id="{81E14D0C-6FDF-4778-9FC2-CED16F7B79D2}"/>
                  </a:ext>
                </a:extLst>
              </p:cNvPr>
              <p:cNvSpPr/>
              <p:nvPr/>
            </p:nvSpPr>
            <p:spPr>
              <a:xfrm>
                <a:off x="8743699" y="3361947"/>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339" name="Freeform: Shape 1338">
                <a:extLst>
                  <a:ext uri="{FF2B5EF4-FFF2-40B4-BE49-F238E27FC236}">
                    <a16:creationId xmlns:a16="http://schemas.microsoft.com/office/drawing/2014/main" id="{8B6104A1-6511-4829-829E-076613D6AD56}"/>
                  </a:ext>
                </a:extLst>
              </p:cNvPr>
              <p:cNvSpPr/>
              <p:nvPr/>
            </p:nvSpPr>
            <p:spPr>
              <a:xfrm>
                <a:off x="8809425" y="3151601"/>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grpSp>
        <p:grpSp>
          <p:nvGrpSpPr>
            <p:cNvPr id="1301" name="Group 1300">
              <a:extLst>
                <a:ext uri="{FF2B5EF4-FFF2-40B4-BE49-F238E27FC236}">
                  <a16:creationId xmlns:a16="http://schemas.microsoft.com/office/drawing/2014/main" id="{5A0A1040-6DE5-4FD5-B4E3-FC1516B422AE}"/>
                </a:ext>
              </a:extLst>
            </p:cNvPr>
            <p:cNvGrpSpPr/>
            <p:nvPr/>
          </p:nvGrpSpPr>
          <p:grpSpPr>
            <a:xfrm>
              <a:off x="14043618" y="3396602"/>
              <a:ext cx="167758" cy="108313"/>
              <a:chOff x="9145357" y="3464451"/>
              <a:chExt cx="644395" cy="416052"/>
            </a:xfrm>
          </p:grpSpPr>
          <p:sp>
            <p:nvSpPr>
              <p:cNvPr id="1309" name="Freeform: Shape 1308">
                <a:extLst>
                  <a:ext uri="{FF2B5EF4-FFF2-40B4-BE49-F238E27FC236}">
                    <a16:creationId xmlns:a16="http://schemas.microsoft.com/office/drawing/2014/main" id="{86003476-6DCF-459C-95FD-069E21EA0AC2}"/>
                  </a:ext>
                </a:extLst>
              </p:cNvPr>
              <p:cNvSpPr/>
              <p:nvPr/>
            </p:nvSpPr>
            <p:spPr>
              <a:xfrm>
                <a:off x="9222167" y="3515657"/>
                <a:ext cx="228600" cy="27431"/>
              </a:xfrm>
              <a:custGeom>
                <a:avLst/>
                <a:gdLst>
                  <a:gd name="connsiteX0" fmla="*/ 2414 w 80461"/>
                  <a:gd name="connsiteY0" fmla="*/ 2414 h 9655"/>
                  <a:gd name="connsiteX1" fmla="*/ 78691 w 80461"/>
                  <a:gd name="connsiteY1" fmla="*/ 2414 h 9655"/>
                  <a:gd name="connsiteX2" fmla="*/ 78691 w 80461"/>
                  <a:gd name="connsiteY2" fmla="*/ 8207 h 9655"/>
                  <a:gd name="connsiteX3" fmla="*/ 2414 w 80461"/>
                  <a:gd name="connsiteY3" fmla="*/ 8207 h 9655"/>
                </a:gdLst>
                <a:ahLst/>
                <a:cxnLst>
                  <a:cxn ang="0">
                    <a:pos x="connsiteX0" y="connsiteY0"/>
                  </a:cxn>
                  <a:cxn ang="0">
                    <a:pos x="connsiteX1" y="connsiteY1"/>
                  </a:cxn>
                  <a:cxn ang="0">
                    <a:pos x="connsiteX2" y="connsiteY2"/>
                  </a:cxn>
                  <a:cxn ang="0">
                    <a:pos x="connsiteX3" y="connsiteY3"/>
                  </a:cxn>
                </a:cxnLst>
                <a:rect l="l" t="t" r="r" b="b"/>
                <a:pathLst>
                  <a:path w="80461" h="9655">
                    <a:moveTo>
                      <a:pt x="2414" y="2414"/>
                    </a:moveTo>
                    <a:lnTo>
                      <a:pt x="78691" y="2414"/>
                    </a:lnTo>
                    <a:lnTo>
                      <a:pt x="78691" y="8207"/>
                    </a:lnTo>
                    <a:lnTo>
                      <a:pt x="2414" y="8207"/>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1310" name="Freeform: Shape 1309">
                <a:extLst>
                  <a:ext uri="{FF2B5EF4-FFF2-40B4-BE49-F238E27FC236}">
                    <a16:creationId xmlns:a16="http://schemas.microsoft.com/office/drawing/2014/main" id="{91B6870E-C2CD-41DB-B2A3-7170398B77CE}"/>
                  </a:ext>
                </a:extLst>
              </p:cNvPr>
              <p:cNvSpPr/>
              <p:nvPr/>
            </p:nvSpPr>
            <p:spPr>
              <a:xfrm>
                <a:off x="9461847" y="3515086"/>
                <a:ext cx="164592" cy="27431"/>
              </a:xfrm>
              <a:custGeom>
                <a:avLst/>
                <a:gdLst>
                  <a:gd name="connsiteX0" fmla="*/ 57771 w 57932"/>
                  <a:gd name="connsiteY0" fmla="*/ 8207 h 9655"/>
                  <a:gd name="connsiteX1" fmla="*/ 2414 w 57932"/>
                  <a:gd name="connsiteY1" fmla="*/ 8207 h 9655"/>
                  <a:gd name="connsiteX2" fmla="*/ 2414 w 57932"/>
                  <a:gd name="connsiteY2" fmla="*/ 2414 h 9655"/>
                  <a:gd name="connsiteX3" fmla="*/ 57771 w 57932"/>
                  <a:gd name="connsiteY3" fmla="*/ 2414 h 9655"/>
                </a:gdLst>
                <a:ahLst/>
                <a:cxnLst>
                  <a:cxn ang="0">
                    <a:pos x="connsiteX0" y="connsiteY0"/>
                  </a:cxn>
                  <a:cxn ang="0">
                    <a:pos x="connsiteX1" y="connsiteY1"/>
                  </a:cxn>
                  <a:cxn ang="0">
                    <a:pos x="connsiteX2" y="connsiteY2"/>
                  </a:cxn>
                  <a:cxn ang="0">
                    <a:pos x="connsiteX3" y="connsiteY3"/>
                  </a:cxn>
                </a:cxnLst>
                <a:rect l="l" t="t" r="r" b="b"/>
                <a:pathLst>
                  <a:path w="57932" h="9655">
                    <a:moveTo>
                      <a:pt x="57771" y="8207"/>
                    </a:moveTo>
                    <a:lnTo>
                      <a:pt x="2414" y="8207"/>
                    </a:lnTo>
                    <a:lnTo>
                      <a:pt x="2414" y="2414"/>
                    </a:lnTo>
                    <a:lnTo>
                      <a:pt x="57771" y="2414"/>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1311" name="Freeform: Shape 1310">
                <a:extLst>
                  <a:ext uri="{FF2B5EF4-FFF2-40B4-BE49-F238E27FC236}">
                    <a16:creationId xmlns:a16="http://schemas.microsoft.com/office/drawing/2014/main" id="{21A7BA59-3A28-422A-BDEE-BA182284D0C4}"/>
                  </a:ext>
                </a:extLst>
              </p:cNvPr>
              <p:cNvSpPr/>
              <p:nvPr/>
            </p:nvSpPr>
            <p:spPr>
              <a:xfrm>
                <a:off x="9278861" y="3589722"/>
                <a:ext cx="301753" cy="27431"/>
              </a:xfrm>
              <a:custGeom>
                <a:avLst/>
                <a:gdLst>
                  <a:gd name="connsiteX0" fmla="*/ 2414 w 106208"/>
                  <a:gd name="connsiteY0" fmla="*/ 2414 h 9655"/>
                  <a:gd name="connsiteX1" fmla="*/ 104760 w 106208"/>
                  <a:gd name="connsiteY1" fmla="*/ 2414 h 9655"/>
                  <a:gd name="connsiteX2" fmla="*/ 104760 w 106208"/>
                  <a:gd name="connsiteY2" fmla="*/ 8207 h 9655"/>
                  <a:gd name="connsiteX3" fmla="*/ 2414 w 106208"/>
                  <a:gd name="connsiteY3" fmla="*/ 8207 h 9655"/>
                </a:gdLst>
                <a:ahLst/>
                <a:cxnLst>
                  <a:cxn ang="0">
                    <a:pos x="connsiteX0" y="connsiteY0"/>
                  </a:cxn>
                  <a:cxn ang="0">
                    <a:pos x="connsiteX1" y="connsiteY1"/>
                  </a:cxn>
                  <a:cxn ang="0">
                    <a:pos x="connsiteX2" y="connsiteY2"/>
                  </a:cxn>
                  <a:cxn ang="0">
                    <a:pos x="connsiteX3" y="connsiteY3"/>
                  </a:cxn>
                </a:cxnLst>
                <a:rect l="l" t="t" r="r" b="b"/>
                <a:pathLst>
                  <a:path w="106208" h="9655">
                    <a:moveTo>
                      <a:pt x="2414" y="2414"/>
                    </a:moveTo>
                    <a:lnTo>
                      <a:pt x="104760" y="2414"/>
                    </a:lnTo>
                    <a:lnTo>
                      <a:pt x="104760" y="8207"/>
                    </a:lnTo>
                    <a:lnTo>
                      <a:pt x="2414" y="8207"/>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1312" name="Freeform: Shape 1311">
                <a:extLst>
                  <a:ext uri="{FF2B5EF4-FFF2-40B4-BE49-F238E27FC236}">
                    <a16:creationId xmlns:a16="http://schemas.microsoft.com/office/drawing/2014/main" id="{A6689A99-21BC-484A-BA8C-765BC9FC9166}"/>
                  </a:ext>
                </a:extLst>
              </p:cNvPr>
              <p:cNvSpPr/>
              <p:nvPr/>
            </p:nvSpPr>
            <p:spPr>
              <a:xfrm>
                <a:off x="9689168" y="3590484"/>
                <a:ext cx="100584" cy="27431"/>
              </a:xfrm>
              <a:custGeom>
                <a:avLst/>
                <a:gdLst>
                  <a:gd name="connsiteX0" fmla="*/ 33955 w 35402"/>
                  <a:gd name="connsiteY0" fmla="*/ 8207 h 9655"/>
                  <a:gd name="connsiteX1" fmla="*/ 2414 w 35402"/>
                  <a:gd name="connsiteY1" fmla="*/ 8207 h 9655"/>
                  <a:gd name="connsiteX2" fmla="*/ 2414 w 35402"/>
                  <a:gd name="connsiteY2" fmla="*/ 2414 h 9655"/>
                  <a:gd name="connsiteX3" fmla="*/ 33955 w 35402"/>
                  <a:gd name="connsiteY3" fmla="*/ 2414 h 9655"/>
                </a:gdLst>
                <a:ahLst/>
                <a:cxnLst>
                  <a:cxn ang="0">
                    <a:pos x="connsiteX0" y="connsiteY0"/>
                  </a:cxn>
                  <a:cxn ang="0">
                    <a:pos x="connsiteX1" y="connsiteY1"/>
                  </a:cxn>
                  <a:cxn ang="0">
                    <a:pos x="connsiteX2" y="connsiteY2"/>
                  </a:cxn>
                  <a:cxn ang="0">
                    <a:pos x="connsiteX3" y="connsiteY3"/>
                  </a:cxn>
                </a:cxnLst>
                <a:rect l="l" t="t" r="r" b="b"/>
                <a:pathLst>
                  <a:path w="35402" h="9655">
                    <a:moveTo>
                      <a:pt x="33955" y="8207"/>
                    </a:moveTo>
                    <a:lnTo>
                      <a:pt x="2414" y="8207"/>
                    </a:lnTo>
                    <a:lnTo>
                      <a:pt x="2414" y="2414"/>
                    </a:lnTo>
                    <a:lnTo>
                      <a:pt x="33955" y="2414"/>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1313" name="Freeform: Shape 1312">
                <a:extLst>
                  <a:ext uri="{FF2B5EF4-FFF2-40B4-BE49-F238E27FC236}">
                    <a16:creationId xmlns:a16="http://schemas.microsoft.com/office/drawing/2014/main" id="{A9E5F1CC-249B-4176-86FB-3D619B00B938}"/>
                  </a:ext>
                </a:extLst>
              </p:cNvPr>
              <p:cNvSpPr/>
              <p:nvPr/>
            </p:nvSpPr>
            <p:spPr>
              <a:xfrm>
                <a:off x="9582441" y="3589722"/>
                <a:ext cx="100584" cy="27431"/>
              </a:xfrm>
              <a:custGeom>
                <a:avLst/>
                <a:gdLst>
                  <a:gd name="connsiteX0" fmla="*/ 2414 w 35402"/>
                  <a:gd name="connsiteY0" fmla="*/ 2414 h 9655"/>
                  <a:gd name="connsiteX1" fmla="*/ 34598 w 35402"/>
                  <a:gd name="connsiteY1" fmla="*/ 2414 h 9655"/>
                  <a:gd name="connsiteX2" fmla="*/ 34598 w 35402"/>
                  <a:gd name="connsiteY2" fmla="*/ 8207 h 9655"/>
                  <a:gd name="connsiteX3" fmla="*/ 2414 w 35402"/>
                  <a:gd name="connsiteY3" fmla="*/ 8207 h 9655"/>
                </a:gdLst>
                <a:ahLst/>
                <a:cxnLst>
                  <a:cxn ang="0">
                    <a:pos x="connsiteX0" y="connsiteY0"/>
                  </a:cxn>
                  <a:cxn ang="0">
                    <a:pos x="connsiteX1" y="connsiteY1"/>
                  </a:cxn>
                  <a:cxn ang="0">
                    <a:pos x="connsiteX2" y="connsiteY2"/>
                  </a:cxn>
                  <a:cxn ang="0">
                    <a:pos x="connsiteX3" y="connsiteY3"/>
                  </a:cxn>
                </a:cxnLst>
                <a:rect l="l" t="t" r="r" b="b"/>
                <a:pathLst>
                  <a:path w="35402" h="9655">
                    <a:moveTo>
                      <a:pt x="2414" y="2414"/>
                    </a:moveTo>
                    <a:lnTo>
                      <a:pt x="34598" y="2414"/>
                    </a:lnTo>
                    <a:lnTo>
                      <a:pt x="34598" y="8207"/>
                    </a:lnTo>
                    <a:lnTo>
                      <a:pt x="2414" y="8207"/>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1314" name="Freeform: Shape 1313">
                <a:extLst>
                  <a:ext uri="{FF2B5EF4-FFF2-40B4-BE49-F238E27FC236}">
                    <a16:creationId xmlns:a16="http://schemas.microsoft.com/office/drawing/2014/main" id="{91836794-73EA-4756-A937-484CCAB46AAA}"/>
                  </a:ext>
                </a:extLst>
              </p:cNvPr>
              <p:cNvSpPr/>
              <p:nvPr/>
            </p:nvSpPr>
            <p:spPr>
              <a:xfrm>
                <a:off x="9375786" y="3664702"/>
                <a:ext cx="265176" cy="27431"/>
              </a:xfrm>
              <a:custGeom>
                <a:avLst/>
                <a:gdLst>
                  <a:gd name="connsiteX0" fmla="*/ 2414 w 93334"/>
                  <a:gd name="connsiteY0" fmla="*/ 2414 h 9655"/>
                  <a:gd name="connsiteX1" fmla="*/ 92208 w 93334"/>
                  <a:gd name="connsiteY1" fmla="*/ 2414 h 9655"/>
                  <a:gd name="connsiteX2" fmla="*/ 92208 w 93334"/>
                  <a:gd name="connsiteY2" fmla="*/ 8207 h 9655"/>
                  <a:gd name="connsiteX3" fmla="*/ 2414 w 93334"/>
                  <a:gd name="connsiteY3" fmla="*/ 8207 h 9655"/>
                </a:gdLst>
                <a:ahLst/>
                <a:cxnLst>
                  <a:cxn ang="0">
                    <a:pos x="connsiteX0" y="connsiteY0"/>
                  </a:cxn>
                  <a:cxn ang="0">
                    <a:pos x="connsiteX1" y="connsiteY1"/>
                  </a:cxn>
                  <a:cxn ang="0">
                    <a:pos x="connsiteX2" y="connsiteY2"/>
                  </a:cxn>
                  <a:cxn ang="0">
                    <a:pos x="connsiteX3" y="connsiteY3"/>
                  </a:cxn>
                </a:cxnLst>
                <a:rect l="l" t="t" r="r" b="b"/>
                <a:pathLst>
                  <a:path w="93334" h="9655">
                    <a:moveTo>
                      <a:pt x="2414" y="2414"/>
                    </a:moveTo>
                    <a:lnTo>
                      <a:pt x="92208" y="2414"/>
                    </a:lnTo>
                    <a:lnTo>
                      <a:pt x="92208" y="8207"/>
                    </a:lnTo>
                    <a:lnTo>
                      <a:pt x="2414" y="8207"/>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1315" name="Freeform: Shape 1314">
                <a:extLst>
                  <a:ext uri="{FF2B5EF4-FFF2-40B4-BE49-F238E27FC236}">
                    <a16:creationId xmlns:a16="http://schemas.microsoft.com/office/drawing/2014/main" id="{611A3B9C-2C03-4289-8BE7-21FBF644A15E}"/>
                  </a:ext>
                </a:extLst>
              </p:cNvPr>
              <p:cNvSpPr/>
              <p:nvPr/>
            </p:nvSpPr>
            <p:spPr>
              <a:xfrm>
                <a:off x="9305727" y="3664961"/>
                <a:ext cx="64008" cy="27431"/>
              </a:xfrm>
              <a:custGeom>
                <a:avLst/>
                <a:gdLst>
                  <a:gd name="connsiteX0" fmla="*/ 21081 w 22529"/>
                  <a:gd name="connsiteY0" fmla="*/ 8207 h 9655"/>
                  <a:gd name="connsiteX1" fmla="*/ 2414 w 22529"/>
                  <a:gd name="connsiteY1" fmla="*/ 8207 h 9655"/>
                  <a:gd name="connsiteX2" fmla="*/ 2414 w 22529"/>
                  <a:gd name="connsiteY2" fmla="*/ 2414 h 9655"/>
                  <a:gd name="connsiteX3" fmla="*/ 21081 w 22529"/>
                  <a:gd name="connsiteY3" fmla="*/ 2414 h 9655"/>
                </a:gdLst>
                <a:ahLst/>
                <a:cxnLst>
                  <a:cxn ang="0">
                    <a:pos x="connsiteX0" y="connsiteY0"/>
                  </a:cxn>
                  <a:cxn ang="0">
                    <a:pos x="connsiteX1" y="connsiteY1"/>
                  </a:cxn>
                  <a:cxn ang="0">
                    <a:pos x="connsiteX2" y="connsiteY2"/>
                  </a:cxn>
                  <a:cxn ang="0">
                    <a:pos x="connsiteX3" y="connsiteY3"/>
                  </a:cxn>
                </a:cxnLst>
                <a:rect l="l" t="t" r="r" b="b"/>
                <a:pathLst>
                  <a:path w="22529" h="9655">
                    <a:moveTo>
                      <a:pt x="21081" y="8207"/>
                    </a:moveTo>
                    <a:lnTo>
                      <a:pt x="2414" y="8207"/>
                    </a:lnTo>
                    <a:lnTo>
                      <a:pt x="2414" y="2414"/>
                    </a:lnTo>
                    <a:lnTo>
                      <a:pt x="21081" y="2414"/>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1316" name="Freeform: Shape 1315">
                <a:extLst>
                  <a:ext uri="{FF2B5EF4-FFF2-40B4-BE49-F238E27FC236}">
                    <a16:creationId xmlns:a16="http://schemas.microsoft.com/office/drawing/2014/main" id="{F37128BB-5DE5-4DA8-AB14-B24365B55F65}"/>
                  </a:ext>
                </a:extLst>
              </p:cNvPr>
              <p:cNvSpPr/>
              <p:nvPr/>
            </p:nvSpPr>
            <p:spPr>
              <a:xfrm>
                <a:off x="9222167" y="3722312"/>
                <a:ext cx="182880" cy="27431"/>
              </a:xfrm>
              <a:custGeom>
                <a:avLst/>
                <a:gdLst>
                  <a:gd name="connsiteX0" fmla="*/ 2414 w 64368"/>
                  <a:gd name="connsiteY0" fmla="*/ 2414 h 9655"/>
                  <a:gd name="connsiteX1" fmla="*/ 63564 w 64368"/>
                  <a:gd name="connsiteY1" fmla="*/ 2414 h 9655"/>
                  <a:gd name="connsiteX2" fmla="*/ 63564 w 64368"/>
                  <a:gd name="connsiteY2" fmla="*/ 8207 h 9655"/>
                  <a:gd name="connsiteX3" fmla="*/ 2414 w 64368"/>
                  <a:gd name="connsiteY3" fmla="*/ 8207 h 9655"/>
                </a:gdLst>
                <a:ahLst/>
                <a:cxnLst>
                  <a:cxn ang="0">
                    <a:pos x="connsiteX0" y="connsiteY0"/>
                  </a:cxn>
                  <a:cxn ang="0">
                    <a:pos x="connsiteX1" y="connsiteY1"/>
                  </a:cxn>
                  <a:cxn ang="0">
                    <a:pos x="connsiteX2" y="connsiteY2"/>
                  </a:cxn>
                  <a:cxn ang="0">
                    <a:pos x="connsiteX3" y="connsiteY3"/>
                  </a:cxn>
                </a:cxnLst>
                <a:rect l="l" t="t" r="r" b="b"/>
                <a:pathLst>
                  <a:path w="64368" h="9655">
                    <a:moveTo>
                      <a:pt x="2414" y="2414"/>
                    </a:moveTo>
                    <a:lnTo>
                      <a:pt x="63564" y="2414"/>
                    </a:lnTo>
                    <a:lnTo>
                      <a:pt x="63564" y="8207"/>
                    </a:lnTo>
                    <a:lnTo>
                      <a:pt x="2414" y="8207"/>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1317" name="Freeform: Shape 1316">
                <a:extLst>
                  <a:ext uri="{FF2B5EF4-FFF2-40B4-BE49-F238E27FC236}">
                    <a16:creationId xmlns:a16="http://schemas.microsoft.com/office/drawing/2014/main" id="{69FD2E36-450D-43D0-BF82-15AF187557CD}"/>
                  </a:ext>
                </a:extLst>
              </p:cNvPr>
              <p:cNvSpPr/>
              <p:nvPr/>
            </p:nvSpPr>
            <p:spPr>
              <a:xfrm>
                <a:off x="9409621" y="3722312"/>
                <a:ext cx="73153" cy="27431"/>
              </a:xfrm>
              <a:custGeom>
                <a:avLst/>
                <a:gdLst>
                  <a:gd name="connsiteX0" fmla="*/ 2414 w 25747"/>
                  <a:gd name="connsiteY0" fmla="*/ 2414 h 9655"/>
                  <a:gd name="connsiteX1" fmla="*/ 23334 w 25747"/>
                  <a:gd name="connsiteY1" fmla="*/ 2414 h 9655"/>
                  <a:gd name="connsiteX2" fmla="*/ 23334 w 25747"/>
                  <a:gd name="connsiteY2" fmla="*/ 8207 h 9655"/>
                  <a:gd name="connsiteX3" fmla="*/ 2414 w 25747"/>
                  <a:gd name="connsiteY3" fmla="*/ 8207 h 9655"/>
                </a:gdLst>
                <a:ahLst/>
                <a:cxnLst>
                  <a:cxn ang="0">
                    <a:pos x="connsiteX0" y="connsiteY0"/>
                  </a:cxn>
                  <a:cxn ang="0">
                    <a:pos x="connsiteX1" y="connsiteY1"/>
                  </a:cxn>
                  <a:cxn ang="0">
                    <a:pos x="connsiteX2" y="connsiteY2"/>
                  </a:cxn>
                  <a:cxn ang="0">
                    <a:pos x="connsiteX3" y="connsiteY3"/>
                  </a:cxn>
                </a:cxnLst>
                <a:rect l="l" t="t" r="r" b="b"/>
                <a:pathLst>
                  <a:path w="25747" h="9655">
                    <a:moveTo>
                      <a:pt x="2414" y="2414"/>
                    </a:moveTo>
                    <a:lnTo>
                      <a:pt x="23334" y="2414"/>
                    </a:lnTo>
                    <a:lnTo>
                      <a:pt x="23334" y="8207"/>
                    </a:lnTo>
                    <a:lnTo>
                      <a:pt x="2414" y="8207"/>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1318" name="Freeform: Shape 1317">
                <a:extLst>
                  <a:ext uri="{FF2B5EF4-FFF2-40B4-BE49-F238E27FC236}">
                    <a16:creationId xmlns:a16="http://schemas.microsoft.com/office/drawing/2014/main" id="{79A482A7-B658-4F83-BCD1-AA89AFFA5DD6}"/>
                  </a:ext>
                </a:extLst>
              </p:cNvPr>
              <p:cNvSpPr/>
              <p:nvPr/>
            </p:nvSpPr>
            <p:spPr>
              <a:xfrm>
                <a:off x="9485516" y="3722312"/>
                <a:ext cx="246888" cy="27431"/>
              </a:xfrm>
              <a:custGeom>
                <a:avLst/>
                <a:gdLst>
                  <a:gd name="connsiteX0" fmla="*/ 2414 w 86898"/>
                  <a:gd name="connsiteY0" fmla="*/ 2414 h 9655"/>
                  <a:gd name="connsiteX1" fmla="*/ 86093 w 86898"/>
                  <a:gd name="connsiteY1" fmla="*/ 2414 h 9655"/>
                  <a:gd name="connsiteX2" fmla="*/ 86093 w 86898"/>
                  <a:gd name="connsiteY2" fmla="*/ 8207 h 9655"/>
                  <a:gd name="connsiteX3" fmla="*/ 2414 w 86898"/>
                  <a:gd name="connsiteY3" fmla="*/ 8207 h 9655"/>
                </a:gdLst>
                <a:ahLst/>
                <a:cxnLst>
                  <a:cxn ang="0">
                    <a:pos x="connsiteX0" y="connsiteY0"/>
                  </a:cxn>
                  <a:cxn ang="0">
                    <a:pos x="connsiteX1" y="connsiteY1"/>
                  </a:cxn>
                  <a:cxn ang="0">
                    <a:pos x="connsiteX2" y="connsiteY2"/>
                  </a:cxn>
                  <a:cxn ang="0">
                    <a:pos x="connsiteX3" y="connsiteY3"/>
                  </a:cxn>
                </a:cxnLst>
                <a:rect l="l" t="t" r="r" b="b"/>
                <a:pathLst>
                  <a:path w="86898" h="9655">
                    <a:moveTo>
                      <a:pt x="2414" y="2414"/>
                    </a:moveTo>
                    <a:lnTo>
                      <a:pt x="86093" y="2414"/>
                    </a:lnTo>
                    <a:lnTo>
                      <a:pt x="86093" y="8207"/>
                    </a:lnTo>
                    <a:lnTo>
                      <a:pt x="2414" y="8207"/>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1319" name="Freeform: Shape 1318">
                <a:extLst>
                  <a:ext uri="{FF2B5EF4-FFF2-40B4-BE49-F238E27FC236}">
                    <a16:creationId xmlns:a16="http://schemas.microsoft.com/office/drawing/2014/main" id="{EBFBC497-045A-44E9-B1E2-5677C40F828C}"/>
                  </a:ext>
                </a:extLst>
              </p:cNvPr>
              <p:cNvSpPr/>
              <p:nvPr/>
            </p:nvSpPr>
            <p:spPr>
              <a:xfrm>
                <a:off x="9278861" y="3797292"/>
                <a:ext cx="100584" cy="27431"/>
              </a:xfrm>
              <a:custGeom>
                <a:avLst/>
                <a:gdLst>
                  <a:gd name="connsiteX0" fmla="*/ 2414 w 35402"/>
                  <a:gd name="connsiteY0" fmla="*/ 2414 h 9655"/>
                  <a:gd name="connsiteX1" fmla="*/ 34276 w 35402"/>
                  <a:gd name="connsiteY1" fmla="*/ 2414 h 9655"/>
                  <a:gd name="connsiteX2" fmla="*/ 34276 w 35402"/>
                  <a:gd name="connsiteY2" fmla="*/ 8207 h 9655"/>
                  <a:gd name="connsiteX3" fmla="*/ 2414 w 35402"/>
                  <a:gd name="connsiteY3" fmla="*/ 8207 h 9655"/>
                </a:gdLst>
                <a:ahLst/>
                <a:cxnLst>
                  <a:cxn ang="0">
                    <a:pos x="connsiteX0" y="connsiteY0"/>
                  </a:cxn>
                  <a:cxn ang="0">
                    <a:pos x="connsiteX1" y="connsiteY1"/>
                  </a:cxn>
                  <a:cxn ang="0">
                    <a:pos x="connsiteX2" y="connsiteY2"/>
                  </a:cxn>
                  <a:cxn ang="0">
                    <a:pos x="connsiteX3" y="connsiteY3"/>
                  </a:cxn>
                </a:cxnLst>
                <a:rect l="l" t="t" r="r" b="b"/>
                <a:pathLst>
                  <a:path w="35402" h="9655">
                    <a:moveTo>
                      <a:pt x="2414" y="2414"/>
                    </a:moveTo>
                    <a:lnTo>
                      <a:pt x="34276" y="2414"/>
                    </a:lnTo>
                    <a:lnTo>
                      <a:pt x="34276" y="8207"/>
                    </a:lnTo>
                    <a:lnTo>
                      <a:pt x="2414" y="8207"/>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1320" name="Freeform: Shape 1319">
                <a:extLst>
                  <a:ext uri="{FF2B5EF4-FFF2-40B4-BE49-F238E27FC236}">
                    <a16:creationId xmlns:a16="http://schemas.microsoft.com/office/drawing/2014/main" id="{D22ADDDB-882B-4E54-851B-9B423B2567C9}"/>
                  </a:ext>
                </a:extLst>
              </p:cNvPr>
              <p:cNvSpPr/>
              <p:nvPr/>
            </p:nvSpPr>
            <p:spPr>
              <a:xfrm>
                <a:off x="9395935" y="3797553"/>
                <a:ext cx="219457" cy="27431"/>
              </a:xfrm>
              <a:custGeom>
                <a:avLst/>
                <a:gdLst>
                  <a:gd name="connsiteX0" fmla="*/ 77725 w 77242"/>
                  <a:gd name="connsiteY0" fmla="*/ 8207 h 9655"/>
                  <a:gd name="connsiteX1" fmla="*/ 2414 w 77242"/>
                  <a:gd name="connsiteY1" fmla="*/ 8207 h 9655"/>
                  <a:gd name="connsiteX2" fmla="*/ 2414 w 77242"/>
                  <a:gd name="connsiteY2" fmla="*/ 2414 h 9655"/>
                  <a:gd name="connsiteX3" fmla="*/ 77725 w 77242"/>
                  <a:gd name="connsiteY3" fmla="*/ 2414 h 9655"/>
                </a:gdLst>
                <a:ahLst/>
                <a:cxnLst>
                  <a:cxn ang="0">
                    <a:pos x="connsiteX0" y="connsiteY0"/>
                  </a:cxn>
                  <a:cxn ang="0">
                    <a:pos x="connsiteX1" y="connsiteY1"/>
                  </a:cxn>
                  <a:cxn ang="0">
                    <a:pos x="connsiteX2" y="connsiteY2"/>
                  </a:cxn>
                  <a:cxn ang="0">
                    <a:pos x="connsiteX3" y="connsiteY3"/>
                  </a:cxn>
                </a:cxnLst>
                <a:rect l="l" t="t" r="r" b="b"/>
                <a:pathLst>
                  <a:path w="77242" h="9655">
                    <a:moveTo>
                      <a:pt x="77725" y="8207"/>
                    </a:moveTo>
                    <a:lnTo>
                      <a:pt x="2414" y="8207"/>
                    </a:lnTo>
                    <a:lnTo>
                      <a:pt x="2414" y="2414"/>
                    </a:lnTo>
                    <a:lnTo>
                      <a:pt x="77725" y="2414"/>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1321" name="Freeform: Shape 1320">
                <a:extLst>
                  <a:ext uri="{FF2B5EF4-FFF2-40B4-BE49-F238E27FC236}">
                    <a16:creationId xmlns:a16="http://schemas.microsoft.com/office/drawing/2014/main" id="{5494D4C3-3C38-4E50-804D-A93DB3435068}"/>
                  </a:ext>
                </a:extLst>
              </p:cNvPr>
              <p:cNvSpPr/>
              <p:nvPr/>
            </p:nvSpPr>
            <p:spPr>
              <a:xfrm>
                <a:off x="9145357" y="3464451"/>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173"/>
                      <a:pt x="9173" y="10782"/>
                      <a:pt x="7563" y="10782"/>
                    </a:cubicBez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1322" name="Freeform: Shape 1321">
                <a:extLst>
                  <a:ext uri="{FF2B5EF4-FFF2-40B4-BE49-F238E27FC236}">
                    <a16:creationId xmlns:a16="http://schemas.microsoft.com/office/drawing/2014/main" id="{457304D2-FD51-46B4-8252-F0C43C889039}"/>
                  </a:ext>
                </a:extLst>
              </p:cNvPr>
              <p:cNvSpPr/>
              <p:nvPr/>
            </p:nvSpPr>
            <p:spPr>
              <a:xfrm>
                <a:off x="9145357" y="3527544"/>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1323" name="Freeform: Shape 1322">
                <a:extLst>
                  <a:ext uri="{FF2B5EF4-FFF2-40B4-BE49-F238E27FC236}">
                    <a16:creationId xmlns:a16="http://schemas.microsoft.com/office/drawing/2014/main" id="{E503273B-DF84-4FDF-A191-7ABFDD04CA0F}"/>
                  </a:ext>
                </a:extLst>
              </p:cNvPr>
              <p:cNvSpPr/>
              <p:nvPr/>
            </p:nvSpPr>
            <p:spPr>
              <a:xfrm>
                <a:off x="9145357" y="3590637"/>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1324" name="Freeform: Shape 1323">
                <a:extLst>
                  <a:ext uri="{FF2B5EF4-FFF2-40B4-BE49-F238E27FC236}">
                    <a16:creationId xmlns:a16="http://schemas.microsoft.com/office/drawing/2014/main" id="{5430A887-626F-41E2-B139-A96363D6A11F}"/>
                  </a:ext>
                </a:extLst>
              </p:cNvPr>
              <p:cNvSpPr/>
              <p:nvPr/>
            </p:nvSpPr>
            <p:spPr>
              <a:xfrm>
                <a:off x="9145357" y="3654645"/>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173"/>
                      <a:pt x="9173" y="10782"/>
                      <a:pt x="7563" y="10782"/>
                    </a:cubicBez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1325" name="Freeform: Shape 1324">
                <a:extLst>
                  <a:ext uri="{FF2B5EF4-FFF2-40B4-BE49-F238E27FC236}">
                    <a16:creationId xmlns:a16="http://schemas.microsoft.com/office/drawing/2014/main" id="{31742D63-43AF-4249-8A5E-BF86D34AD6FB}"/>
                  </a:ext>
                </a:extLst>
              </p:cNvPr>
              <p:cNvSpPr/>
              <p:nvPr/>
            </p:nvSpPr>
            <p:spPr>
              <a:xfrm>
                <a:off x="9145357" y="3717738"/>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173"/>
                      <a:pt x="9173" y="10782"/>
                      <a:pt x="7563" y="10782"/>
                    </a:cubicBez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1326" name="Freeform: Shape 1325">
                <a:extLst>
                  <a:ext uri="{FF2B5EF4-FFF2-40B4-BE49-F238E27FC236}">
                    <a16:creationId xmlns:a16="http://schemas.microsoft.com/office/drawing/2014/main" id="{1D7D16D1-B687-4ADD-A37D-BE685CE23282}"/>
                  </a:ext>
                </a:extLst>
              </p:cNvPr>
              <p:cNvSpPr/>
              <p:nvPr/>
            </p:nvSpPr>
            <p:spPr>
              <a:xfrm>
                <a:off x="9145357" y="3780833"/>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1327" name="Freeform: Shape 1326">
                <a:extLst>
                  <a:ext uri="{FF2B5EF4-FFF2-40B4-BE49-F238E27FC236}">
                    <a16:creationId xmlns:a16="http://schemas.microsoft.com/office/drawing/2014/main" id="{E60BE446-7A01-4D2D-94CE-A19B10B96CE5}"/>
                  </a:ext>
                </a:extLst>
              </p:cNvPr>
              <p:cNvSpPr/>
              <p:nvPr/>
            </p:nvSpPr>
            <p:spPr>
              <a:xfrm>
                <a:off x="9145357" y="3843926"/>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grpSp>
        <p:grpSp>
          <p:nvGrpSpPr>
            <p:cNvPr id="1302" name="Group 1301">
              <a:extLst>
                <a:ext uri="{FF2B5EF4-FFF2-40B4-BE49-F238E27FC236}">
                  <a16:creationId xmlns:a16="http://schemas.microsoft.com/office/drawing/2014/main" id="{58B492C7-E712-44EC-8E42-241C7977ACC0}"/>
                </a:ext>
              </a:extLst>
            </p:cNvPr>
            <p:cNvGrpSpPr/>
            <p:nvPr/>
          </p:nvGrpSpPr>
          <p:grpSpPr>
            <a:xfrm>
              <a:off x="14184160" y="3439575"/>
              <a:ext cx="193015" cy="188521"/>
              <a:chOff x="8848997" y="6359275"/>
              <a:chExt cx="785468" cy="767180"/>
            </a:xfrm>
          </p:grpSpPr>
          <p:sp>
            <p:nvSpPr>
              <p:cNvPr id="1303" name="Freeform: Shape 1302">
                <a:extLst>
                  <a:ext uri="{FF2B5EF4-FFF2-40B4-BE49-F238E27FC236}">
                    <a16:creationId xmlns:a16="http://schemas.microsoft.com/office/drawing/2014/main" id="{05EE5274-19A6-4E0F-8BFF-C83C81EFC34C}"/>
                  </a:ext>
                </a:extLst>
              </p:cNvPr>
              <p:cNvSpPr/>
              <p:nvPr/>
            </p:nvSpPr>
            <p:spPr>
              <a:xfrm>
                <a:off x="8998045" y="6725948"/>
                <a:ext cx="265176" cy="27431"/>
              </a:xfrm>
              <a:custGeom>
                <a:avLst/>
                <a:gdLst>
                  <a:gd name="connsiteX0" fmla="*/ 4828 w 93334"/>
                  <a:gd name="connsiteY0" fmla="*/ 4828 h 9655"/>
                  <a:gd name="connsiteX1" fmla="*/ 91404 w 93334"/>
                  <a:gd name="connsiteY1" fmla="*/ 4828 h 9655"/>
                </a:gdLst>
                <a:ahLst/>
                <a:cxnLst>
                  <a:cxn ang="0">
                    <a:pos x="connsiteX0" y="connsiteY0"/>
                  </a:cxn>
                  <a:cxn ang="0">
                    <a:pos x="connsiteX1" y="connsiteY1"/>
                  </a:cxn>
                </a:cxnLst>
                <a:rect l="l" t="t" r="r" b="b"/>
                <a:pathLst>
                  <a:path w="93334" h="9655">
                    <a:moveTo>
                      <a:pt x="4828" y="4828"/>
                    </a:moveTo>
                    <a:lnTo>
                      <a:pt x="91404" y="4828"/>
                    </a:lnTo>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1304" name="Freeform: Shape 1303">
                <a:extLst>
                  <a:ext uri="{FF2B5EF4-FFF2-40B4-BE49-F238E27FC236}">
                    <a16:creationId xmlns:a16="http://schemas.microsoft.com/office/drawing/2014/main" id="{129B6040-E594-4AF6-8234-EFB9496C23EA}"/>
                  </a:ext>
                </a:extLst>
              </p:cNvPr>
              <p:cNvSpPr/>
              <p:nvPr/>
            </p:nvSpPr>
            <p:spPr>
              <a:xfrm>
                <a:off x="8951411" y="6639080"/>
                <a:ext cx="182880" cy="27431"/>
              </a:xfrm>
              <a:custGeom>
                <a:avLst/>
                <a:gdLst>
                  <a:gd name="connsiteX0" fmla="*/ 4828 w 64368"/>
                  <a:gd name="connsiteY0" fmla="*/ 4828 h 9655"/>
                  <a:gd name="connsiteX1" fmla="*/ 62116 w 64368"/>
                  <a:gd name="connsiteY1" fmla="*/ 4828 h 9655"/>
                </a:gdLst>
                <a:ahLst/>
                <a:cxnLst>
                  <a:cxn ang="0">
                    <a:pos x="connsiteX0" y="connsiteY0"/>
                  </a:cxn>
                  <a:cxn ang="0">
                    <a:pos x="connsiteX1" y="connsiteY1"/>
                  </a:cxn>
                </a:cxnLst>
                <a:rect l="l" t="t" r="r" b="b"/>
                <a:pathLst>
                  <a:path w="64368" h="9655">
                    <a:moveTo>
                      <a:pt x="4828" y="4828"/>
                    </a:moveTo>
                    <a:lnTo>
                      <a:pt x="62116" y="4828"/>
                    </a:lnTo>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1305" name="Freeform: Shape 1304">
                <a:extLst>
                  <a:ext uri="{FF2B5EF4-FFF2-40B4-BE49-F238E27FC236}">
                    <a16:creationId xmlns:a16="http://schemas.microsoft.com/office/drawing/2014/main" id="{802DFB4A-D697-4AEC-B31C-2BB034C718AC}"/>
                  </a:ext>
                </a:extLst>
              </p:cNvPr>
              <p:cNvSpPr/>
              <p:nvPr/>
            </p:nvSpPr>
            <p:spPr>
              <a:xfrm>
                <a:off x="9150750" y="6639080"/>
                <a:ext cx="91439" cy="27431"/>
              </a:xfrm>
              <a:custGeom>
                <a:avLst/>
                <a:gdLst>
                  <a:gd name="connsiteX0" fmla="*/ 4828 w 32184"/>
                  <a:gd name="connsiteY0" fmla="*/ 4828 h 9655"/>
                  <a:gd name="connsiteX1" fmla="*/ 29288 w 32184"/>
                  <a:gd name="connsiteY1" fmla="*/ 4828 h 9655"/>
                </a:gdLst>
                <a:ahLst/>
                <a:cxnLst>
                  <a:cxn ang="0">
                    <a:pos x="connsiteX0" y="connsiteY0"/>
                  </a:cxn>
                  <a:cxn ang="0">
                    <a:pos x="connsiteX1" y="connsiteY1"/>
                  </a:cxn>
                </a:cxnLst>
                <a:rect l="l" t="t" r="r" b="b"/>
                <a:pathLst>
                  <a:path w="32184" h="9655">
                    <a:moveTo>
                      <a:pt x="4828" y="4828"/>
                    </a:moveTo>
                    <a:lnTo>
                      <a:pt x="29288" y="4828"/>
                    </a:lnTo>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1306" name="Freeform: Shape 1305">
                <a:extLst>
                  <a:ext uri="{FF2B5EF4-FFF2-40B4-BE49-F238E27FC236}">
                    <a16:creationId xmlns:a16="http://schemas.microsoft.com/office/drawing/2014/main" id="{73DB9E62-3DEC-4F78-AF55-AE7BD0FCAA62}"/>
                  </a:ext>
                </a:extLst>
              </p:cNvPr>
              <p:cNvSpPr/>
              <p:nvPr/>
            </p:nvSpPr>
            <p:spPr>
              <a:xfrm>
                <a:off x="9056566" y="6553128"/>
                <a:ext cx="256031" cy="27431"/>
              </a:xfrm>
              <a:custGeom>
                <a:avLst/>
                <a:gdLst>
                  <a:gd name="connsiteX0" fmla="*/ 4828 w 90116"/>
                  <a:gd name="connsiteY0" fmla="*/ 4828 h 9655"/>
                  <a:gd name="connsiteX1" fmla="*/ 86898 w 90116"/>
                  <a:gd name="connsiteY1" fmla="*/ 4828 h 9655"/>
                </a:gdLst>
                <a:ahLst/>
                <a:cxnLst>
                  <a:cxn ang="0">
                    <a:pos x="connsiteX0" y="connsiteY0"/>
                  </a:cxn>
                  <a:cxn ang="0">
                    <a:pos x="connsiteX1" y="connsiteY1"/>
                  </a:cxn>
                </a:cxnLst>
                <a:rect l="l" t="t" r="r" b="b"/>
                <a:pathLst>
                  <a:path w="90116" h="9655">
                    <a:moveTo>
                      <a:pt x="4828" y="4828"/>
                    </a:moveTo>
                    <a:lnTo>
                      <a:pt x="86898" y="4828"/>
                    </a:lnTo>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1307" name="Freeform: Shape 1306">
                <a:extLst>
                  <a:ext uri="{FF2B5EF4-FFF2-40B4-BE49-F238E27FC236}">
                    <a16:creationId xmlns:a16="http://schemas.microsoft.com/office/drawing/2014/main" id="{274A8405-7981-472B-8411-5452EFC3508F}"/>
                  </a:ext>
                </a:extLst>
              </p:cNvPr>
              <p:cNvSpPr/>
              <p:nvPr/>
            </p:nvSpPr>
            <p:spPr>
              <a:xfrm>
                <a:off x="8848997" y="6359275"/>
                <a:ext cx="585214" cy="576072"/>
              </a:xfrm>
              <a:custGeom>
                <a:avLst/>
                <a:gdLst>
                  <a:gd name="connsiteX0" fmla="*/ 201153 w 205980"/>
                  <a:gd name="connsiteY0" fmla="*/ 102990 h 202762"/>
                  <a:gd name="connsiteX1" fmla="*/ 102990 w 205980"/>
                  <a:gd name="connsiteY1" fmla="*/ 201153 h 202762"/>
                  <a:gd name="connsiteX2" fmla="*/ 4828 w 205980"/>
                  <a:gd name="connsiteY2" fmla="*/ 102990 h 202762"/>
                  <a:gd name="connsiteX3" fmla="*/ 102990 w 205980"/>
                  <a:gd name="connsiteY3" fmla="*/ 4828 h 202762"/>
                  <a:gd name="connsiteX4" fmla="*/ 201153 w 205980"/>
                  <a:gd name="connsiteY4" fmla="*/ 102990 h 202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80" h="202762">
                    <a:moveTo>
                      <a:pt x="201153" y="102990"/>
                    </a:moveTo>
                    <a:cubicBezTo>
                      <a:pt x="201153" y="157204"/>
                      <a:pt x="157204" y="201153"/>
                      <a:pt x="102990" y="201153"/>
                    </a:cubicBezTo>
                    <a:cubicBezTo>
                      <a:pt x="48777" y="201153"/>
                      <a:pt x="4828" y="157204"/>
                      <a:pt x="4828" y="102990"/>
                    </a:cubicBezTo>
                    <a:cubicBezTo>
                      <a:pt x="4828" y="48777"/>
                      <a:pt x="48777" y="4828"/>
                      <a:pt x="102990" y="4828"/>
                    </a:cubicBezTo>
                    <a:cubicBezTo>
                      <a:pt x="157204" y="4828"/>
                      <a:pt x="201153" y="48777"/>
                      <a:pt x="201153" y="102990"/>
                    </a:cubicBez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308" name="Freeform: Shape 1307">
                <a:extLst>
                  <a:ext uri="{FF2B5EF4-FFF2-40B4-BE49-F238E27FC236}">
                    <a16:creationId xmlns:a16="http://schemas.microsoft.com/office/drawing/2014/main" id="{227E455B-D69F-4FFE-AB33-9D964AD62ABE}"/>
                  </a:ext>
                </a:extLst>
              </p:cNvPr>
              <p:cNvSpPr/>
              <p:nvPr/>
            </p:nvSpPr>
            <p:spPr>
              <a:xfrm>
                <a:off x="9277850" y="6769840"/>
                <a:ext cx="356615" cy="356615"/>
              </a:xfrm>
              <a:custGeom>
                <a:avLst/>
                <a:gdLst>
                  <a:gd name="connsiteX0" fmla="*/ 39909 w 125519"/>
                  <a:gd name="connsiteY0" fmla="*/ 4828 h 125519"/>
                  <a:gd name="connsiteX1" fmla="*/ 114255 w 125519"/>
                  <a:gd name="connsiteY1" fmla="*/ 79496 h 125519"/>
                  <a:gd name="connsiteX2" fmla="*/ 113611 w 125519"/>
                  <a:gd name="connsiteY2" fmla="*/ 114898 h 125519"/>
                  <a:gd name="connsiteX3" fmla="*/ 113611 w 125519"/>
                  <a:gd name="connsiteY3" fmla="*/ 114898 h 125519"/>
                  <a:gd name="connsiteX4" fmla="*/ 78208 w 125519"/>
                  <a:gd name="connsiteY4" fmla="*/ 115542 h 125519"/>
                  <a:gd name="connsiteX5" fmla="*/ 4828 w 125519"/>
                  <a:gd name="connsiteY5" fmla="*/ 42162 h 12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19" h="125519">
                    <a:moveTo>
                      <a:pt x="39909" y="4828"/>
                    </a:moveTo>
                    <a:lnTo>
                      <a:pt x="114255" y="79496"/>
                    </a:lnTo>
                    <a:cubicBezTo>
                      <a:pt x="123910" y="89151"/>
                      <a:pt x="123588" y="104921"/>
                      <a:pt x="113611" y="114898"/>
                    </a:cubicBezTo>
                    <a:lnTo>
                      <a:pt x="113611" y="114898"/>
                    </a:lnTo>
                    <a:cubicBezTo>
                      <a:pt x="103634" y="124876"/>
                      <a:pt x="87864" y="125197"/>
                      <a:pt x="78208" y="115542"/>
                    </a:cubicBezTo>
                    <a:lnTo>
                      <a:pt x="4828" y="42162"/>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grpSp>
      </p:grpSp>
      <p:grpSp>
        <p:nvGrpSpPr>
          <p:cNvPr id="1245" name="Group 1244">
            <a:extLst>
              <a:ext uri="{FF2B5EF4-FFF2-40B4-BE49-F238E27FC236}">
                <a16:creationId xmlns:a16="http://schemas.microsoft.com/office/drawing/2014/main" id="{B601548B-0574-40AB-B269-2C2AD975BD06}"/>
              </a:ext>
            </a:extLst>
          </p:cNvPr>
          <p:cNvGrpSpPr>
            <a:grpSpLocks noChangeAspect="1"/>
          </p:cNvGrpSpPr>
          <p:nvPr/>
        </p:nvGrpSpPr>
        <p:grpSpPr>
          <a:xfrm>
            <a:off x="12246359" y="2260671"/>
            <a:ext cx="327769" cy="329184"/>
            <a:chOff x="3853940" y="3046180"/>
            <a:chExt cx="1239926" cy="1245279"/>
          </a:xfrm>
        </p:grpSpPr>
        <p:sp>
          <p:nvSpPr>
            <p:cNvPr id="1269" name="Freeform: Shape 1268">
              <a:extLst>
                <a:ext uri="{FF2B5EF4-FFF2-40B4-BE49-F238E27FC236}">
                  <a16:creationId xmlns:a16="http://schemas.microsoft.com/office/drawing/2014/main" id="{6D9390E4-2945-4AC6-B1EF-1A98F0D17160}"/>
                </a:ext>
              </a:extLst>
            </p:cNvPr>
            <p:cNvSpPr/>
            <p:nvPr/>
          </p:nvSpPr>
          <p:spPr>
            <a:xfrm>
              <a:off x="3853940" y="3315794"/>
              <a:ext cx="54865" cy="685799"/>
            </a:xfrm>
            <a:custGeom>
              <a:avLst/>
              <a:gdLst>
                <a:gd name="connsiteX0" fmla="*/ 4828 w 19310"/>
                <a:gd name="connsiteY0" fmla="*/ 238487 h 241383"/>
                <a:gd name="connsiteX1" fmla="*/ 4828 w 19310"/>
                <a:gd name="connsiteY1" fmla="*/ 4828 h 241383"/>
                <a:gd name="connsiteX2" fmla="*/ 16736 w 19310"/>
                <a:gd name="connsiteY2" fmla="*/ 4828 h 241383"/>
              </a:gdLst>
              <a:ahLst/>
              <a:cxnLst>
                <a:cxn ang="0">
                  <a:pos x="connsiteX0" y="connsiteY0"/>
                </a:cxn>
                <a:cxn ang="0">
                  <a:pos x="connsiteX1" y="connsiteY1"/>
                </a:cxn>
                <a:cxn ang="0">
                  <a:pos x="connsiteX2" y="connsiteY2"/>
                </a:cxn>
              </a:cxnLst>
              <a:rect l="l" t="t" r="r" b="b"/>
              <a:pathLst>
                <a:path w="19310" h="241383">
                  <a:moveTo>
                    <a:pt x="4828" y="238487"/>
                  </a:moveTo>
                  <a:lnTo>
                    <a:pt x="4828" y="4828"/>
                  </a:lnTo>
                  <a:lnTo>
                    <a:pt x="16736" y="4828"/>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70" name="Freeform: Shape 1269">
              <a:extLst>
                <a:ext uri="{FF2B5EF4-FFF2-40B4-BE49-F238E27FC236}">
                  <a16:creationId xmlns:a16="http://schemas.microsoft.com/office/drawing/2014/main" id="{90CED449-040F-451B-B958-05D233C92F9E}"/>
                </a:ext>
              </a:extLst>
            </p:cNvPr>
            <p:cNvSpPr/>
            <p:nvPr/>
          </p:nvSpPr>
          <p:spPr>
            <a:xfrm>
              <a:off x="3853940" y="4024453"/>
              <a:ext cx="27431" cy="128015"/>
            </a:xfrm>
            <a:custGeom>
              <a:avLst/>
              <a:gdLst>
                <a:gd name="connsiteX0" fmla="*/ 4828 w 9655"/>
                <a:gd name="connsiteY0" fmla="*/ 40552 h 45058"/>
                <a:gd name="connsiteX1" fmla="*/ 4828 w 9655"/>
                <a:gd name="connsiteY1" fmla="*/ 4828 h 45058"/>
              </a:gdLst>
              <a:ahLst/>
              <a:cxnLst>
                <a:cxn ang="0">
                  <a:pos x="connsiteX0" y="connsiteY0"/>
                </a:cxn>
                <a:cxn ang="0">
                  <a:pos x="connsiteX1" y="connsiteY1"/>
                </a:cxn>
              </a:cxnLst>
              <a:rect l="l" t="t" r="r" b="b"/>
              <a:pathLst>
                <a:path w="9655" h="45058">
                  <a:moveTo>
                    <a:pt x="4828" y="40552"/>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71" name="Freeform: Shape 1270">
              <a:extLst>
                <a:ext uri="{FF2B5EF4-FFF2-40B4-BE49-F238E27FC236}">
                  <a16:creationId xmlns:a16="http://schemas.microsoft.com/office/drawing/2014/main" id="{2C6C09DE-7109-4E99-95E5-935C00F6BA4B}"/>
                </a:ext>
              </a:extLst>
            </p:cNvPr>
            <p:cNvSpPr/>
            <p:nvPr/>
          </p:nvSpPr>
          <p:spPr>
            <a:xfrm>
              <a:off x="3853940" y="3550795"/>
              <a:ext cx="128015" cy="740664"/>
            </a:xfrm>
            <a:custGeom>
              <a:avLst/>
              <a:gdLst>
                <a:gd name="connsiteX0" fmla="*/ 40231 w 45058"/>
                <a:gd name="connsiteY0" fmla="*/ 4828 h 260694"/>
                <a:gd name="connsiteX1" fmla="*/ 40231 w 45058"/>
                <a:gd name="connsiteY1" fmla="*/ 255866 h 260694"/>
                <a:gd name="connsiteX2" fmla="*/ 4828 w 45058"/>
                <a:gd name="connsiteY2" fmla="*/ 255866 h 260694"/>
                <a:gd name="connsiteX3" fmla="*/ 4828 w 45058"/>
                <a:gd name="connsiteY3" fmla="*/ 224004 h 260694"/>
              </a:gdLst>
              <a:ahLst/>
              <a:cxnLst>
                <a:cxn ang="0">
                  <a:pos x="connsiteX0" y="connsiteY0"/>
                </a:cxn>
                <a:cxn ang="0">
                  <a:pos x="connsiteX1" y="connsiteY1"/>
                </a:cxn>
                <a:cxn ang="0">
                  <a:pos x="connsiteX2" y="connsiteY2"/>
                </a:cxn>
                <a:cxn ang="0">
                  <a:pos x="connsiteX3" y="connsiteY3"/>
                </a:cxn>
              </a:cxnLst>
              <a:rect l="l" t="t" r="r" b="b"/>
              <a:pathLst>
                <a:path w="45058" h="260694">
                  <a:moveTo>
                    <a:pt x="40231" y="4828"/>
                  </a:moveTo>
                  <a:lnTo>
                    <a:pt x="40231" y="255866"/>
                  </a:lnTo>
                  <a:lnTo>
                    <a:pt x="4828" y="255866"/>
                  </a:lnTo>
                  <a:lnTo>
                    <a:pt x="4828" y="224004"/>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72" name="Freeform: Shape 1271">
              <a:extLst>
                <a:ext uri="{FF2B5EF4-FFF2-40B4-BE49-F238E27FC236}">
                  <a16:creationId xmlns:a16="http://schemas.microsoft.com/office/drawing/2014/main" id="{0E7E3314-7449-4FE2-B740-A045EF50C3DB}"/>
                </a:ext>
              </a:extLst>
            </p:cNvPr>
            <p:cNvSpPr/>
            <p:nvPr/>
          </p:nvSpPr>
          <p:spPr>
            <a:xfrm>
              <a:off x="4965851" y="3315794"/>
              <a:ext cx="128015" cy="969264"/>
            </a:xfrm>
            <a:custGeom>
              <a:avLst/>
              <a:gdLst>
                <a:gd name="connsiteX0" fmla="*/ 30575 w 45058"/>
                <a:gd name="connsiteY0" fmla="*/ 4828 h 341155"/>
                <a:gd name="connsiteX1" fmla="*/ 40231 w 45058"/>
                <a:gd name="connsiteY1" fmla="*/ 4828 h 341155"/>
                <a:gd name="connsiteX2" fmla="*/ 40231 w 45058"/>
                <a:gd name="connsiteY2" fmla="*/ 338580 h 341155"/>
                <a:gd name="connsiteX3" fmla="*/ 4828 w 45058"/>
                <a:gd name="connsiteY3" fmla="*/ 338580 h 341155"/>
                <a:gd name="connsiteX4" fmla="*/ 4828 w 45058"/>
                <a:gd name="connsiteY4" fmla="*/ 73702 h 341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58" h="341155">
                  <a:moveTo>
                    <a:pt x="30575" y="4828"/>
                  </a:moveTo>
                  <a:lnTo>
                    <a:pt x="40231" y="4828"/>
                  </a:lnTo>
                  <a:lnTo>
                    <a:pt x="40231" y="338580"/>
                  </a:lnTo>
                  <a:lnTo>
                    <a:pt x="4828" y="338580"/>
                  </a:lnTo>
                  <a:lnTo>
                    <a:pt x="4828" y="73702"/>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73" name="Freeform: Shape 1272">
              <a:extLst>
                <a:ext uri="{FF2B5EF4-FFF2-40B4-BE49-F238E27FC236}">
                  <a16:creationId xmlns:a16="http://schemas.microsoft.com/office/drawing/2014/main" id="{DF969B51-AAF0-41AE-922A-D113BAA247E1}"/>
                </a:ext>
              </a:extLst>
            </p:cNvPr>
            <p:cNvSpPr/>
            <p:nvPr/>
          </p:nvSpPr>
          <p:spPr>
            <a:xfrm>
              <a:off x="4812231" y="4222877"/>
              <a:ext cx="137161" cy="27431"/>
            </a:xfrm>
            <a:custGeom>
              <a:avLst/>
              <a:gdLst>
                <a:gd name="connsiteX0" fmla="*/ 4828 w 48276"/>
                <a:gd name="connsiteY0" fmla="*/ 4828 h 9655"/>
                <a:gd name="connsiteX1" fmla="*/ 44736 w 48276"/>
                <a:gd name="connsiteY1" fmla="*/ 4828 h 9655"/>
              </a:gdLst>
              <a:ahLst/>
              <a:cxnLst>
                <a:cxn ang="0">
                  <a:pos x="connsiteX0" y="connsiteY0"/>
                </a:cxn>
                <a:cxn ang="0">
                  <a:pos x="connsiteX1" y="connsiteY1"/>
                </a:cxn>
              </a:cxnLst>
              <a:rect l="l" t="t" r="r" b="b"/>
              <a:pathLst>
                <a:path w="48276" h="9655">
                  <a:moveTo>
                    <a:pt x="4828" y="4828"/>
                  </a:moveTo>
                  <a:lnTo>
                    <a:pt x="44736"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74" name="Freeform: Shape 1273">
              <a:extLst>
                <a:ext uri="{FF2B5EF4-FFF2-40B4-BE49-F238E27FC236}">
                  <a16:creationId xmlns:a16="http://schemas.microsoft.com/office/drawing/2014/main" id="{DF518762-6B6B-4588-B419-3BA9164446B0}"/>
                </a:ext>
              </a:extLst>
            </p:cNvPr>
            <p:cNvSpPr/>
            <p:nvPr/>
          </p:nvSpPr>
          <p:spPr>
            <a:xfrm>
              <a:off x="4641238" y="4222877"/>
              <a:ext cx="137161" cy="27431"/>
            </a:xfrm>
            <a:custGeom>
              <a:avLst/>
              <a:gdLst>
                <a:gd name="connsiteX0" fmla="*/ 4828 w 48276"/>
                <a:gd name="connsiteY0" fmla="*/ 4828 h 9655"/>
                <a:gd name="connsiteX1" fmla="*/ 45380 w 48276"/>
                <a:gd name="connsiteY1" fmla="*/ 4828 h 9655"/>
              </a:gdLst>
              <a:ahLst/>
              <a:cxnLst>
                <a:cxn ang="0">
                  <a:pos x="connsiteX0" y="connsiteY0"/>
                </a:cxn>
                <a:cxn ang="0">
                  <a:pos x="connsiteX1" y="connsiteY1"/>
                </a:cxn>
              </a:cxnLst>
              <a:rect l="l" t="t" r="r" b="b"/>
              <a:pathLst>
                <a:path w="48276" h="9655">
                  <a:moveTo>
                    <a:pt x="4828" y="4828"/>
                  </a:moveTo>
                  <a:lnTo>
                    <a:pt x="45380"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75" name="Freeform: Shape 1274">
              <a:extLst>
                <a:ext uri="{FF2B5EF4-FFF2-40B4-BE49-F238E27FC236}">
                  <a16:creationId xmlns:a16="http://schemas.microsoft.com/office/drawing/2014/main" id="{3112B9F2-4A8F-4D2E-B1C2-4B9DF28A3E58}"/>
                </a:ext>
              </a:extLst>
            </p:cNvPr>
            <p:cNvSpPr/>
            <p:nvPr/>
          </p:nvSpPr>
          <p:spPr>
            <a:xfrm>
              <a:off x="3994757" y="4222877"/>
              <a:ext cx="630937" cy="27431"/>
            </a:xfrm>
            <a:custGeom>
              <a:avLst/>
              <a:gdLst>
                <a:gd name="connsiteX0" fmla="*/ 4828 w 222072"/>
                <a:gd name="connsiteY0" fmla="*/ 4828 h 9655"/>
                <a:gd name="connsiteX1" fmla="*/ 219176 w 222072"/>
                <a:gd name="connsiteY1" fmla="*/ 4828 h 9655"/>
              </a:gdLst>
              <a:ahLst/>
              <a:cxnLst>
                <a:cxn ang="0">
                  <a:pos x="connsiteX0" y="connsiteY0"/>
                </a:cxn>
                <a:cxn ang="0">
                  <a:pos x="connsiteX1" y="connsiteY1"/>
                </a:cxn>
              </a:cxnLst>
              <a:rect l="l" t="t" r="r" b="b"/>
              <a:pathLst>
                <a:path w="222072" h="9655">
                  <a:moveTo>
                    <a:pt x="4828" y="4828"/>
                  </a:moveTo>
                  <a:lnTo>
                    <a:pt x="219176"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76" name="Freeform: Shape 1275">
              <a:extLst>
                <a:ext uri="{FF2B5EF4-FFF2-40B4-BE49-F238E27FC236}">
                  <a16:creationId xmlns:a16="http://schemas.microsoft.com/office/drawing/2014/main" id="{1947E00D-D59D-4531-B956-1132245BFD32}"/>
                </a:ext>
              </a:extLst>
            </p:cNvPr>
            <p:cNvSpPr/>
            <p:nvPr/>
          </p:nvSpPr>
          <p:spPr>
            <a:xfrm>
              <a:off x="4658612" y="3383458"/>
              <a:ext cx="201169" cy="27431"/>
            </a:xfrm>
            <a:custGeom>
              <a:avLst/>
              <a:gdLst>
                <a:gd name="connsiteX0" fmla="*/ 4828 w 70805"/>
                <a:gd name="connsiteY0" fmla="*/ 4828 h 9655"/>
                <a:gd name="connsiteX1" fmla="*/ 68875 w 70805"/>
                <a:gd name="connsiteY1" fmla="*/ 4828 h 9655"/>
              </a:gdLst>
              <a:ahLst/>
              <a:cxnLst>
                <a:cxn ang="0">
                  <a:pos x="connsiteX0" y="connsiteY0"/>
                </a:cxn>
                <a:cxn ang="0">
                  <a:pos x="connsiteX1" y="connsiteY1"/>
                </a:cxn>
              </a:cxnLst>
              <a:rect l="l" t="t" r="r" b="b"/>
              <a:pathLst>
                <a:path w="70805" h="9655">
                  <a:moveTo>
                    <a:pt x="4828" y="4828"/>
                  </a:moveTo>
                  <a:lnTo>
                    <a:pt x="68875"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77" name="Freeform: Shape 1276">
              <a:extLst>
                <a:ext uri="{FF2B5EF4-FFF2-40B4-BE49-F238E27FC236}">
                  <a16:creationId xmlns:a16="http://schemas.microsoft.com/office/drawing/2014/main" id="{B4FE8406-2EBC-486E-9A60-533D5EBCCCB6}"/>
                </a:ext>
              </a:extLst>
            </p:cNvPr>
            <p:cNvSpPr/>
            <p:nvPr/>
          </p:nvSpPr>
          <p:spPr>
            <a:xfrm>
              <a:off x="4172152" y="3383458"/>
              <a:ext cx="146304" cy="27431"/>
            </a:xfrm>
            <a:custGeom>
              <a:avLst/>
              <a:gdLst>
                <a:gd name="connsiteX0" fmla="*/ 4828 w 51495"/>
                <a:gd name="connsiteY0" fmla="*/ 4828 h 9655"/>
                <a:gd name="connsiteX1" fmla="*/ 47311 w 51495"/>
                <a:gd name="connsiteY1" fmla="*/ 4828 h 9655"/>
              </a:gdLst>
              <a:ahLst/>
              <a:cxnLst>
                <a:cxn ang="0">
                  <a:pos x="connsiteX0" y="connsiteY0"/>
                </a:cxn>
                <a:cxn ang="0">
                  <a:pos x="connsiteX1" y="connsiteY1"/>
                </a:cxn>
              </a:cxnLst>
              <a:rect l="l" t="t" r="r" b="b"/>
              <a:pathLst>
                <a:path w="51495" h="9655">
                  <a:moveTo>
                    <a:pt x="4828" y="4828"/>
                  </a:moveTo>
                  <a:lnTo>
                    <a:pt x="47311"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78" name="Freeform: Shape 1277">
              <a:extLst>
                <a:ext uri="{FF2B5EF4-FFF2-40B4-BE49-F238E27FC236}">
                  <a16:creationId xmlns:a16="http://schemas.microsoft.com/office/drawing/2014/main" id="{9CCE8C53-F0D6-40A0-A360-987A46FD9845}"/>
                </a:ext>
              </a:extLst>
            </p:cNvPr>
            <p:cNvSpPr/>
            <p:nvPr/>
          </p:nvSpPr>
          <p:spPr>
            <a:xfrm>
              <a:off x="4666842" y="3463924"/>
              <a:ext cx="201169" cy="27431"/>
            </a:xfrm>
            <a:custGeom>
              <a:avLst/>
              <a:gdLst>
                <a:gd name="connsiteX0" fmla="*/ 4828 w 70805"/>
                <a:gd name="connsiteY0" fmla="*/ 4828 h 9655"/>
                <a:gd name="connsiteX1" fmla="*/ 68231 w 70805"/>
                <a:gd name="connsiteY1" fmla="*/ 4828 h 9655"/>
              </a:gdLst>
              <a:ahLst/>
              <a:cxnLst>
                <a:cxn ang="0">
                  <a:pos x="connsiteX0" y="connsiteY0"/>
                </a:cxn>
                <a:cxn ang="0">
                  <a:pos x="connsiteX1" y="connsiteY1"/>
                </a:cxn>
              </a:cxnLst>
              <a:rect l="l" t="t" r="r" b="b"/>
              <a:pathLst>
                <a:path w="70805" h="9655">
                  <a:moveTo>
                    <a:pt x="4828" y="4828"/>
                  </a:moveTo>
                  <a:lnTo>
                    <a:pt x="68231"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79" name="Freeform: Shape 1278">
              <a:extLst>
                <a:ext uri="{FF2B5EF4-FFF2-40B4-BE49-F238E27FC236}">
                  <a16:creationId xmlns:a16="http://schemas.microsoft.com/office/drawing/2014/main" id="{3A42879E-C9D5-4077-9AFC-8E5DA8BA6B37}"/>
                </a:ext>
              </a:extLst>
            </p:cNvPr>
            <p:cNvSpPr/>
            <p:nvPr/>
          </p:nvSpPr>
          <p:spPr>
            <a:xfrm>
              <a:off x="4441899" y="3463924"/>
              <a:ext cx="54865" cy="27431"/>
            </a:xfrm>
            <a:custGeom>
              <a:avLst/>
              <a:gdLst>
                <a:gd name="connsiteX0" fmla="*/ 4828 w 19310"/>
                <a:gd name="connsiteY0" fmla="*/ 4828 h 9655"/>
                <a:gd name="connsiteX1" fmla="*/ 17058 w 19310"/>
                <a:gd name="connsiteY1" fmla="*/ 4828 h 9655"/>
              </a:gdLst>
              <a:ahLst/>
              <a:cxnLst>
                <a:cxn ang="0">
                  <a:pos x="connsiteX0" y="connsiteY0"/>
                </a:cxn>
                <a:cxn ang="0">
                  <a:pos x="connsiteX1" y="connsiteY1"/>
                </a:cxn>
              </a:cxnLst>
              <a:rect l="l" t="t" r="r" b="b"/>
              <a:pathLst>
                <a:path w="19310" h="9655">
                  <a:moveTo>
                    <a:pt x="4828" y="4828"/>
                  </a:moveTo>
                  <a:lnTo>
                    <a:pt x="1705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80" name="Freeform: Shape 1279">
              <a:extLst>
                <a:ext uri="{FF2B5EF4-FFF2-40B4-BE49-F238E27FC236}">
                  <a16:creationId xmlns:a16="http://schemas.microsoft.com/office/drawing/2014/main" id="{F5B48631-4001-4A20-A150-8E1A64B30A29}"/>
                </a:ext>
              </a:extLst>
            </p:cNvPr>
            <p:cNvSpPr/>
            <p:nvPr/>
          </p:nvSpPr>
          <p:spPr>
            <a:xfrm>
              <a:off x="4161179" y="3463924"/>
              <a:ext cx="146304" cy="27431"/>
            </a:xfrm>
            <a:custGeom>
              <a:avLst/>
              <a:gdLst>
                <a:gd name="connsiteX0" fmla="*/ 4828 w 51495"/>
                <a:gd name="connsiteY0" fmla="*/ 4828 h 9655"/>
                <a:gd name="connsiteX1" fmla="*/ 46667 w 51495"/>
                <a:gd name="connsiteY1" fmla="*/ 4828 h 9655"/>
              </a:gdLst>
              <a:ahLst/>
              <a:cxnLst>
                <a:cxn ang="0">
                  <a:pos x="connsiteX0" y="connsiteY0"/>
                </a:cxn>
                <a:cxn ang="0">
                  <a:pos x="connsiteX1" y="connsiteY1"/>
                </a:cxn>
              </a:cxnLst>
              <a:rect l="l" t="t" r="r" b="b"/>
              <a:pathLst>
                <a:path w="51495" h="9655">
                  <a:moveTo>
                    <a:pt x="4828" y="4828"/>
                  </a:moveTo>
                  <a:lnTo>
                    <a:pt x="46667"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81" name="Freeform: Shape 1280">
              <a:extLst>
                <a:ext uri="{FF2B5EF4-FFF2-40B4-BE49-F238E27FC236}">
                  <a16:creationId xmlns:a16="http://schemas.microsoft.com/office/drawing/2014/main" id="{090E56FC-49AD-4474-8C5C-53D76555C38E}"/>
                </a:ext>
              </a:extLst>
            </p:cNvPr>
            <p:cNvSpPr/>
            <p:nvPr/>
          </p:nvSpPr>
          <p:spPr>
            <a:xfrm>
              <a:off x="4509563" y="3473070"/>
              <a:ext cx="73153" cy="27431"/>
            </a:xfrm>
            <a:custGeom>
              <a:avLst/>
              <a:gdLst>
                <a:gd name="connsiteX0" fmla="*/ 23495 w 25747"/>
                <a:gd name="connsiteY0" fmla="*/ 4828 h 9655"/>
                <a:gd name="connsiteX1" fmla="*/ 4828 w 25747"/>
                <a:gd name="connsiteY1" fmla="*/ 6759 h 9655"/>
              </a:gdLst>
              <a:ahLst/>
              <a:cxnLst>
                <a:cxn ang="0">
                  <a:pos x="connsiteX0" y="connsiteY0"/>
                </a:cxn>
                <a:cxn ang="0">
                  <a:pos x="connsiteX1" y="connsiteY1"/>
                </a:cxn>
              </a:cxnLst>
              <a:rect l="l" t="t" r="r" b="b"/>
              <a:pathLst>
                <a:path w="25747" h="9655">
                  <a:moveTo>
                    <a:pt x="23495" y="4828"/>
                  </a:moveTo>
                  <a:lnTo>
                    <a:pt x="4828" y="6759"/>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82" name="Freeform: Shape 1281">
              <a:extLst>
                <a:ext uri="{FF2B5EF4-FFF2-40B4-BE49-F238E27FC236}">
                  <a16:creationId xmlns:a16="http://schemas.microsoft.com/office/drawing/2014/main" id="{E766FCE5-9A0D-48ED-A919-E54A6D92A8FA}"/>
                </a:ext>
              </a:extLst>
            </p:cNvPr>
            <p:cNvSpPr/>
            <p:nvPr/>
          </p:nvSpPr>
          <p:spPr>
            <a:xfrm>
              <a:off x="4518709" y="3559023"/>
              <a:ext cx="73153" cy="27431"/>
            </a:xfrm>
            <a:custGeom>
              <a:avLst/>
              <a:gdLst>
                <a:gd name="connsiteX0" fmla="*/ 23817 w 25747"/>
                <a:gd name="connsiteY0" fmla="*/ 4828 h 9655"/>
                <a:gd name="connsiteX1" fmla="*/ 4828 w 25747"/>
                <a:gd name="connsiteY1" fmla="*/ 7081 h 9655"/>
              </a:gdLst>
              <a:ahLst/>
              <a:cxnLst>
                <a:cxn ang="0">
                  <a:pos x="connsiteX0" y="connsiteY0"/>
                </a:cxn>
                <a:cxn ang="0">
                  <a:pos x="connsiteX1" y="connsiteY1"/>
                </a:cxn>
              </a:cxnLst>
              <a:rect l="l" t="t" r="r" b="b"/>
              <a:pathLst>
                <a:path w="25747" h="9655">
                  <a:moveTo>
                    <a:pt x="23817" y="4828"/>
                  </a:moveTo>
                  <a:lnTo>
                    <a:pt x="4828" y="7081"/>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83" name="Freeform: Shape 1282">
              <a:extLst>
                <a:ext uri="{FF2B5EF4-FFF2-40B4-BE49-F238E27FC236}">
                  <a16:creationId xmlns:a16="http://schemas.microsoft.com/office/drawing/2014/main" id="{ADE37A1F-0DCE-4C8A-A6F0-C1FD3820DE52}"/>
                </a:ext>
              </a:extLst>
            </p:cNvPr>
            <p:cNvSpPr/>
            <p:nvPr/>
          </p:nvSpPr>
          <p:spPr>
            <a:xfrm>
              <a:off x="4527852" y="3645890"/>
              <a:ext cx="73153" cy="27431"/>
            </a:xfrm>
            <a:custGeom>
              <a:avLst/>
              <a:gdLst>
                <a:gd name="connsiteX0" fmla="*/ 23817 w 25747"/>
                <a:gd name="connsiteY0" fmla="*/ 4828 h 9655"/>
                <a:gd name="connsiteX1" fmla="*/ 4828 w 25747"/>
                <a:gd name="connsiteY1" fmla="*/ 6759 h 9655"/>
              </a:gdLst>
              <a:ahLst/>
              <a:cxnLst>
                <a:cxn ang="0">
                  <a:pos x="connsiteX0" y="connsiteY0"/>
                </a:cxn>
                <a:cxn ang="0">
                  <a:pos x="connsiteX1" y="connsiteY1"/>
                </a:cxn>
              </a:cxnLst>
              <a:rect l="l" t="t" r="r" b="b"/>
              <a:pathLst>
                <a:path w="25747" h="9655">
                  <a:moveTo>
                    <a:pt x="23817" y="4828"/>
                  </a:moveTo>
                  <a:lnTo>
                    <a:pt x="4828" y="6759"/>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84" name="Freeform: Shape 1283">
              <a:extLst>
                <a:ext uri="{FF2B5EF4-FFF2-40B4-BE49-F238E27FC236}">
                  <a16:creationId xmlns:a16="http://schemas.microsoft.com/office/drawing/2014/main" id="{82059924-B762-4CE6-9019-4D5E878A51F6}"/>
                </a:ext>
              </a:extLst>
            </p:cNvPr>
            <p:cNvSpPr/>
            <p:nvPr/>
          </p:nvSpPr>
          <p:spPr>
            <a:xfrm>
              <a:off x="4536997" y="3732760"/>
              <a:ext cx="73153" cy="27431"/>
            </a:xfrm>
            <a:custGeom>
              <a:avLst/>
              <a:gdLst>
                <a:gd name="connsiteX0" fmla="*/ 23817 w 25747"/>
                <a:gd name="connsiteY0" fmla="*/ 4828 h 9655"/>
                <a:gd name="connsiteX1" fmla="*/ 4828 w 25747"/>
                <a:gd name="connsiteY1" fmla="*/ 6759 h 9655"/>
              </a:gdLst>
              <a:ahLst/>
              <a:cxnLst>
                <a:cxn ang="0">
                  <a:pos x="connsiteX0" y="connsiteY0"/>
                </a:cxn>
                <a:cxn ang="0">
                  <a:pos x="connsiteX1" y="connsiteY1"/>
                </a:cxn>
              </a:cxnLst>
              <a:rect l="l" t="t" r="r" b="b"/>
              <a:pathLst>
                <a:path w="25747" h="9655">
                  <a:moveTo>
                    <a:pt x="23817" y="4828"/>
                  </a:moveTo>
                  <a:lnTo>
                    <a:pt x="4828" y="6759"/>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85" name="Freeform: Shape 1284">
              <a:extLst>
                <a:ext uri="{FF2B5EF4-FFF2-40B4-BE49-F238E27FC236}">
                  <a16:creationId xmlns:a16="http://schemas.microsoft.com/office/drawing/2014/main" id="{30C73753-4752-4744-8FC0-F095CB7B02C6}"/>
                </a:ext>
              </a:extLst>
            </p:cNvPr>
            <p:cNvSpPr/>
            <p:nvPr/>
          </p:nvSpPr>
          <p:spPr>
            <a:xfrm>
              <a:off x="4494934" y="3356027"/>
              <a:ext cx="210311" cy="457199"/>
            </a:xfrm>
            <a:custGeom>
              <a:avLst/>
              <a:gdLst>
                <a:gd name="connsiteX0" fmla="*/ 20598 w 74024"/>
                <a:gd name="connsiteY0" fmla="*/ 157382 h 160922"/>
                <a:gd name="connsiteX1" fmla="*/ 4828 w 74024"/>
                <a:gd name="connsiteY1" fmla="*/ 9977 h 160922"/>
                <a:gd name="connsiteX2" fmla="*/ 53104 w 74024"/>
                <a:gd name="connsiteY2" fmla="*/ 4828 h 160922"/>
                <a:gd name="connsiteX3" fmla="*/ 69197 w 74024"/>
                <a:gd name="connsiteY3" fmla="*/ 155773 h 160922"/>
              </a:gdLst>
              <a:ahLst/>
              <a:cxnLst>
                <a:cxn ang="0">
                  <a:pos x="connsiteX0" y="connsiteY0"/>
                </a:cxn>
                <a:cxn ang="0">
                  <a:pos x="connsiteX1" y="connsiteY1"/>
                </a:cxn>
                <a:cxn ang="0">
                  <a:pos x="connsiteX2" y="connsiteY2"/>
                </a:cxn>
                <a:cxn ang="0">
                  <a:pos x="connsiteX3" y="connsiteY3"/>
                </a:cxn>
              </a:cxnLst>
              <a:rect l="l" t="t" r="r" b="b"/>
              <a:pathLst>
                <a:path w="74024" h="160922">
                  <a:moveTo>
                    <a:pt x="20598" y="157382"/>
                  </a:moveTo>
                  <a:lnTo>
                    <a:pt x="4828" y="9977"/>
                  </a:lnTo>
                  <a:lnTo>
                    <a:pt x="53104" y="4828"/>
                  </a:lnTo>
                  <a:lnTo>
                    <a:pt x="69197" y="155773"/>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86" name="Freeform: Shape 1285">
              <a:extLst>
                <a:ext uri="{FF2B5EF4-FFF2-40B4-BE49-F238E27FC236}">
                  <a16:creationId xmlns:a16="http://schemas.microsoft.com/office/drawing/2014/main" id="{FF3150DF-1871-4883-9307-878BD0B64B4B}"/>
                </a:ext>
              </a:extLst>
            </p:cNvPr>
            <p:cNvSpPr/>
            <p:nvPr/>
          </p:nvSpPr>
          <p:spPr>
            <a:xfrm>
              <a:off x="4349546" y="3267330"/>
              <a:ext cx="137161" cy="548641"/>
            </a:xfrm>
            <a:custGeom>
              <a:avLst/>
              <a:gdLst>
                <a:gd name="connsiteX0" fmla="*/ 4828 w 48276"/>
                <a:gd name="connsiteY0" fmla="*/ 190854 h 193106"/>
                <a:gd name="connsiteX1" fmla="*/ 45058 w 48276"/>
                <a:gd name="connsiteY1" fmla="*/ 4828 h 193106"/>
              </a:gdLst>
              <a:ahLst/>
              <a:cxnLst>
                <a:cxn ang="0">
                  <a:pos x="connsiteX0" y="connsiteY0"/>
                </a:cxn>
                <a:cxn ang="0">
                  <a:pos x="connsiteX1" y="connsiteY1"/>
                </a:cxn>
              </a:cxnLst>
              <a:rect l="l" t="t" r="r" b="b"/>
              <a:pathLst>
                <a:path w="48276" h="193106">
                  <a:moveTo>
                    <a:pt x="4828" y="190854"/>
                  </a:moveTo>
                  <a:lnTo>
                    <a:pt x="45058" y="4828"/>
                  </a:lnTo>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1287" name="Freeform: Shape 1286">
              <a:extLst>
                <a:ext uri="{FF2B5EF4-FFF2-40B4-BE49-F238E27FC236}">
                  <a16:creationId xmlns:a16="http://schemas.microsoft.com/office/drawing/2014/main" id="{9E3F7FB6-4EF7-4638-89B6-3B88AD2CEA48}"/>
                </a:ext>
              </a:extLst>
            </p:cNvPr>
            <p:cNvSpPr/>
            <p:nvPr/>
          </p:nvSpPr>
          <p:spPr>
            <a:xfrm>
              <a:off x="4236159" y="3246297"/>
              <a:ext cx="137161" cy="566929"/>
            </a:xfrm>
            <a:custGeom>
              <a:avLst/>
              <a:gdLst>
                <a:gd name="connsiteX0" fmla="*/ 46346 w 48276"/>
                <a:gd name="connsiteY0" fmla="*/ 4828 h 199543"/>
                <a:gd name="connsiteX1" fmla="*/ 4828 w 48276"/>
                <a:gd name="connsiteY1" fmla="*/ 196003 h 199543"/>
              </a:gdLst>
              <a:ahLst/>
              <a:cxnLst>
                <a:cxn ang="0">
                  <a:pos x="connsiteX0" y="connsiteY0"/>
                </a:cxn>
                <a:cxn ang="0">
                  <a:pos x="connsiteX1" y="connsiteY1"/>
                </a:cxn>
              </a:cxnLst>
              <a:rect l="l" t="t" r="r" b="b"/>
              <a:pathLst>
                <a:path w="48276" h="199543">
                  <a:moveTo>
                    <a:pt x="46346" y="4828"/>
                  </a:moveTo>
                  <a:lnTo>
                    <a:pt x="4828" y="196003"/>
                  </a:lnTo>
                </a:path>
              </a:pathLst>
            </a:custGeom>
            <a:ln w="12700" cap="flat">
              <a:solidFill>
                <a:srgbClr val="FDC500"/>
              </a:solidFill>
              <a:prstDash val="solid"/>
              <a:round/>
            </a:ln>
          </p:spPr>
          <p:txBody>
            <a:bodyPr rtlCol="0" anchor="ctr"/>
            <a:lstStyle/>
            <a:p>
              <a:pPr defTabSz="731504">
                <a:defRPr/>
              </a:pPr>
              <a:endParaRPr lang="en-US" sz="1800" dirty="0">
                <a:solidFill>
                  <a:srgbClr val="FFFFFF"/>
                </a:solidFill>
              </a:endParaRPr>
            </a:p>
          </p:txBody>
        </p:sp>
        <p:sp>
          <p:nvSpPr>
            <p:cNvPr id="1288" name="Freeform: Shape 1287">
              <a:extLst>
                <a:ext uri="{FF2B5EF4-FFF2-40B4-BE49-F238E27FC236}">
                  <a16:creationId xmlns:a16="http://schemas.microsoft.com/office/drawing/2014/main" id="{483B6338-B2AB-41C5-9ECC-0C9CAD5EE585}"/>
                </a:ext>
              </a:extLst>
            </p:cNvPr>
            <p:cNvSpPr/>
            <p:nvPr/>
          </p:nvSpPr>
          <p:spPr>
            <a:xfrm>
              <a:off x="4537912" y="3090851"/>
              <a:ext cx="118873" cy="54865"/>
            </a:xfrm>
            <a:custGeom>
              <a:avLst/>
              <a:gdLst>
                <a:gd name="connsiteX0" fmla="*/ 4828 w 41839"/>
                <a:gd name="connsiteY0" fmla="*/ 4828 h 19310"/>
                <a:gd name="connsiteX1" fmla="*/ 19954 w 41839"/>
                <a:gd name="connsiteY1" fmla="*/ 13839 h 19310"/>
                <a:gd name="connsiteX2" fmla="*/ 37656 w 41839"/>
                <a:gd name="connsiteY2" fmla="*/ 11908 h 19310"/>
              </a:gdLst>
              <a:ahLst/>
              <a:cxnLst>
                <a:cxn ang="0">
                  <a:pos x="connsiteX0" y="connsiteY0"/>
                </a:cxn>
                <a:cxn ang="0">
                  <a:pos x="connsiteX1" y="connsiteY1"/>
                </a:cxn>
                <a:cxn ang="0">
                  <a:pos x="connsiteX2" y="connsiteY2"/>
                </a:cxn>
              </a:cxnLst>
              <a:rect l="l" t="t" r="r" b="b"/>
              <a:pathLst>
                <a:path w="41839" h="19310">
                  <a:moveTo>
                    <a:pt x="4828" y="4828"/>
                  </a:moveTo>
                  <a:cubicBezTo>
                    <a:pt x="8368" y="9012"/>
                    <a:pt x="13839" y="12552"/>
                    <a:pt x="19954" y="13839"/>
                  </a:cubicBezTo>
                  <a:cubicBezTo>
                    <a:pt x="26069" y="15127"/>
                    <a:pt x="32506" y="14483"/>
                    <a:pt x="37656" y="11908"/>
                  </a:cubicBezTo>
                </a:path>
              </a:pathLst>
            </a:custGeom>
            <a:ln w="12700" cap="flat">
              <a:solidFill>
                <a:srgbClr val="FDC500"/>
              </a:solidFill>
              <a:prstDash val="solid"/>
              <a:round/>
            </a:ln>
          </p:spPr>
          <p:txBody>
            <a:bodyPr rtlCol="0" anchor="ctr"/>
            <a:lstStyle/>
            <a:p>
              <a:pPr defTabSz="731504">
                <a:defRPr/>
              </a:pPr>
              <a:endParaRPr lang="en-US" sz="1800" dirty="0">
                <a:solidFill>
                  <a:srgbClr val="FFFFFF"/>
                </a:solidFill>
              </a:endParaRPr>
            </a:p>
          </p:txBody>
        </p:sp>
        <p:sp>
          <p:nvSpPr>
            <p:cNvPr id="1289" name="Freeform: Shape 1288">
              <a:extLst>
                <a:ext uri="{FF2B5EF4-FFF2-40B4-BE49-F238E27FC236}">
                  <a16:creationId xmlns:a16="http://schemas.microsoft.com/office/drawing/2014/main" id="{BDEEA1F1-53F1-47CB-8A7E-07C20F2CDF22}"/>
                </a:ext>
              </a:extLst>
            </p:cNvPr>
            <p:cNvSpPr/>
            <p:nvPr/>
          </p:nvSpPr>
          <p:spPr>
            <a:xfrm>
              <a:off x="4517794" y="3181591"/>
              <a:ext cx="109727" cy="45719"/>
            </a:xfrm>
            <a:custGeom>
              <a:avLst/>
              <a:gdLst>
                <a:gd name="connsiteX0" fmla="*/ 35081 w 38621"/>
                <a:gd name="connsiteY0" fmla="*/ 14085 h 16092"/>
                <a:gd name="connsiteX1" fmla="*/ 21242 w 38621"/>
                <a:gd name="connsiteY1" fmla="*/ 5395 h 16092"/>
                <a:gd name="connsiteX2" fmla="*/ 4828 w 38621"/>
                <a:gd name="connsiteY2" fmla="*/ 7648 h 16092"/>
              </a:gdLst>
              <a:ahLst/>
              <a:cxnLst>
                <a:cxn ang="0">
                  <a:pos x="connsiteX0" y="connsiteY0"/>
                </a:cxn>
                <a:cxn ang="0">
                  <a:pos x="connsiteX1" y="connsiteY1"/>
                </a:cxn>
                <a:cxn ang="0">
                  <a:pos x="connsiteX2" y="connsiteY2"/>
                </a:cxn>
              </a:cxnLst>
              <a:rect l="l" t="t" r="r" b="b"/>
              <a:pathLst>
                <a:path w="38621" h="16092">
                  <a:moveTo>
                    <a:pt x="35081" y="14085"/>
                  </a:moveTo>
                  <a:cubicBezTo>
                    <a:pt x="31863" y="9901"/>
                    <a:pt x="27035" y="6683"/>
                    <a:pt x="21242" y="5395"/>
                  </a:cubicBezTo>
                  <a:cubicBezTo>
                    <a:pt x="15449" y="4108"/>
                    <a:pt x="9655" y="5074"/>
                    <a:pt x="4828" y="7648"/>
                  </a:cubicBezTo>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1290" name="Freeform: Shape 1289">
              <a:extLst>
                <a:ext uri="{FF2B5EF4-FFF2-40B4-BE49-F238E27FC236}">
                  <a16:creationId xmlns:a16="http://schemas.microsoft.com/office/drawing/2014/main" id="{5801417F-A4DC-4C3C-88B4-0E1974162038}"/>
                </a:ext>
              </a:extLst>
            </p:cNvPr>
            <p:cNvSpPr/>
            <p:nvPr/>
          </p:nvSpPr>
          <p:spPr>
            <a:xfrm>
              <a:off x="4124597" y="3046180"/>
              <a:ext cx="438911" cy="246888"/>
            </a:xfrm>
            <a:custGeom>
              <a:avLst/>
              <a:gdLst>
                <a:gd name="connsiteX0" fmla="*/ 96555 w 154485"/>
                <a:gd name="connsiteY0" fmla="*/ 5745 h 86898"/>
                <a:gd name="connsiteX1" fmla="*/ 149659 w 154485"/>
                <a:gd name="connsiteY1" fmla="*/ 17332 h 86898"/>
                <a:gd name="connsiteX2" fmla="*/ 140970 w 154485"/>
                <a:gd name="connsiteY2" fmla="*/ 58206 h 86898"/>
                <a:gd name="connsiteX3" fmla="*/ 124234 w 154485"/>
                <a:gd name="connsiteY3" fmla="*/ 85241 h 86898"/>
                <a:gd name="connsiteX4" fmla="*/ 85612 w 154485"/>
                <a:gd name="connsiteY4" fmla="*/ 76873 h 86898"/>
                <a:gd name="connsiteX5" fmla="*/ 79497 w 154485"/>
                <a:gd name="connsiteY5" fmla="*/ 38895 h 86898"/>
                <a:gd name="connsiteX6" fmla="*/ 11266 w 154485"/>
                <a:gd name="connsiteY6" fmla="*/ 76873 h 86898"/>
                <a:gd name="connsiteX7" fmla="*/ 4829 w 154485"/>
                <a:gd name="connsiteY7" fmla="*/ 70758 h 86898"/>
                <a:gd name="connsiteX8" fmla="*/ 96555 w 154485"/>
                <a:gd name="connsiteY8" fmla="*/ 5745 h 8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485" h="86898">
                  <a:moveTo>
                    <a:pt x="96555" y="5745"/>
                  </a:moveTo>
                  <a:lnTo>
                    <a:pt x="149659" y="17332"/>
                  </a:lnTo>
                  <a:lnTo>
                    <a:pt x="140970" y="58206"/>
                  </a:lnTo>
                  <a:lnTo>
                    <a:pt x="124234" y="85241"/>
                  </a:lnTo>
                  <a:lnTo>
                    <a:pt x="85612" y="76873"/>
                  </a:lnTo>
                  <a:cubicBezTo>
                    <a:pt x="85612" y="76873"/>
                    <a:pt x="90118" y="45010"/>
                    <a:pt x="79497" y="38895"/>
                  </a:cubicBezTo>
                  <a:cubicBezTo>
                    <a:pt x="65658" y="31171"/>
                    <a:pt x="36048" y="49516"/>
                    <a:pt x="11266" y="76873"/>
                  </a:cubicBezTo>
                  <a:lnTo>
                    <a:pt x="4829" y="70758"/>
                  </a:lnTo>
                  <a:cubicBezTo>
                    <a:pt x="4507" y="70436"/>
                    <a:pt x="50853" y="-4232"/>
                    <a:pt x="96555" y="5745"/>
                  </a:cubicBezTo>
                  <a:close/>
                </a:path>
              </a:pathLst>
            </a:custGeom>
            <a:ln w="12700" cap="flat">
              <a:solidFill>
                <a:srgbClr val="FDC500"/>
              </a:solidFill>
              <a:prstDash val="solid"/>
              <a:round/>
            </a:ln>
          </p:spPr>
          <p:txBody>
            <a:bodyPr rtlCol="0" anchor="ctr"/>
            <a:lstStyle/>
            <a:p>
              <a:pPr defTabSz="731504">
                <a:defRPr/>
              </a:pPr>
              <a:endParaRPr lang="en-US" sz="1800" dirty="0">
                <a:solidFill>
                  <a:srgbClr val="FFFFFF"/>
                </a:solidFill>
              </a:endParaRPr>
            </a:p>
          </p:txBody>
        </p:sp>
        <p:sp>
          <p:nvSpPr>
            <p:cNvPr id="1291" name="Freeform: Shape 1290">
              <a:extLst>
                <a:ext uri="{FF2B5EF4-FFF2-40B4-BE49-F238E27FC236}">
                  <a16:creationId xmlns:a16="http://schemas.microsoft.com/office/drawing/2014/main" id="{A104F33F-BCD5-4848-8327-629DA1BD9B7C}"/>
                </a:ext>
              </a:extLst>
            </p:cNvPr>
            <p:cNvSpPr/>
            <p:nvPr/>
          </p:nvSpPr>
          <p:spPr>
            <a:xfrm>
              <a:off x="4965851" y="3859861"/>
              <a:ext cx="128015" cy="27431"/>
            </a:xfrm>
            <a:custGeom>
              <a:avLst/>
              <a:gdLst>
                <a:gd name="connsiteX0" fmla="*/ 4828 w 45058"/>
                <a:gd name="connsiteY0" fmla="*/ 4828 h 9655"/>
                <a:gd name="connsiteX1" fmla="*/ 40231 w 45058"/>
                <a:gd name="connsiteY1" fmla="*/ 4828 h 9655"/>
              </a:gdLst>
              <a:ahLst/>
              <a:cxnLst>
                <a:cxn ang="0">
                  <a:pos x="connsiteX0" y="connsiteY0"/>
                </a:cxn>
                <a:cxn ang="0">
                  <a:pos x="connsiteX1" y="connsiteY1"/>
                </a:cxn>
              </a:cxnLst>
              <a:rect l="l" t="t" r="r" b="b"/>
              <a:pathLst>
                <a:path w="45058" h="9655">
                  <a:moveTo>
                    <a:pt x="4828" y="4828"/>
                  </a:moveTo>
                  <a:lnTo>
                    <a:pt x="40231"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92" name="Freeform: Shape 1291">
              <a:extLst>
                <a:ext uri="{FF2B5EF4-FFF2-40B4-BE49-F238E27FC236}">
                  <a16:creationId xmlns:a16="http://schemas.microsoft.com/office/drawing/2014/main" id="{B63FCE07-A55F-4F40-ADC2-C3BA1EACF12F}"/>
                </a:ext>
              </a:extLst>
            </p:cNvPr>
            <p:cNvSpPr/>
            <p:nvPr/>
          </p:nvSpPr>
          <p:spPr>
            <a:xfrm>
              <a:off x="4686043" y="3859861"/>
              <a:ext cx="246888" cy="27431"/>
            </a:xfrm>
            <a:custGeom>
              <a:avLst/>
              <a:gdLst>
                <a:gd name="connsiteX0" fmla="*/ 4828 w 86898"/>
                <a:gd name="connsiteY0" fmla="*/ 4828 h 9655"/>
                <a:gd name="connsiteX1" fmla="*/ 83680 w 86898"/>
                <a:gd name="connsiteY1" fmla="*/ 4828 h 9655"/>
              </a:gdLst>
              <a:ahLst/>
              <a:cxnLst>
                <a:cxn ang="0">
                  <a:pos x="connsiteX0" y="connsiteY0"/>
                </a:cxn>
                <a:cxn ang="0">
                  <a:pos x="connsiteX1" y="connsiteY1"/>
                </a:cxn>
              </a:cxnLst>
              <a:rect l="l" t="t" r="r" b="b"/>
              <a:pathLst>
                <a:path w="86898" h="9655">
                  <a:moveTo>
                    <a:pt x="4828" y="4828"/>
                  </a:moveTo>
                  <a:lnTo>
                    <a:pt x="83680"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93" name="Freeform: Shape 1292">
              <a:extLst>
                <a:ext uri="{FF2B5EF4-FFF2-40B4-BE49-F238E27FC236}">
                  <a16:creationId xmlns:a16="http://schemas.microsoft.com/office/drawing/2014/main" id="{043486E0-78CC-49FE-B681-B98660C8A230}"/>
                </a:ext>
              </a:extLst>
            </p:cNvPr>
            <p:cNvSpPr/>
            <p:nvPr/>
          </p:nvSpPr>
          <p:spPr>
            <a:xfrm>
              <a:off x="3996587" y="3859861"/>
              <a:ext cx="713233" cy="27431"/>
            </a:xfrm>
            <a:custGeom>
              <a:avLst/>
              <a:gdLst>
                <a:gd name="connsiteX0" fmla="*/ 4828 w 251038"/>
                <a:gd name="connsiteY0" fmla="*/ 4828 h 9655"/>
                <a:gd name="connsiteX1" fmla="*/ 247498 w 251038"/>
                <a:gd name="connsiteY1" fmla="*/ 4828 h 9655"/>
              </a:gdLst>
              <a:ahLst/>
              <a:cxnLst>
                <a:cxn ang="0">
                  <a:pos x="connsiteX0" y="connsiteY0"/>
                </a:cxn>
                <a:cxn ang="0">
                  <a:pos x="connsiteX1" y="connsiteY1"/>
                </a:cxn>
              </a:cxnLst>
              <a:rect l="l" t="t" r="r" b="b"/>
              <a:pathLst>
                <a:path w="251038" h="9655">
                  <a:moveTo>
                    <a:pt x="4828" y="4828"/>
                  </a:moveTo>
                  <a:lnTo>
                    <a:pt x="24749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94" name="Freeform: Shape 1293">
              <a:extLst>
                <a:ext uri="{FF2B5EF4-FFF2-40B4-BE49-F238E27FC236}">
                  <a16:creationId xmlns:a16="http://schemas.microsoft.com/office/drawing/2014/main" id="{E034D72E-99CC-4DD6-A5DF-E2C89EB47A1A}"/>
                </a:ext>
              </a:extLst>
            </p:cNvPr>
            <p:cNvSpPr/>
            <p:nvPr/>
          </p:nvSpPr>
          <p:spPr>
            <a:xfrm>
              <a:off x="3853940" y="3859861"/>
              <a:ext cx="128015" cy="27431"/>
            </a:xfrm>
            <a:custGeom>
              <a:avLst/>
              <a:gdLst>
                <a:gd name="connsiteX0" fmla="*/ 4828 w 45058"/>
                <a:gd name="connsiteY0" fmla="*/ 4828 h 9655"/>
                <a:gd name="connsiteX1" fmla="*/ 40231 w 45058"/>
                <a:gd name="connsiteY1" fmla="*/ 4828 h 9655"/>
              </a:gdLst>
              <a:ahLst/>
              <a:cxnLst>
                <a:cxn ang="0">
                  <a:pos x="connsiteX0" y="connsiteY0"/>
                </a:cxn>
                <a:cxn ang="0">
                  <a:pos x="connsiteX1" y="connsiteY1"/>
                </a:cxn>
              </a:cxnLst>
              <a:rect l="l" t="t" r="r" b="b"/>
              <a:pathLst>
                <a:path w="45058" h="9655">
                  <a:moveTo>
                    <a:pt x="4828" y="4828"/>
                  </a:moveTo>
                  <a:lnTo>
                    <a:pt x="40231"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95" name="Freeform: Shape 1294">
              <a:extLst>
                <a:ext uri="{FF2B5EF4-FFF2-40B4-BE49-F238E27FC236}">
                  <a16:creationId xmlns:a16="http://schemas.microsoft.com/office/drawing/2014/main" id="{86D5103E-B239-417E-9651-619FC3FDB884}"/>
                </a:ext>
              </a:extLst>
            </p:cNvPr>
            <p:cNvSpPr/>
            <p:nvPr/>
          </p:nvSpPr>
          <p:spPr>
            <a:xfrm>
              <a:off x="3916118" y="3450210"/>
              <a:ext cx="265176" cy="365761"/>
            </a:xfrm>
            <a:custGeom>
              <a:avLst/>
              <a:gdLst>
                <a:gd name="connsiteX0" fmla="*/ 89795 w 93334"/>
                <a:gd name="connsiteY0" fmla="*/ 126485 h 128737"/>
                <a:gd name="connsiteX1" fmla="*/ 43127 w 93334"/>
                <a:gd name="connsiteY1" fmla="*/ 29288 h 128737"/>
                <a:gd name="connsiteX2" fmla="*/ 4828 w 93334"/>
                <a:gd name="connsiteY2" fmla="*/ 4828 h 128737"/>
              </a:gdLst>
              <a:ahLst/>
              <a:cxnLst>
                <a:cxn ang="0">
                  <a:pos x="connsiteX0" y="connsiteY0"/>
                </a:cxn>
                <a:cxn ang="0">
                  <a:pos x="connsiteX1" y="connsiteY1"/>
                </a:cxn>
                <a:cxn ang="0">
                  <a:pos x="connsiteX2" y="connsiteY2"/>
                </a:cxn>
              </a:cxnLst>
              <a:rect l="l" t="t" r="r" b="b"/>
              <a:pathLst>
                <a:path w="93334" h="128737">
                  <a:moveTo>
                    <a:pt x="89795" y="126485"/>
                  </a:moveTo>
                  <a:lnTo>
                    <a:pt x="43127" y="29288"/>
                  </a:lnTo>
                  <a:cubicBezTo>
                    <a:pt x="27357" y="29288"/>
                    <a:pt x="12230" y="20276"/>
                    <a:pt x="4828" y="4828"/>
                  </a:cubicBez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96" name="Freeform: Shape 1295">
              <a:extLst>
                <a:ext uri="{FF2B5EF4-FFF2-40B4-BE49-F238E27FC236}">
                  <a16:creationId xmlns:a16="http://schemas.microsoft.com/office/drawing/2014/main" id="{AB9C27A1-45F0-4DDF-A843-F22FEAE297CB}"/>
                </a:ext>
              </a:extLst>
            </p:cNvPr>
            <p:cNvSpPr/>
            <p:nvPr/>
          </p:nvSpPr>
          <p:spPr>
            <a:xfrm>
              <a:off x="3904197" y="3276444"/>
              <a:ext cx="338327" cy="429768"/>
            </a:xfrm>
            <a:custGeom>
              <a:avLst/>
              <a:gdLst>
                <a:gd name="connsiteX0" fmla="*/ 9024 w 119082"/>
                <a:gd name="connsiteY0" fmla="*/ 66310 h 151266"/>
                <a:gd name="connsiteX1" fmla="*/ 17714 w 119082"/>
                <a:gd name="connsiteY1" fmla="*/ 17068 h 151266"/>
                <a:gd name="connsiteX2" fmla="*/ 32841 w 119082"/>
                <a:gd name="connsiteY2" fmla="*/ 48609 h 151266"/>
                <a:gd name="connsiteX3" fmla="*/ 57945 w 119082"/>
                <a:gd name="connsiteY3" fmla="*/ 36701 h 151266"/>
                <a:gd name="connsiteX4" fmla="*/ 42818 w 119082"/>
                <a:gd name="connsiteY4" fmla="*/ 5160 h 151266"/>
                <a:gd name="connsiteX5" fmla="*/ 86589 w 119082"/>
                <a:gd name="connsiteY5" fmla="*/ 29298 h 151266"/>
                <a:gd name="connsiteX6" fmla="*/ 81761 w 119082"/>
                <a:gd name="connsiteY6" fmla="*/ 74356 h 151266"/>
                <a:gd name="connsiteX7" fmla="*/ 116520 w 119082"/>
                <a:gd name="connsiteY7" fmla="*/ 146771 h 151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082" h="151266">
                  <a:moveTo>
                    <a:pt x="9024" y="66310"/>
                  </a:moveTo>
                  <a:cubicBezTo>
                    <a:pt x="978" y="49253"/>
                    <a:pt x="4840" y="29620"/>
                    <a:pt x="17714" y="17068"/>
                  </a:cubicBezTo>
                  <a:lnTo>
                    <a:pt x="32841" y="48609"/>
                  </a:lnTo>
                  <a:lnTo>
                    <a:pt x="57945" y="36701"/>
                  </a:lnTo>
                  <a:lnTo>
                    <a:pt x="42818" y="5160"/>
                  </a:lnTo>
                  <a:cubicBezTo>
                    <a:pt x="60519" y="2907"/>
                    <a:pt x="78543" y="12240"/>
                    <a:pt x="86589" y="29298"/>
                  </a:cubicBezTo>
                  <a:cubicBezTo>
                    <a:pt x="93991" y="44425"/>
                    <a:pt x="91416" y="62126"/>
                    <a:pt x="81761" y="74356"/>
                  </a:cubicBezTo>
                  <a:lnTo>
                    <a:pt x="116520" y="146771"/>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97" name="Freeform: Shape 1296">
              <a:extLst>
                <a:ext uri="{FF2B5EF4-FFF2-40B4-BE49-F238E27FC236}">
                  <a16:creationId xmlns:a16="http://schemas.microsoft.com/office/drawing/2014/main" id="{E44E9B24-2C05-4100-8A8D-3B7B1B2C0292}"/>
                </a:ext>
              </a:extLst>
            </p:cNvPr>
            <p:cNvSpPr/>
            <p:nvPr/>
          </p:nvSpPr>
          <p:spPr>
            <a:xfrm>
              <a:off x="4812231" y="3246655"/>
              <a:ext cx="210311" cy="438911"/>
            </a:xfrm>
            <a:custGeom>
              <a:avLst/>
              <a:gdLst>
                <a:gd name="connsiteX0" fmla="*/ 25104 w 74024"/>
                <a:gd name="connsiteY0" fmla="*/ 54266 h 154485"/>
                <a:gd name="connsiteX1" fmla="*/ 24138 w 74024"/>
                <a:gd name="connsiteY1" fmla="*/ 48794 h 154485"/>
                <a:gd name="connsiteX2" fmla="*/ 53426 w 74024"/>
                <a:gd name="connsiteY2" fmla="*/ 7598 h 154485"/>
                <a:gd name="connsiteX3" fmla="*/ 58898 w 74024"/>
                <a:gd name="connsiteY3" fmla="*/ 5023 h 154485"/>
                <a:gd name="connsiteX4" fmla="*/ 67265 w 74024"/>
                <a:gd name="connsiteY4" fmla="*/ 7920 h 154485"/>
                <a:gd name="connsiteX5" fmla="*/ 70162 w 74024"/>
                <a:gd name="connsiteY5" fmla="*/ 13391 h 154485"/>
                <a:gd name="connsiteX6" fmla="*/ 68231 w 74024"/>
                <a:gd name="connsiteY6" fmla="*/ 63599 h 154485"/>
                <a:gd name="connsiteX7" fmla="*/ 64047 w 74024"/>
                <a:gd name="connsiteY7" fmla="*/ 67461 h 154485"/>
                <a:gd name="connsiteX8" fmla="*/ 53426 w 74024"/>
                <a:gd name="connsiteY8" fmla="*/ 68749 h 154485"/>
                <a:gd name="connsiteX9" fmla="*/ 25426 w 74024"/>
                <a:gd name="connsiteY9" fmla="*/ 150497 h 154485"/>
                <a:gd name="connsiteX10" fmla="*/ 4828 w 74024"/>
                <a:gd name="connsiteY10" fmla="*/ 143417 h 154485"/>
                <a:gd name="connsiteX11" fmla="*/ 32828 w 74024"/>
                <a:gd name="connsiteY11" fmla="*/ 61668 h 154485"/>
                <a:gd name="connsiteX12" fmla="*/ 25104 w 74024"/>
                <a:gd name="connsiteY12" fmla="*/ 54266 h 15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024" h="154485">
                  <a:moveTo>
                    <a:pt x="25104" y="54266"/>
                  </a:moveTo>
                  <a:cubicBezTo>
                    <a:pt x="24138" y="53300"/>
                    <a:pt x="23173" y="51047"/>
                    <a:pt x="24138" y="48794"/>
                  </a:cubicBezTo>
                  <a:lnTo>
                    <a:pt x="53426" y="7598"/>
                  </a:lnTo>
                  <a:cubicBezTo>
                    <a:pt x="54392" y="5345"/>
                    <a:pt x="56645" y="4380"/>
                    <a:pt x="58898" y="5023"/>
                  </a:cubicBezTo>
                  <a:lnTo>
                    <a:pt x="67265" y="7920"/>
                  </a:lnTo>
                  <a:cubicBezTo>
                    <a:pt x="69518" y="8564"/>
                    <a:pt x="70806" y="11138"/>
                    <a:pt x="70162" y="13391"/>
                  </a:cubicBezTo>
                  <a:lnTo>
                    <a:pt x="68231" y="63599"/>
                  </a:lnTo>
                  <a:cubicBezTo>
                    <a:pt x="67587" y="66174"/>
                    <a:pt x="65334" y="67461"/>
                    <a:pt x="64047" y="67461"/>
                  </a:cubicBezTo>
                  <a:cubicBezTo>
                    <a:pt x="61472" y="67461"/>
                    <a:pt x="54070" y="66174"/>
                    <a:pt x="53426" y="68749"/>
                  </a:cubicBezTo>
                  <a:lnTo>
                    <a:pt x="25426" y="150497"/>
                  </a:lnTo>
                  <a:lnTo>
                    <a:pt x="4828" y="143417"/>
                  </a:lnTo>
                  <a:lnTo>
                    <a:pt x="32828" y="61668"/>
                  </a:lnTo>
                  <a:cubicBezTo>
                    <a:pt x="33794" y="59093"/>
                    <a:pt x="27035" y="55553"/>
                    <a:pt x="25104" y="54266"/>
                  </a:cubicBezTo>
                  <a:close/>
                </a:path>
              </a:pathLst>
            </a:custGeom>
            <a:ln w="12700" cap="flat">
              <a:solidFill>
                <a:srgbClr val="FDC500"/>
              </a:solidFill>
              <a:prstDash val="solid"/>
              <a:round/>
            </a:ln>
          </p:spPr>
          <p:txBody>
            <a:bodyPr rtlCol="0" anchor="ctr"/>
            <a:lstStyle/>
            <a:p>
              <a:pPr defTabSz="731504">
                <a:defRPr/>
              </a:pPr>
              <a:endParaRPr lang="en-US" sz="1800" dirty="0">
                <a:solidFill>
                  <a:srgbClr val="FFFFFF"/>
                </a:solidFill>
              </a:endParaRPr>
            </a:p>
          </p:txBody>
        </p:sp>
        <p:sp>
          <p:nvSpPr>
            <p:cNvPr id="1298" name="Freeform: Shape 1297">
              <a:extLst>
                <a:ext uri="{FF2B5EF4-FFF2-40B4-BE49-F238E27FC236}">
                  <a16:creationId xmlns:a16="http://schemas.microsoft.com/office/drawing/2014/main" id="{C7C268BF-A930-4321-986D-94CA52B36614}"/>
                </a:ext>
              </a:extLst>
            </p:cNvPr>
            <p:cNvSpPr/>
            <p:nvPr/>
          </p:nvSpPr>
          <p:spPr>
            <a:xfrm>
              <a:off x="4714391" y="3630713"/>
              <a:ext cx="219457" cy="182880"/>
            </a:xfrm>
            <a:custGeom>
              <a:avLst/>
              <a:gdLst>
                <a:gd name="connsiteX0" fmla="*/ 61472 w 77242"/>
                <a:gd name="connsiteY0" fmla="*/ 60700 h 64368"/>
                <a:gd name="connsiteX1" fmla="*/ 73702 w 77242"/>
                <a:gd name="connsiteY1" fmla="*/ 24975 h 64368"/>
                <a:gd name="connsiteX2" fmla="*/ 70806 w 77242"/>
                <a:gd name="connsiteY2" fmla="*/ 19182 h 64368"/>
                <a:gd name="connsiteX3" fmla="*/ 28644 w 77242"/>
                <a:gd name="connsiteY3" fmla="*/ 5021 h 64368"/>
                <a:gd name="connsiteX4" fmla="*/ 22851 w 77242"/>
                <a:gd name="connsiteY4" fmla="*/ 7917 h 64368"/>
                <a:gd name="connsiteX5" fmla="*/ 4828 w 77242"/>
                <a:gd name="connsiteY5" fmla="*/ 61022 h 64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242" h="64368">
                  <a:moveTo>
                    <a:pt x="61472" y="60700"/>
                  </a:moveTo>
                  <a:lnTo>
                    <a:pt x="73702" y="24975"/>
                  </a:lnTo>
                  <a:cubicBezTo>
                    <a:pt x="74668" y="22722"/>
                    <a:pt x="73381" y="20147"/>
                    <a:pt x="70806" y="19182"/>
                  </a:cubicBezTo>
                  <a:lnTo>
                    <a:pt x="28644" y="5021"/>
                  </a:lnTo>
                  <a:cubicBezTo>
                    <a:pt x="26391" y="4377"/>
                    <a:pt x="23816" y="5343"/>
                    <a:pt x="22851" y="7917"/>
                  </a:cubicBezTo>
                  <a:lnTo>
                    <a:pt x="4828" y="61022"/>
                  </a:lnTo>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1299" name="Freeform: Shape 1298">
              <a:extLst>
                <a:ext uri="{FF2B5EF4-FFF2-40B4-BE49-F238E27FC236}">
                  <a16:creationId xmlns:a16="http://schemas.microsoft.com/office/drawing/2014/main" id="{E70DE8B2-1043-479E-BA1E-53DC6A2863D5}"/>
                </a:ext>
              </a:extLst>
            </p:cNvPr>
            <p:cNvSpPr/>
            <p:nvPr/>
          </p:nvSpPr>
          <p:spPr>
            <a:xfrm>
              <a:off x="4592984" y="3105690"/>
              <a:ext cx="128015" cy="155449"/>
            </a:xfrm>
            <a:custGeom>
              <a:avLst/>
              <a:gdLst>
                <a:gd name="connsiteX0" fmla="*/ 13444 w 45058"/>
                <a:gd name="connsiteY0" fmla="*/ 46916 h 54713"/>
                <a:gd name="connsiteX1" fmla="*/ 31467 w 45058"/>
                <a:gd name="connsiteY1" fmla="*/ 50778 h 54713"/>
                <a:gd name="connsiteX2" fmla="*/ 40479 w 45058"/>
                <a:gd name="connsiteY2" fmla="*/ 8938 h 54713"/>
                <a:gd name="connsiteX3" fmla="*/ 22455 w 45058"/>
                <a:gd name="connsiteY3" fmla="*/ 5076 h 54713"/>
                <a:gd name="connsiteX4" fmla="*/ 9582 w 45058"/>
                <a:gd name="connsiteY4" fmla="*/ 13444 h 54713"/>
                <a:gd name="connsiteX5" fmla="*/ 5076 w 45058"/>
                <a:gd name="connsiteY5" fmla="*/ 34042 h 54713"/>
                <a:gd name="connsiteX6" fmla="*/ 13444 w 45058"/>
                <a:gd name="connsiteY6" fmla="*/ 46916 h 5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58" h="54713">
                  <a:moveTo>
                    <a:pt x="13444" y="46916"/>
                  </a:moveTo>
                  <a:lnTo>
                    <a:pt x="31467" y="50778"/>
                  </a:lnTo>
                  <a:lnTo>
                    <a:pt x="40479" y="8938"/>
                  </a:lnTo>
                  <a:lnTo>
                    <a:pt x="22455" y="5076"/>
                  </a:lnTo>
                  <a:cubicBezTo>
                    <a:pt x="16662" y="3788"/>
                    <a:pt x="10869" y="7650"/>
                    <a:pt x="9582" y="13444"/>
                  </a:cubicBezTo>
                  <a:lnTo>
                    <a:pt x="5076" y="34042"/>
                  </a:lnTo>
                  <a:cubicBezTo>
                    <a:pt x="3788" y="39835"/>
                    <a:pt x="7651" y="45628"/>
                    <a:pt x="13444" y="46916"/>
                  </a:cubicBezTo>
                  <a:close/>
                </a:path>
              </a:pathLst>
            </a:custGeom>
            <a:ln w="12700" cap="flat">
              <a:solidFill>
                <a:srgbClr val="FDC500"/>
              </a:solidFill>
              <a:prstDash val="solid"/>
              <a:round/>
            </a:ln>
          </p:spPr>
          <p:txBody>
            <a:bodyPr rtlCol="0" anchor="ctr"/>
            <a:lstStyle/>
            <a:p>
              <a:pPr defTabSz="731504">
                <a:defRPr/>
              </a:pPr>
              <a:endParaRPr lang="en-US" sz="1800" dirty="0">
                <a:solidFill>
                  <a:srgbClr val="FFFFFF"/>
                </a:solidFill>
              </a:endParaRPr>
            </a:p>
          </p:txBody>
        </p:sp>
      </p:grpSp>
      <p:grpSp>
        <p:nvGrpSpPr>
          <p:cNvPr id="1246" name="Group 1245">
            <a:extLst>
              <a:ext uri="{FF2B5EF4-FFF2-40B4-BE49-F238E27FC236}">
                <a16:creationId xmlns:a16="http://schemas.microsoft.com/office/drawing/2014/main" id="{C7F2B785-5CE2-4DA2-A3C8-65A01D400EEC}"/>
              </a:ext>
            </a:extLst>
          </p:cNvPr>
          <p:cNvGrpSpPr>
            <a:grpSpLocks noChangeAspect="1"/>
          </p:cNvGrpSpPr>
          <p:nvPr/>
        </p:nvGrpSpPr>
        <p:grpSpPr>
          <a:xfrm>
            <a:off x="11766887" y="2293291"/>
            <a:ext cx="312777" cy="265176"/>
            <a:chOff x="1251736" y="3105936"/>
            <a:chExt cx="1189635" cy="1008586"/>
          </a:xfrm>
        </p:grpSpPr>
        <p:sp>
          <p:nvSpPr>
            <p:cNvPr id="1247" name="Freeform: Shape 1246">
              <a:extLst>
                <a:ext uri="{FF2B5EF4-FFF2-40B4-BE49-F238E27FC236}">
                  <a16:creationId xmlns:a16="http://schemas.microsoft.com/office/drawing/2014/main" id="{F7F698FC-6A9B-4593-8D49-22FE52A4F376}"/>
                </a:ext>
              </a:extLst>
            </p:cNvPr>
            <p:cNvSpPr/>
            <p:nvPr/>
          </p:nvSpPr>
          <p:spPr>
            <a:xfrm>
              <a:off x="1382496" y="3573196"/>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48" name="Freeform: Shape 1247">
              <a:extLst>
                <a:ext uri="{FF2B5EF4-FFF2-40B4-BE49-F238E27FC236}">
                  <a16:creationId xmlns:a16="http://schemas.microsoft.com/office/drawing/2014/main" id="{B8D12663-9E01-4641-805D-69F8815CD62E}"/>
                </a:ext>
              </a:extLst>
            </p:cNvPr>
            <p:cNvSpPr/>
            <p:nvPr/>
          </p:nvSpPr>
          <p:spPr>
            <a:xfrm>
              <a:off x="1622983" y="3573196"/>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49" name="Freeform: Shape 1248">
              <a:extLst>
                <a:ext uri="{FF2B5EF4-FFF2-40B4-BE49-F238E27FC236}">
                  <a16:creationId xmlns:a16="http://schemas.microsoft.com/office/drawing/2014/main" id="{EF33B310-820D-4975-A1B2-964938A3A982}"/>
                </a:ext>
              </a:extLst>
            </p:cNvPr>
            <p:cNvSpPr/>
            <p:nvPr/>
          </p:nvSpPr>
          <p:spPr>
            <a:xfrm>
              <a:off x="1864384" y="3573196"/>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50" name="Freeform: Shape 1249">
              <a:extLst>
                <a:ext uri="{FF2B5EF4-FFF2-40B4-BE49-F238E27FC236}">
                  <a16:creationId xmlns:a16="http://schemas.microsoft.com/office/drawing/2014/main" id="{CE229D57-3D1E-4CBB-8D8A-D12B4AA5D462}"/>
                </a:ext>
              </a:extLst>
            </p:cNvPr>
            <p:cNvSpPr/>
            <p:nvPr/>
          </p:nvSpPr>
          <p:spPr>
            <a:xfrm>
              <a:off x="2105786" y="3573196"/>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51" name="Freeform: Shape 1250">
              <a:extLst>
                <a:ext uri="{FF2B5EF4-FFF2-40B4-BE49-F238E27FC236}">
                  <a16:creationId xmlns:a16="http://schemas.microsoft.com/office/drawing/2014/main" id="{688F6A85-5202-4A6F-B735-8C33613157C2}"/>
                </a:ext>
              </a:extLst>
            </p:cNvPr>
            <p:cNvSpPr/>
            <p:nvPr/>
          </p:nvSpPr>
          <p:spPr>
            <a:xfrm>
              <a:off x="2037207" y="3180004"/>
              <a:ext cx="283465" cy="27431"/>
            </a:xfrm>
            <a:custGeom>
              <a:avLst/>
              <a:gdLst>
                <a:gd name="connsiteX0" fmla="*/ 94944 w 99771"/>
                <a:gd name="connsiteY0" fmla="*/ 4828 h 9655"/>
                <a:gd name="connsiteX1" fmla="*/ 4828 w 99771"/>
                <a:gd name="connsiteY1" fmla="*/ 4828 h 9655"/>
              </a:gdLst>
              <a:ahLst/>
              <a:cxnLst>
                <a:cxn ang="0">
                  <a:pos x="connsiteX0" y="connsiteY0"/>
                </a:cxn>
                <a:cxn ang="0">
                  <a:pos x="connsiteX1" y="connsiteY1"/>
                </a:cxn>
              </a:cxnLst>
              <a:rect l="l" t="t" r="r" b="b"/>
              <a:pathLst>
                <a:path w="99771" h="9655">
                  <a:moveTo>
                    <a:pt x="94944"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52" name="Freeform: Shape 1251">
              <a:extLst>
                <a:ext uri="{FF2B5EF4-FFF2-40B4-BE49-F238E27FC236}">
                  <a16:creationId xmlns:a16="http://schemas.microsoft.com/office/drawing/2014/main" id="{F96DD8D8-1675-489C-94FD-7F89FB47C4D8}"/>
                </a:ext>
              </a:extLst>
            </p:cNvPr>
            <p:cNvSpPr/>
            <p:nvPr/>
          </p:nvSpPr>
          <p:spPr>
            <a:xfrm>
              <a:off x="1718081" y="3180004"/>
              <a:ext cx="283465" cy="27431"/>
            </a:xfrm>
            <a:custGeom>
              <a:avLst/>
              <a:gdLst>
                <a:gd name="connsiteX0" fmla="*/ 95588 w 99771"/>
                <a:gd name="connsiteY0" fmla="*/ 4828 h 9655"/>
                <a:gd name="connsiteX1" fmla="*/ 4828 w 99771"/>
                <a:gd name="connsiteY1" fmla="*/ 5150 h 9655"/>
              </a:gdLst>
              <a:ahLst/>
              <a:cxnLst>
                <a:cxn ang="0">
                  <a:pos x="connsiteX0" y="connsiteY0"/>
                </a:cxn>
                <a:cxn ang="0">
                  <a:pos x="connsiteX1" y="connsiteY1"/>
                </a:cxn>
              </a:cxnLst>
              <a:rect l="l" t="t" r="r" b="b"/>
              <a:pathLst>
                <a:path w="99771" h="9655">
                  <a:moveTo>
                    <a:pt x="95588" y="4828"/>
                  </a:moveTo>
                  <a:lnTo>
                    <a:pt x="4828" y="5150"/>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53" name="Freeform: Shape 1252">
              <a:extLst>
                <a:ext uri="{FF2B5EF4-FFF2-40B4-BE49-F238E27FC236}">
                  <a16:creationId xmlns:a16="http://schemas.microsoft.com/office/drawing/2014/main" id="{FE73CD9E-2D12-49FF-9B9B-22B9FC5E0AC0}"/>
                </a:ext>
              </a:extLst>
            </p:cNvPr>
            <p:cNvSpPr/>
            <p:nvPr/>
          </p:nvSpPr>
          <p:spPr>
            <a:xfrm>
              <a:off x="1252651" y="3180004"/>
              <a:ext cx="1188720" cy="155449"/>
            </a:xfrm>
            <a:custGeom>
              <a:avLst/>
              <a:gdLst>
                <a:gd name="connsiteX0" fmla="*/ 392650 w 418397"/>
                <a:gd name="connsiteY0" fmla="*/ 4828 h 54713"/>
                <a:gd name="connsiteX1" fmla="*/ 406811 w 418397"/>
                <a:gd name="connsiteY1" fmla="*/ 4828 h 54713"/>
                <a:gd name="connsiteX2" fmla="*/ 415501 w 418397"/>
                <a:gd name="connsiteY2" fmla="*/ 13517 h 54713"/>
                <a:gd name="connsiteX3" fmla="*/ 415501 w 418397"/>
                <a:gd name="connsiteY3" fmla="*/ 50530 h 54713"/>
                <a:gd name="connsiteX4" fmla="*/ 4828 w 418397"/>
                <a:gd name="connsiteY4" fmla="*/ 50851 h 54713"/>
                <a:gd name="connsiteX5" fmla="*/ 4828 w 418397"/>
                <a:gd name="connsiteY5" fmla="*/ 13839 h 54713"/>
                <a:gd name="connsiteX6" fmla="*/ 13517 w 418397"/>
                <a:gd name="connsiteY6" fmla="*/ 5150 h 54713"/>
                <a:gd name="connsiteX7" fmla="*/ 35725 w 418397"/>
                <a:gd name="connsiteY7" fmla="*/ 5150 h 5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8397" h="54713">
                  <a:moveTo>
                    <a:pt x="392650" y="4828"/>
                  </a:moveTo>
                  <a:lnTo>
                    <a:pt x="406811" y="4828"/>
                  </a:lnTo>
                  <a:cubicBezTo>
                    <a:pt x="411639" y="4828"/>
                    <a:pt x="415501" y="8690"/>
                    <a:pt x="415501" y="13517"/>
                  </a:cubicBezTo>
                  <a:lnTo>
                    <a:pt x="415501" y="50530"/>
                  </a:lnTo>
                  <a:lnTo>
                    <a:pt x="4828" y="50851"/>
                  </a:lnTo>
                  <a:lnTo>
                    <a:pt x="4828" y="13839"/>
                  </a:lnTo>
                  <a:cubicBezTo>
                    <a:pt x="4828" y="9012"/>
                    <a:pt x="8690" y="5150"/>
                    <a:pt x="13517" y="5150"/>
                  </a:cubicBezTo>
                  <a:lnTo>
                    <a:pt x="35725" y="5150"/>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54" name="Freeform: Shape 1253">
              <a:extLst>
                <a:ext uri="{FF2B5EF4-FFF2-40B4-BE49-F238E27FC236}">
                  <a16:creationId xmlns:a16="http://schemas.microsoft.com/office/drawing/2014/main" id="{82EFD655-A113-4383-AD26-5DC272634450}"/>
                </a:ext>
              </a:extLst>
            </p:cNvPr>
            <p:cNvSpPr/>
            <p:nvPr/>
          </p:nvSpPr>
          <p:spPr>
            <a:xfrm>
              <a:off x="1400784" y="3180919"/>
              <a:ext cx="283465" cy="27431"/>
            </a:xfrm>
            <a:custGeom>
              <a:avLst/>
              <a:gdLst>
                <a:gd name="connsiteX0" fmla="*/ 95266 w 99771"/>
                <a:gd name="connsiteY0" fmla="*/ 4828 h 9655"/>
                <a:gd name="connsiteX1" fmla="*/ 4828 w 99771"/>
                <a:gd name="connsiteY1" fmla="*/ 4828 h 9655"/>
              </a:gdLst>
              <a:ahLst/>
              <a:cxnLst>
                <a:cxn ang="0">
                  <a:pos x="connsiteX0" y="connsiteY0"/>
                </a:cxn>
                <a:cxn ang="0">
                  <a:pos x="connsiteX1" y="connsiteY1"/>
                </a:cxn>
              </a:cxnLst>
              <a:rect l="l" t="t" r="r" b="b"/>
              <a:pathLst>
                <a:path w="99771" h="9655">
                  <a:moveTo>
                    <a:pt x="95266"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55" name="Freeform: Shape 1254">
              <a:extLst>
                <a:ext uri="{FF2B5EF4-FFF2-40B4-BE49-F238E27FC236}">
                  <a16:creationId xmlns:a16="http://schemas.microsoft.com/office/drawing/2014/main" id="{A8A2A669-2C2A-4530-9205-6CCC7B02D172}"/>
                </a:ext>
              </a:extLst>
            </p:cNvPr>
            <p:cNvSpPr/>
            <p:nvPr/>
          </p:nvSpPr>
          <p:spPr>
            <a:xfrm>
              <a:off x="1339518" y="3105936"/>
              <a:ext cx="27431" cy="164592"/>
            </a:xfrm>
            <a:custGeom>
              <a:avLst/>
              <a:gdLst>
                <a:gd name="connsiteX0" fmla="*/ 4828 w 9655"/>
                <a:gd name="connsiteY0" fmla="*/ 55679 h 57932"/>
                <a:gd name="connsiteX1" fmla="*/ 4828 w 9655"/>
                <a:gd name="connsiteY1" fmla="*/ 4828 h 57932"/>
              </a:gdLst>
              <a:ahLst/>
              <a:cxnLst>
                <a:cxn ang="0">
                  <a:pos x="connsiteX0" y="connsiteY0"/>
                </a:cxn>
                <a:cxn ang="0">
                  <a:pos x="connsiteX1" y="connsiteY1"/>
                </a:cxn>
              </a:cxnLst>
              <a:rect l="l" t="t" r="r" b="b"/>
              <a:pathLst>
                <a:path w="9655" h="57932">
                  <a:moveTo>
                    <a:pt x="4828" y="55679"/>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56" name="Freeform: Shape 1255">
              <a:extLst>
                <a:ext uri="{FF2B5EF4-FFF2-40B4-BE49-F238E27FC236}">
                  <a16:creationId xmlns:a16="http://schemas.microsoft.com/office/drawing/2014/main" id="{76F19EC4-3DD8-4E75-989D-1C29EC173E5C}"/>
                </a:ext>
              </a:extLst>
            </p:cNvPr>
            <p:cNvSpPr/>
            <p:nvPr/>
          </p:nvSpPr>
          <p:spPr>
            <a:xfrm>
              <a:off x="1657730" y="3105936"/>
              <a:ext cx="27431" cy="164592"/>
            </a:xfrm>
            <a:custGeom>
              <a:avLst/>
              <a:gdLst>
                <a:gd name="connsiteX0" fmla="*/ 4828 w 9655"/>
                <a:gd name="connsiteY0" fmla="*/ 55679 h 57932"/>
                <a:gd name="connsiteX1" fmla="*/ 4828 w 9655"/>
                <a:gd name="connsiteY1" fmla="*/ 4828 h 57932"/>
              </a:gdLst>
              <a:ahLst/>
              <a:cxnLst>
                <a:cxn ang="0">
                  <a:pos x="connsiteX0" y="connsiteY0"/>
                </a:cxn>
                <a:cxn ang="0">
                  <a:pos x="connsiteX1" y="connsiteY1"/>
                </a:cxn>
              </a:cxnLst>
              <a:rect l="l" t="t" r="r" b="b"/>
              <a:pathLst>
                <a:path w="9655" h="57932">
                  <a:moveTo>
                    <a:pt x="4828" y="55679"/>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57" name="Freeform: Shape 1256">
              <a:extLst>
                <a:ext uri="{FF2B5EF4-FFF2-40B4-BE49-F238E27FC236}">
                  <a16:creationId xmlns:a16="http://schemas.microsoft.com/office/drawing/2014/main" id="{067AFBBD-CB34-4CB6-A3E1-B0196572204E}"/>
                </a:ext>
              </a:extLst>
            </p:cNvPr>
            <p:cNvSpPr/>
            <p:nvPr/>
          </p:nvSpPr>
          <p:spPr>
            <a:xfrm>
              <a:off x="2293238" y="3105936"/>
              <a:ext cx="27431" cy="164592"/>
            </a:xfrm>
            <a:custGeom>
              <a:avLst/>
              <a:gdLst>
                <a:gd name="connsiteX0" fmla="*/ 4828 w 9655"/>
                <a:gd name="connsiteY0" fmla="*/ 55679 h 57932"/>
                <a:gd name="connsiteX1" fmla="*/ 4828 w 9655"/>
                <a:gd name="connsiteY1" fmla="*/ 4828 h 57932"/>
              </a:gdLst>
              <a:ahLst/>
              <a:cxnLst>
                <a:cxn ang="0">
                  <a:pos x="connsiteX0" y="connsiteY0"/>
                </a:cxn>
                <a:cxn ang="0">
                  <a:pos x="connsiteX1" y="connsiteY1"/>
                </a:cxn>
              </a:cxnLst>
              <a:rect l="l" t="t" r="r" b="b"/>
              <a:pathLst>
                <a:path w="9655" h="57932">
                  <a:moveTo>
                    <a:pt x="4828" y="55679"/>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58" name="Freeform: Shape 1257">
              <a:extLst>
                <a:ext uri="{FF2B5EF4-FFF2-40B4-BE49-F238E27FC236}">
                  <a16:creationId xmlns:a16="http://schemas.microsoft.com/office/drawing/2014/main" id="{EE0C4A2A-4B8D-4828-88E6-791446F72CEF}"/>
                </a:ext>
              </a:extLst>
            </p:cNvPr>
            <p:cNvSpPr/>
            <p:nvPr/>
          </p:nvSpPr>
          <p:spPr>
            <a:xfrm>
              <a:off x="1975941" y="3105936"/>
              <a:ext cx="27431" cy="164592"/>
            </a:xfrm>
            <a:custGeom>
              <a:avLst/>
              <a:gdLst>
                <a:gd name="connsiteX0" fmla="*/ 4828 w 9655"/>
                <a:gd name="connsiteY0" fmla="*/ 55679 h 57932"/>
                <a:gd name="connsiteX1" fmla="*/ 4828 w 9655"/>
                <a:gd name="connsiteY1" fmla="*/ 4828 h 57932"/>
              </a:gdLst>
              <a:ahLst/>
              <a:cxnLst>
                <a:cxn ang="0">
                  <a:pos x="connsiteX0" y="connsiteY0"/>
                </a:cxn>
                <a:cxn ang="0">
                  <a:pos x="connsiteX1" y="connsiteY1"/>
                </a:cxn>
              </a:cxnLst>
              <a:rect l="l" t="t" r="r" b="b"/>
              <a:pathLst>
                <a:path w="9655" h="57932">
                  <a:moveTo>
                    <a:pt x="4828" y="55679"/>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59" name="Freeform: Shape 1258">
              <a:extLst>
                <a:ext uri="{FF2B5EF4-FFF2-40B4-BE49-F238E27FC236}">
                  <a16:creationId xmlns:a16="http://schemas.microsoft.com/office/drawing/2014/main" id="{7F4090E3-5D23-4ABE-8058-3BDF233A1318}"/>
                </a:ext>
              </a:extLst>
            </p:cNvPr>
            <p:cNvSpPr/>
            <p:nvPr/>
          </p:nvSpPr>
          <p:spPr>
            <a:xfrm>
              <a:off x="1382496" y="3759733"/>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60" name="Freeform: Shape 1259">
              <a:extLst>
                <a:ext uri="{FF2B5EF4-FFF2-40B4-BE49-F238E27FC236}">
                  <a16:creationId xmlns:a16="http://schemas.microsoft.com/office/drawing/2014/main" id="{0E1CB03A-BE81-4E60-9ECB-92822041BFFA}"/>
                </a:ext>
              </a:extLst>
            </p:cNvPr>
            <p:cNvSpPr/>
            <p:nvPr/>
          </p:nvSpPr>
          <p:spPr>
            <a:xfrm>
              <a:off x="1622983" y="3759733"/>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61" name="Freeform: Shape 1260">
              <a:extLst>
                <a:ext uri="{FF2B5EF4-FFF2-40B4-BE49-F238E27FC236}">
                  <a16:creationId xmlns:a16="http://schemas.microsoft.com/office/drawing/2014/main" id="{CA28400B-4229-41F0-B80D-36C90C9EAAC5}"/>
                </a:ext>
              </a:extLst>
            </p:cNvPr>
            <p:cNvSpPr/>
            <p:nvPr/>
          </p:nvSpPr>
          <p:spPr>
            <a:xfrm>
              <a:off x="1864384" y="3759733"/>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62" name="Freeform: Shape 1261">
              <a:extLst>
                <a:ext uri="{FF2B5EF4-FFF2-40B4-BE49-F238E27FC236}">
                  <a16:creationId xmlns:a16="http://schemas.microsoft.com/office/drawing/2014/main" id="{EEFF08E0-0666-4ABC-8DC6-42C73AA2B751}"/>
                </a:ext>
              </a:extLst>
            </p:cNvPr>
            <p:cNvSpPr/>
            <p:nvPr/>
          </p:nvSpPr>
          <p:spPr>
            <a:xfrm>
              <a:off x="2105786" y="3759733"/>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63" name="Freeform: Shape 1262">
              <a:extLst>
                <a:ext uri="{FF2B5EF4-FFF2-40B4-BE49-F238E27FC236}">
                  <a16:creationId xmlns:a16="http://schemas.microsoft.com/office/drawing/2014/main" id="{CD73442D-B471-40DB-ACF2-1F836D44D919}"/>
                </a:ext>
              </a:extLst>
            </p:cNvPr>
            <p:cNvSpPr/>
            <p:nvPr/>
          </p:nvSpPr>
          <p:spPr>
            <a:xfrm>
              <a:off x="1382496" y="3935297"/>
              <a:ext cx="210311" cy="27431"/>
            </a:xfrm>
            <a:custGeom>
              <a:avLst/>
              <a:gdLst>
                <a:gd name="connsiteX0" fmla="*/ 69518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518"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64" name="Freeform: Shape 1263">
              <a:extLst>
                <a:ext uri="{FF2B5EF4-FFF2-40B4-BE49-F238E27FC236}">
                  <a16:creationId xmlns:a16="http://schemas.microsoft.com/office/drawing/2014/main" id="{6C672AAC-9FAC-4D5D-BA49-5B19C4E55BA2}"/>
                </a:ext>
              </a:extLst>
            </p:cNvPr>
            <p:cNvSpPr/>
            <p:nvPr/>
          </p:nvSpPr>
          <p:spPr>
            <a:xfrm>
              <a:off x="1622983" y="3935297"/>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65" name="Freeform: Shape 1264">
              <a:extLst>
                <a:ext uri="{FF2B5EF4-FFF2-40B4-BE49-F238E27FC236}">
                  <a16:creationId xmlns:a16="http://schemas.microsoft.com/office/drawing/2014/main" id="{F5BF0426-7146-4F00-8BE3-EC14D525F0A8}"/>
                </a:ext>
              </a:extLst>
            </p:cNvPr>
            <p:cNvSpPr/>
            <p:nvPr/>
          </p:nvSpPr>
          <p:spPr>
            <a:xfrm>
              <a:off x="1864384" y="3935297"/>
              <a:ext cx="210311" cy="27431"/>
            </a:xfrm>
            <a:custGeom>
              <a:avLst/>
              <a:gdLst>
                <a:gd name="connsiteX0" fmla="*/ 69840 w 74024"/>
                <a:gd name="connsiteY0" fmla="*/ 4828 h 9655"/>
                <a:gd name="connsiteX1" fmla="*/ 4828 w 74024"/>
                <a:gd name="connsiteY1" fmla="*/ 4828 h 9655"/>
              </a:gdLst>
              <a:ahLst/>
              <a:cxnLst>
                <a:cxn ang="0">
                  <a:pos x="connsiteX0" y="connsiteY0"/>
                </a:cxn>
                <a:cxn ang="0">
                  <a:pos x="connsiteX1" y="connsiteY1"/>
                </a:cxn>
              </a:cxnLst>
              <a:rect l="l" t="t" r="r" b="b"/>
              <a:pathLst>
                <a:path w="74024" h="9655">
                  <a:moveTo>
                    <a:pt x="69840" y="4828"/>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66" name="Freeform: Shape 1265">
              <a:extLst>
                <a:ext uri="{FF2B5EF4-FFF2-40B4-BE49-F238E27FC236}">
                  <a16:creationId xmlns:a16="http://schemas.microsoft.com/office/drawing/2014/main" id="{68B5AA48-0FB8-4A97-AD9C-6B8A5A8D06A5}"/>
                </a:ext>
              </a:extLst>
            </p:cNvPr>
            <p:cNvSpPr/>
            <p:nvPr/>
          </p:nvSpPr>
          <p:spPr>
            <a:xfrm>
              <a:off x="1251736" y="3309850"/>
              <a:ext cx="1188720" cy="804672"/>
            </a:xfrm>
            <a:custGeom>
              <a:avLst/>
              <a:gdLst>
                <a:gd name="connsiteX0" fmla="*/ 5150 w 418397"/>
                <a:gd name="connsiteY0" fmla="*/ 5150 h 283223"/>
                <a:gd name="connsiteX1" fmla="*/ 415823 w 418397"/>
                <a:gd name="connsiteY1" fmla="*/ 4828 h 283223"/>
                <a:gd name="connsiteX2" fmla="*/ 415823 w 418397"/>
                <a:gd name="connsiteY2" fmla="*/ 270671 h 283223"/>
                <a:gd name="connsiteX3" fmla="*/ 407133 w 418397"/>
                <a:gd name="connsiteY3" fmla="*/ 279361 h 283223"/>
                <a:gd name="connsiteX4" fmla="*/ 13517 w 418397"/>
                <a:gd name="connsiteY4" fmla="*/ 279683 h 283223"/>
                <a:gd name="connsiteX5" fmla="*/ 4828 w 418397"/>
                <a:gd name="connsiteY5" fmla="*/ 270993 h 283223"/>
                <a:gd name="connsiteX6" fmla="*/ 4828 w 418397"/>
                <a:gd name="connsiteY6" fmla="*/ 48277 h 283223"/>
                <a:gd name="connsiteX7" fmla="*/ 35725 w 418397"/>
                <a:gd name="connsiteY7" fmla="*/ 48277 h 283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8397" h="283223">
                  <a:moveTo>
                    <a:pt x="5150" y="5150"/>
                  </a:moveTo>
                  <a:lnTo>
                    <a:pt x="415823" y="4828"/>
                  </a:lnTo>
                  <a:lnTo>
                    <a:pt x="415823" y="270671"/>
                  </a:lnTo>
                  <a:cubicBezTo>
                    <a:pt x="415823" y="275499"/>
                    <a:pt x="411961" y="279361"/>
                    <a:pt x="407133" y="279361"/>
                  </a:cubicBezTo>
                  <a:lnTo>
                    <a:pt x="13517" y="279683"/>
                  </a:lnTo>
                  <a:cubicBezTo>
                    <a:pt x="8690" y="279683"/>
                    <a:pt x="4828" y="275821"/>
                    <a:pt x="4828" y="270993"/>
                  </a:cubicBezTo>
                  <a:lnTo>
                    <a:pt x="4828" y="48277"/>
                  </a:lnTo>
                  <a:lnTo>
                    <a:pt x="35725" y="48277"/>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267" name="Freeform: Shape 1266">
              <a:extLst>
                <a:ext uri="{FF2B5EF4-FFF2-40B4-BE49-F238E27FC236}">
                  <a16:creationId xmlns:a16="http://schemas.microsoft.com/office/drawing/2014/main" id="{1ECA6C35-2988-4C58-8512-0C83267B1295}"/>
                </a:ext>
              </a:extLst>
            </p:cNvPr>
            <p:cNvSpPr/>
            <p:nvPr/>
          </p:nvSpPr>
          <p:spPr>
            <a:xfrm>
              <a:off x="2131390" y="3867633"/>
              <a:ext cx="164592" cy="164592"/>
            </a:xfrm>
            <a:custGeom>
              <a:avLst/>
              <a:gdLst>
                <a:gd name="connsiteX0" fmla="*/ 4828 w 57932"/>
                <a:gd name="connsiteY0" fmla="*/ 4828 h 57932"/>
                <a:gd name="connsiteX1" fmla="*/ 54070 w 57932"/>
                <a:gd name="connsiteY1" fmla="*/ 54070 h 57932"/>
              </a:gdLst>
              <a:ahLst/>
              <a:cxnLst>
                <a:cxn ang="0">
                  <a:pos x="connsiteX0" y="connsiteY0"/>
                </a:cxn>
                <a:cxn ang="0">
                  <a:pos x="connsiteX1" y="connsiteY1"/>
                </a:cxn>
              </a:cxnLst>
              <a:rect l="l" t="t" r="r" b="b"/>
              <a:pathLst>
                <a:path w="57932" h="57932">
                  <a:moveTo>
                    <a:pt x="4828" y="4828"/>
                  </a:moveTo>
                  <a:lnTo>
                    <a:pt x="54070" y="54070"/>
                  </a:lnTo>
                </a:path>
              </a:pathLst>
            </a:custGeom>
            <a:ln w="12700" cap="flat">
              <a:solidFill>
                <a:schemeClr val="accent2"/>
              </a:solidFill>
              <a:prstDash val="solid"/>
              <a:round/>
            </a:ln>
          </p:spPr>
          <p:txBody>
            <a:bodyPr rtlCol="0" anchor="ctr"/>
            <a:lstStyle/>
            <a:p>
              <a:pPr defTabSz="731504">
                <a:defRPr/>
              </a:pPr>
              <a:endParaRPr lang="en-US" sz="1800">
                <a:solidFill>
                  <a:srgbClr val="FFFFFF"/>
                </a:solidFill>
              </a:endParaRPr>
            </a:p>
          </p:txBody>
        </p:sp>
        <p:sp>
          <p:nvSpPr>
            <p:cNvPr id="1268" name="Freeform: Shape 1267">
              <a:extLst>
                <a:ext uri="{FF2B5EF4-FFF2-40B4-BE49-F238E27FC236}">
                  <a16:creationId xmlns:a16="http://schemas.microsoft.com/office/drawing/2014/main" id="{E5271941-CA20-4918-B1E6-87B092BF50D0}"/>
                </a:ext>
              </a:extLst>
            </p:cNvPr>
            <p:cNvSpPr/>
            <p:nvPr/>
          </p:nvSpPr>
          <p:spPr>
            <a:xfrm>
              <a:off x="2131390" y="3867633"/>
              <a:ext cx="164592" cy="164592"/>
            </a:xfrm>
            <a:custGeom>
              <a:avLst/>
              <a:gdLst>
                <a:gd name="connsiteX0" fmla="*/ 54070 w 57932"/>
                <a:gd name="connsiteY0" fmla="*/ 4828 h 57932"/>
                <a:gd name="connsiteX1" fmla="*/ 4828 w 57932"/>
                <a:gd name="connsiteY1" fmla="*/ 54392 h 57932"/>
              </a:gdLst>
              <a:ahLst/>
              <a:cxnLst>
                <a:cxn ang="0">
                  <a:pos x="connsiteX0" y="connsiteY0"/>
                </a:cxn>
                <a:cxn ang="0">
                  <a:pos x="connsiteX1" y="connsiteY1"/>
                </a:cxn>
              </a:cxnLst>
              <a:rect l="l" t="t" r="r" b="b"/>
              <a:pathLst>
                <a:path w="57932" h="57932">
                  <a:moveTo>
                    <a:pt x="54070" y="4828"/>
                  </a:moveTo>
                  <a:lnTo>
                    <a:pt x="4828" y="54392"/>
                  </a:lnTo>
                </a:path>
              </a:pathLst>
            </a:custGeom>
            <a:ln w="12700" cap="flat">
              <a:solidFill>
                <a:srgbClr val="FDC500"/>
              </a:solidFill>
              <a:prstDash val="solid"/>
              <a:round/>
            </a:ln>
          </p:spPr>
          <p:txBody>
            <a:bodyPr rtlCol="0" anchor="ctr"/>
            <a:lstStyle/>
            <a:p>
              <a:pPr defTabSz="731504">
                <a:defRPr/>
              </a:pPr>
              <a:endParaRPr lang="en-US" sz="1800" dirty="0">
                <a:solidFill>
                  <a:srgbClr val="FFFFFF"/>
                </a:solidFill>
              </a:endParaRPr>
            </a:p>
          </p:txBody>
        </p:sp>
      </p:grpSp>
      <p:grpSp>
        <p:nvGrpSpPr>
          <p:cNvPr id="642" name="Group 641">
            <a:extLst>
              <a:ext uri="{FF2B5EF4-FFF2-40B4-BE49-F238E27FC236}">
                <a16:creationId xmlns:a16="http://schemas.microsoft.com/office/drawing/2014/main" id="{075B319B-1267-4656-849E-9FC5AD461B02}"/>
              </a:ext>
            </a:extLst>
          </p:cNvPr>
          <p:cNvGrpSpPr>
            <a:grpSpLocks noChangeAspect="1"/>
          </p:cNvGrpSpPr>
          <p:nvPr/>
        </p:nvGrpSpPr>
        <p:grpSpPr>
          <a:xfrm>
            <a:off x="11112451" y="4859188"/>
            <a:ext cx="1011510" cy="755933"/>
            <a:chOff x="16128616" y="3322519"/>
            <a:chExt cx="562056" cy="420042"/>
          </a:xfrm>
        </p:grpSpPr>
        <p:sp>
          <p:nvSpPr>
            <p:cNvPr id="643" name="Freeform: Shape 642">
              <a:extLst>
                <a:ext uri="{FF2B5EF4-FFF2-40B4-BE49-F238E27FC236}">
                  <a16:creationId xmlns:a16="http://schemas.microsoft.com/office/drawing/2014/main" id="{059DD479-BBE9-433C-8529-AF26B9B8B985}"/>
                </a:ext>
              </a:extLst>
            </p:cNvPr>
            <p:cNvSpPr/>
            <p:nvPr/>
          </p:nvSpPr>
          <p:spPr>
            <a:xfrm>
              <a:off x="16494347" y="3546236"/>
              <a:ext cx="196325" cy="196325"/>
            </a:xfrm>
            <a:custGeom>
              <a:avLst/>
              <a:gdLst>
                <a:gd name="connsiteX0" fmla="*/ 23173 w 196325"/>
                <a:gd name="connsiteY0" fmla="*/ 154164 h 196325"/>
                <a:gd name="connsiteX1" fmla="*/ 27035 w 196325"/>
                <a:gd name="connsiteY1" fmla="*/ 158669 h 196325"/>
                <a:gd name="connsiteX2" fmla="*/ 30897 w 196325"/>
                <a:gd name="connsiteY2" fmla="*/ 163175 h 196325"/>
                <a:gd name="connsiteX3" fmla="*/ 34759 w 196325"/>
                <a:gd name="connsiteY3" fmla="*/ 167681 h 196325"/>
                <a:gd name="connsiteX4" fmla="*/ 60829 w 196325"/>
                <a:gd name="connsiteY4" fmla="*/ 154164 h 196325"/>
                <a:gd name="connsiteX5" fmla="*/ 79496 w 196325"/>
                <a:gd name="connsiteY5" fmla="*/ 163497 h 196325"/>
                <a:gd name="connsiteX6" fmla="*/ 84645 w 196325"/>
                <a:gd name="connsiteY6" fmla="*/ 192463 h 196325"/>
                <a:gd name="connsiteX7" fmla="*/ 90438 w 196325"/>
                <a:gd name="connsiteY7" fmla="*/ 192785 h 196325"/>
                <a:gd name="connsiteX8" fmla="*/ 96231 w 196325"/>
                <a:gd name="connsiteY8" fmla="*/ 193107 h 196325"/>
                <a:gd name="connsiteX9" fmla="*/ 102025 w 196325"/>
                <a:gd name="connsiteY9" fmla="*/ 193429 h 196325"/>
                <a:gd name="connsiteX10" fmla="*/ 111036 w 196325"/>
                <a:gd name="connsiteY10" fmla="*/ 165428 h 196325"/>
                <a:gd name="connsiteX11" fmla="*/ 130669 w 196325"/>
                <a:gd name="connsiteY11" fmla="*/ 158669 h 196325"/>
                <a:gd name="connsiteX12" fmla="*/ 154807 w 196325"/>
                <a:gd name="connsiteY12" fmla="*/ 175405 h 196325"/>
                <a:gd name="connsiteX13" fmla="*/ 159313 w 196325"/>
                <a:gd name="connsiteY13" fmla="*/ 171543 h 196325"/>
                <a:gd name="connsiteX14" fmla="*/ 163819 w 196325"/>
                <a:gd name="connsiteY14" fmla="*/ 167681 h 196325"/>
                <a:gd name="connsiteX15" fmla="*/ 168325 w 196325"/>
                <a:gd name="connsiteY15" fmla="*/ 163819 h 196325"/>
                <a:gd name="connsiteX16" fmla="*/ 154807 w 196325"/>
                <a:gd name="connsiteY16" fmla="*/ 137749 h 196325"/>
                <a:gd name="connsiteX17" fmla="*/ 164141 w 196325"/>
                <a:gd name="connsiteY17" fmla="*/ 119082 h 196325"/>
                <a:gd name="connsiteX18" fmla="*/ 193107 w 196325"/>
                <a:gd name="connsiteY18" fmla="*/ 113933 h 196325"/>
                <a:gd name="connsiteX19" fmla="*/ 193429 w 196325"/>
                <a:gd name="connsiteY19" fmla="*/ 108140 h 196325"/>
                <a:gd name="connsiteX20" fmla="*/ 193750 w 196325"/>
                <a:gd name="connsiteY20" fmla="*/ 102347 h 196325"/>
                <a:gd name="connsiteX21" fmla="*/ 194072 w 196325"/>
                <a:gd name="connsiteY21" fmla="*/ 96553 h 196325"/>
                <a:gd name="connsiteX22" fmla="*/ 166072 w 196325"/>
                <a:gd name="connsiteY22" fmla="*/ 87542 h 196325"/>
                <a:gd name="connsiteX23" fmla="*/ 159313 w 196325"/>
                <a:gd name="connsiteY23" fmla="*/ 67909 h 196325"/>
                <a:gd name="connsiteX24" fmla="*/ 176049 w 196325"/>
                <a:gd name="connsiteY24" fmla="*/ 43771 h 196325"/>
                <a:gd name="connsiteX25" fmla="*/ 172187 w 196325"/>
                <a:gd name="connsiteY25" fmla="*/ 39265 h 196325"/>
                <a:gd name="connsiteX26" fmla="*/ 168325 w 196325"/>
                <a:gd name="connsiteY26" fmla="*/ 34759 h 196325"/>
                <a:gd name="connsiteX27" fmla="*/ 164463 w 196325"/>
                <a:gd name="connsiteY27" fmla="*/ 30253 h 196325"/>
                <a:gd name="connsiteX28" fmla="*/ 138393 w 196325"/>
                <a:gd name="connsiteY28" fmla="*/ 43771 h 196325"/>
                <a:gd name="connsiteX29" fmla="*/ 119726 w 196325"/>
                <a:gd name="connsiteY29" fmla="*/ 34437 h 196325"/>
                <a:gd name="connsiteX30" fmla="*/ 114577 w 196325"/>
                <a:gd name="connsiteY30" fmla="*/ 5793 h 196325"/>
                <a:gd name="connsiteX31" fmla="*/ 108783 w 196325"/>
                <a:gd name="connsiteY31" fmla="*/ 5471 h 196325"/>
                <a:gd name="connsiteX32" fmla="*/ 102990 w 196325"/>
                <a:gd name="connsiteY32" fmla="*/ 5150 h 196325"/>
                <a:gd name="connsiteX33" fmla="*/ 97197 w 196325"/>
                <a:gd name="connsiteY33" fmla="*/ 4828 h 196325"/>
                <a:gd name="connsiteX34" fmla="*/ 88185 w 196325"/>
                <a:gd name="connsiteY34" fmla="*/ 32506 h 196325"/>
                <a:gd name="connsiteX35" fmla="*/ 68231 w 196325"/>
                <a:gd name="connsiteY35" fmla="*/ 39265 h 196325"/>
                <a:gd name="connsiteX36" fmla="*/ 44093 w 196325"/>
                <a:gd name="connsiteY36" fmla="*/ 22529 h 196325"/>
                <a:gd name="connsiteX37" fmla="*/ 39587 w 196325"/>
                <a:gd name="connsiteY37" fmla="*/ 26391 h 196325"/>
                <a:gd name="connsiteX38" fmla="*/ 35081 w 196325"/>
                <a:gd name="connsiteY38" fmla="*/ 30253 h 196325"/>
                <a:gd name="connsiteX39" fmla="*/ 30575 w 196325"/>
                <a:gd name="connsiteY39" fmla="*/ 34116 h 196325"/>
                <a:gd name="connsiteX40" fmla="*/ 43771 w 196325"/>
                <a:gd name="connsiteY40" fmla="*/ 60185 h 196325"/>
                <a:gd name="connsiteX41" fmla="*/ 34437 w 196325"/>
                <a:gd name="connsiteY41" fmla="*/ 79174 h 196325"/>
                <a:gd name="connsiteX42" fmla="*/ 5793 w 196325"/>
                <a:gd name="connsiteY42" fmla="*/ 84323 h 196325"/>
                <a:gd name="connsiteX43" fmla="*/ 5471 w 196325"/>
                <a:gd name="connsiteY43" fmla="*/ 90116 h 196325"/>
                <a:gd name="connsiteX44" fmla="*/ 5150 w 196325"/>
                <a:gd name="connsiteY44" fmla="*/ 95910 h 196325"/>
                <a:gd name="connsiteX45" fmla="*/ 4828 w 196325"/>
                <a:gd name="connsiteY45" fmla="*/ 101703 h 196325"/>
                <a:gd name="connsiteX46" fmla="*/ 32828 w 196325"/>
                <a:gd name="connsiteY46" fmla="*/ 110715 h 196325"/>
                <a:gd name="connsiteX47" fmla="*/ 39587 w 196325"/>
                <a:gd name="connsiteY47" fmla="*/ 130669 h 196325"/>
                <a:gd name="connsiteX48" fmla="*/ 23173 w 196325"/>
                <a:gd name="connsiteY48" fmla="*/ 154164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3173" y="154164"/>
                  </a:moveTo>
                  <a:lnTo>
                    <a:pt x="27035" y="158669"/>
                  </a:lnTo>
                  <a:lnTo>
                    <a:pt x="30897" y="163175"/>
                  </a:lnTo>
                  <a:lnTo>
                    <a:pt x="34759" y="167681"/>
                  </a:lnTo>
                  <a:lnTo>
                    <a:pt x="60829" y="154164"/>
                  </a:lnTo>
                  <a:cubicBezTo>
                    <a:pt x="66622" y="158347"/>
                    <a:pt x="73059" y="161244"/>
                    <a:pt x="79496" y="163497"/>
                  </a:cubicBezTo>
                  <a:lnTo>
                    <a:pt x="84645" y="192463"/>
                  </a:lnTo>
                  <a:lnTo>
                    <a:pt x="90438" y="192785"/>
                  </a:lnTo>
                  <a:lnTo>
                    <a:pt x="96231" y="193107"/>
                  </a:lnTo>
                  <a:lnTo>
                    <a:pt x="102025" y="193429"/>
                  </a:lnTo>
                  <a:lnTo>
                    <a:pt x="111036" y="165428"/>
                  </a:lnTo>
                  <a:cubicBezTo>
                    <a:pt x="117795" y="164141"/>
                    <a:pt x="124554" y="161888"/>
                    <a:pt x="130669" y="158669"/>
                  </a:cubicBezTo>
                  <a:lnTo>
                    <a:pt x="154807" y="175405"/>
                  </a:lnTo>
                  <a:lnTo>
                    <a:pt x="159313" y="171543"/>
                  </a:lnTo>
                  <a:lnTo>
                    <a:pt x="163819" y="167681"/>
                  </a:lnTo>
                  <a:lnTo>
                    <a:pt x="168325" y="163819"/>
                  </a:lnTo>
                  <a:lnTo>
                    <a:pt x="154807" y="137749"/>
                  </a:lnTo>
                  <a:cubicBezTo>
                    <a:pt x="158991" y="131956"/>
                    <a:pt x="161888" y="125841"/>
                    <a:pt x="164141" y="119082"/>
                  </a:cubicBezTo>
                  <a:lnTo>
                    <a:pt x="193107" y="113933"/>
                  </a:lnTo>
                  <a:lnTo>
                    <a:pt x="193429" y="108140"/>
                  </a:lnTo>
                  <a:lnTo>
                    <a:pt x="193750" y="102347"/>
                  </a:lnTo>
                  <a:lnTo>
                    <a:pt x="194072" y="96553"/>
                  </a:lnTo>
                  <a:lnTo>
                    <a:pt x="166072" y="87542"/>
                  </a:lnTo>
                  <a:cubicBezTo>
                    <a:pt x="164784" y="80783"/>
                    <a:pt x="162853" y="74024"/>
                    <a:pt x="159313" y="67909"/>
                  </a:cubicBezTo>
                  <a:lnTo>
                    <a:pt x="176049" y="43771"/>
                  </a:lnTo>
                  <a:lnTo>
                    <a:pt x="172187" y="39265"/>
                  </a:lnTo>
                  <a:lnTo>
                    <a:pt x="168325" y="34759"/>
                  </a:lnTo>
                  <a:lnTo>
                    <a:pt x="164463" y="30253"/>
                  </a:lnTo>
                  <a:lnTo>
                    <a:pt x="138393" y="43771"/>
                  </a:lnTo>
                  <a:cubicBezTo>
                    <a:pt x="132600" y="39587"/>
                    <a:pt x="126163" y="36690"/>
                    <a:pt x="119726" y="34437"/>
                  </a:cubicBezTo>
                  <a:lnTo>
                    <a:pt x="114577" y="5793"/>
                  </a:lnTo>
                  <a:lnTo>
                    <a:pt x="108783" y="5471"/>
                  </a:lnTo>
                  <a:lnTo>
                    <a:pt x="102990" y="5150"/>
                  </a:lnTo>
                  <a:lnTo>
                    <a:pt x="97197" y="4828"/>
                  </a:lnTo>
                  <a:lnTo>
                    <a:pt x="88185" y="32506"/>
                  </a:lnTo>
                  <a:cubicBezTo>
                    <a:pt x="81427" y="33794"/>
                    <a:pt x="74668" y="36047"/>
                    <a:pt x="68231" y="39265"/>
                  </a:cubicBezTo>
                  <a:lnTo>
                    <a:pt x="44093" y="22529"/>
                  </a:lnTo>
                  <a:lnTo>
                    <a:pt x="39587" y="26391"/>
                  </a:lnTo>
                  <a:lnTo>
                    <a:pt x="35081" y="30253"/>
                  </a:lnTo>
                  <a:lnTo>
                    <a:pt x="30575" y="34116"/>
                  </a:lnTo>
                  <a:lnTo>
                    <a:pt x="43771" y="60185"/>
                  </a:lnTo>
                  <a:cubicBezTo>
                    <a:pt x="39587" y="65978"/>
                    <a:pt x="36690" y="72415"/>
                    <a:pt x="34437" y="79174"/>
                  </a:cubicBezTo>
                  <a:lnTo>
                    <a:pt x="5793" y="84323"/>
                  </a:lnTo>
                  <a:lnTo>
                    <a:pt x="5471" y="90116"/>
                  </a:lnTo>
                  <a:lnTo>
                    <a:pt x="5150" y="95910"/>
                  </a:lnTo>
                  <a:lnTo>
                    <a:pt x="4828" y="101703"/>
                  </a:lnTo>
                  <a:lnTo>
                    <a:pt x="32828" y="110715"/>
                  </a:lnTo>
                  <a:cubicBezTo>
                    <a:pt x="34115" y="117473"/>
                    <a:pt x="36368" y="124232"/>
                    <a:pt x="39587" y="130669"/>
                  </a:cubicBezTo>
                  <a:lnTo>
                    <a:pt x="23173" y="154164"/>
                  </a:lnTo>
                  <a:close/>
                </a:path>
              </a:pathLst>
            </a:custGeom>
            <a:noFill/>
            <a:ln w="19050" cap="flat">
              <a:solidFill>
                <a:schemeClr val="tx1"/>
              </a:solidFill>
              <a:prstDash val="solid"/>
              <a:round/>
            </a:ln>
          </p:spPr>
          <p:txBody>
            <a:bodyPr rtlCol="0" anchor="ctr"/>
            <a:lstStyle/>
            <a:p>
              <a:endParaRPr lang="en-US" sz="3400"/>
            </a:p>
          </p:txBody>
        </p:sp>
        <p:sp>
          <p:nvSpPr>
            <p:cNvPr id="644" name="Freeform: Shape 643">
              <a:extLst>
                <a:ext uri="{FF2B5EF4-FFF2-40B4-BE49-F238E27FC236}">
                  <a16:creationId xmlns:a16="http://schemas.microsoft.com/office/drawing/2014/main" id="{AEE6B1AF-AFCA-4E90-81CD-E65ECE1E7EA3}"/>
                </a:ext>
              </a:extLst>
            </p:cNvPr>
            <p:cNvSpPr/>
            <p:nvPr/>
          </p:nvSpPr>
          <p:spPr>
            <a:xfrm>
              <a:off x="16551635" y="3602559"/>
              <a:ext cx="83680" cy="83680"/>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noFill/>
            <a:ln w="19050" cap="flat">
              <a:solidFill>
                <a:srgbClr val="FDC500"/>
              </a:solidFill>
              <a:prstDash val="solid"/>
              <a:round/>
            </a:ln>
          </p:spPr>
          <p:txBody>
            <a:bodyPr rtlCol="0" anchor="ctr"/>
            <a:lstStyle/>
            <a:p>
              <a:endParaRPr lang="en-US" sz="3400" dirty="0"/>
            </a:p>
          </p:txBody>
        </p:sp>
        <p:sp>
          <p:nvSpPr>
            <p:cNvPr id="645" name="Freeform: Shape 644">
              <a:extLst>
                <a:ext uri="{FF2B5EF4-FFF2-40B4-BE49-F238E27FC236}">
                  <a16:creationId xmlns:a16="http://schemas.microsoft.com/office/drawing/2014/main" id="{4D8049CD-77BC-4F97-AFC3-06377CF35E47}"/>
                </a:ext>
              </a:extLst>
            </p:cNvPr>
            <p:cNvSpPr/>
            <p:nvPr/>
          </p:nvSpPr>
          <p:spPr>
            <a:xfrm>
              <a:off x="16270343" y="3465453"/>
              <a:ext cx="289660" cy="202762"/>
            </a:xfrm>
            <a:custGeom>
              <a:avLst/>
              <a:gdLst>
                <a:gd name="connsiteX0" fmla="*/ 288051 w 289660"/>
                <a:gd name="connsiteY0" fmla="*/ 93657 h 202762"/>
                <a:gd name="connsiteX1" fmla="*/ 288051 w 289660"/>
                <a:gd name="connsiteY1" fmla="*/ 12552 h 202762"/>
                <a:gd name="connsiteX2" fmla="*/ 280327 w 289660"/>
                <a:gd name="connsiteY2" fmla="*/ 4828 h 202762"/>
                <a:gd name="connsiteX3" fmla="*/ 12552 w 289660"/>
                <a:gd name="connsiteY3" fmla="*/ 4828 h 202762"/>
                <a:gd name="connsiteX4" fmla="*/ 4828 w 289660"/>
                <a:gd name="connsiteY4" fmla="*/ 12552 h 202762"/>
                <a:gd name="connsiteX5" fmla="*/ 4828 w 289660"/>
                <a:gd name="connsiteY5" fmla="*/ 190854 h 202762"/>
                <a:gd name="connsiteX6" fmla="*/ 12552 w 289660"/>
                <a:gd name="connsiteY6" fmla="*/ 198578 h 202762"/>
                <a:gd name="connsiteX7" fmla="*/ 225613 w 289660"/>
                <a:gd name="connsiteY7" fmla="*/ 198578 h 20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660" h="202762">
                  <a:moveTo>
                    <a:pt x="288051" y="93657"/>
                  </a:moveTo>
                  <a:lnTo>
                    <a:pt x="288051" y="12552"/>
                  </a:lnTo>
                  <a:cubicBezTo>
                    <a:pt x="288051" y="8046"/>
                    <a:pt x="284511" y="4828"/>
                    <a:pt x="280327" y="4828"/>
                  </a:cubicBezTo>
                  <a:lnTo>
                    <a:pt x="12552" y="4828"/>
                  </a:lnTo>
                  <a:cubicBezTo>
                    <a:pt x="8046" y="4828"/>
                    <a:pt x="4828" y="8368"/>
                    <a:pt x="4828" y="12552"/>
                  </a:cubicBezTo>
                  <a:lnTo>
                    <a:pt x="4828" y="190854"/>
                  </a:lnTo>
                  <a:cubicBezTo>
                    <a:pt x="4828" y="195360"/>
                    <a:pt x="8368" y="198578"/>
                    <a:pt x="12552" y="198578"/>
                  </a:cubicBezTo>
                  <a:lnTo>
                    <a:pt x="225613" y="198578"/>
                  </a:lnTo>
                </a:path>
              </a:pathLst>
            </a:custGeom>
            <a:noFill/>
            <a:ln w="19050" cap="flat">
              <a:solidFill>
                <a:schemeClr val="tx1"/>
              </a:solidFill>
              <a:prstDash val="solid"/>
              <a:round/>
            </a:ln>
          </p:spPr>
          <p:txBody>
            <a:bodyPr rtlCol="0" anchor="ctr"/>
            <a:lstStyle/>
            <a:p>
              <a:endParaRPr lang="en-US" sz="3400"/>
            </a:p>
          </p:txBody>
        </p:sp>
        <p:sp>
          <p:nvSpPr>
            <p:cNvPr id="646" name="Freeform: Shape 645">
              <a:extLst>
                <a:ext uri="{FF2B5EF4-FFF2-40B4-BE49-F238E27FC236}">
                  <a16:creationId xmlns:a16="http://schemas.microsoft.com/office/drawing/2014/main" id="{52B6F6B1-A92F-4897-BAB7-0D99F0D71E0E}"/>
                </a:ext>
              </a:extLst>
            </p:cNvPr>
            <p:cNvSpPr/>
            <p:nvPr/>
          </p:nvSpPr>
          <p:spPr>
            <a:xfrm>
              <a:off x="16215630" y="3682055"/>
              <a:ext cx="296097" cy="35403"/>
            </a:xfrm>
            <a:custGeom>
              <a:avLst/>
              <a:gdLst>
                <a:gd name="connsiteX0" fmla="*/ 291913 w 296096"/>
                <a:gd name="connsiteY0" fmla="*/ 33472 h 35402"/>
                <a:gd name="connsiteX1" fmla="*/ 28000 w 296096"/>
                <a:gd name="connsiteY1" fmla="*/ 33472 h 35402"/>
                <a:gd name="connsiteX2" fmla="*/ 4828 w 296096"/>
                <a:gd name="connsiteY2" fmla="*/ 23495 h 35402"/>
                <a:gd name="connsiteX3" fmla="*/ 4828 w 296096"/>
                <a:gd name="connsiteY3" fmla="*/ 4828 h 35402"/>
                <a:gd name="connsiteX4" fmla="*/ 42483 w 296096"/>
                <a:gd name="connsiteY4" fmla="*/ 4828 h 35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96" h="35402">
                  <a:moveTo>
                    <a:pt x="291913" y="33472"/>
                  </a:moveTo>
                  <a:lnTo>
                    <a:pt x="28000" y="33472"/>
                  </a:lnTo>
                  <a:cubicBezTo>
                    <a:pt x="28000" y="33472"/>
                    <a:pt x="11265" y="33472"/>
                    <a:pt x="4828" y="23495"/>
                  </a:cubicBezTo>
                  <a:lnTo>
                    <a:pt x="4828" y="4828"/>
                  </a:lnTo>
                  <a:lnTo>
                    <a:pt x="42483" y="4828"/>
                  </a:lnTo>
                </a:path>
              </a:pathLst>
            </a:custGeom>
            <a:noFill/>
            <a:ln w="19050" cap="flat">
              <a:solidFill>
                <a:schemeClr val="tx1"/>
              </a:solidFill>
              <a:prstDash val="solid"/>
              <a:round/>
            </a:ln>
          </p:spPr>
          <p:txBody>
            <a:bodyPr rtlCol="0" anchor="ctr"/>
            <a:lstStyle/>
            <a:p>
              <a:endParaRPr lang="en-US" sz="3400"/>
            </a:p>
          </p:txBody>
        </p:sp>
        <p:sp>
          <p:nvSpPr>
            <p:cNvPr id="647" name="Freeform: Shape 646">
              <a:extLst>
                <a:ext uri="{FF2B5EF4-FFF2-40B4-BE49-F238E27FC236}">
                  <a16:creationId xmlns:a16="http://schemas.microsoft.com/office/drawing/2014/main" id="{88F58B60-EE84-4AEC-A062-F307ABDA7807}"/>
                </a:ext>
              </a:extLst>
            </p:cNvPr>
            <p:cNvSpPr/>
            <p:nvPr/>
          </p:nvSpPr>
          <p:spPr>
            <a:xfrm>
              <a:off x="16249745" y="3447108"/>
              <a:ext cx="331500" cy="241383"/>
            </a:xfrm>
            <a:custGeom>
              <a:avLst/>
              <a:gdLst>
                <a:gd name="connsiteX0" fmla="*/ 327638 w 331499"/>
                <a:gd name="connsiteY0" fmla="*/ 93335 h 241383"/>
                <a:gd name="connsiteX1" fmla="*/ 327638 w 331499"/>
                <a:gd name="connsiteY1" fmla="*/ 12552 h 241383"/>
                <a:gd name="connsiteX2" fmla="*/ 319913 w 331499"/>
                <a:gd name="connsiteY2" fmla="*/ 4828 h 241383"/>
                <a:gd name="connsiteX3" fmla="*/ 12552 w 331499"/>
                <a:gd name="connsiteY3" fmla="*/ 4828 h 241383"/>
                <a:gd name="connsiteX4" fmla="*/ 4828 w 331499"/>
                <a:gd name="connsiteY4" fmla="*/ 12552 h 241383"/>
                <a:gd name="connsiteX5" fmla="*/ 4828 w 331499"/>
                <a:gd name="connsiteY5" fmla="*/ 232050 h 241383"/>
                <a:gd name="connsiteX6" fmla="*/ 12552 w 331499"/>
                <a:gd name="connsiteY6" fmla="*/ 239774 h 241383"/>
                <a:gd name="connsiteX7" fmla="*/ 255223 w 331499"/>
                <a:gd name="connsiteY7" fmla="*/ 239774 h 241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1499" h="241383">
                  <a:moveTo>
                    <a:pt x="327638" y="93335"/>
                  </a:moveTo>
                  <a:lnTo>
                    <a:pt x="327638" y="12552"/>
                  </a:lnTo>
                  <a:cubicBezTo>
                    <a:pt x="327638" y="8046"/>
                    <a:pt x="324097" y="4828"/>
                    <a:pt x="319913" y="4828"/>
                  </a:cubicBezTo>
                  <a:lnTo>
                    <a:pt x="12552" y="4828"/>
                  </a:lnTo>
                  <a:cubicBezTo>
                    <a:pt x="8046" y="4828"/>
                    <a:pt x="4828" y="8368"/>
                    <a:pt x="4828" y="12552"/>
                  </a:cubicBezTo>
                  <a:lnTo>
                    <a:pt x="4828" y="232050"/>
                  </a:lnTo>
                  <a:cubicBezTo>
                    <a:pt x="4828" y="236556"/>
                    <a:pt x="8368" y="239774"/>
                    <a:pt x="12552" y="239774"/>
                  </a:cubicBezTo>
                  <a:lnTo>
                    <a:pt x="255223" y="239774"/>
                  </a:lnTo>
                </a:path>
              </a:pathLst>
            </a:custGeom>
            <a:noFill/>
            <a:ln w="19050" cap="flat">
              <a:solidFill>
                <a:schemeClr val="tx1"/>
              </a:solidFill>
              <a:prstDash val="solid"/>
              <a:round/>
            </a:ln>
          </p:spPr>
          <p:txBody>
            <a:bodyPr rtlCol="0" anchor="ctr"/>
            <a:lstStyle/>
            <a:p>
              <a:endParaRPr lang="en-US" sz="3400"/>
            </a:p>
          </p:txBody>
        </p:sp>
        <p:sp>
          <p:nvSpPr>
            <p:cNvPr id="648" name="Freeform: Shape 647">
              <a:extLst>
                <a:ext uri="{FF2B5EF4-FFF2-40B4-BE49-F238E27FC236}">
                  <a16:creationId xmlns:a16="http://schemas.microsoft.com/office/drawing/2014/main" id="{B939B1FD-01A3-4846-86F0-6D6F723E295D}"/>
                </a:ext>
              </a:extLst>
            </p:cNvPr>
            <p:cNvSpPr/>
            <p:nvPr/>
          </p:nvSpPr>
          <p:spPr>
            <a:xfrm>
              <a:off x="16267296" y="3425256"/>
              <a:ext cx="28966" cy="2896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9050" cap="flat">
              <a:solidFill>
                <a:srgbClr val="FDC500"/>
              </a:solidFill>
              <a:prstDash val="solid"/>
              <a:round/>
            </a:ln>
          </p:spPr>
          <p:txBody>
            <a:bodyPr rtlCol="0" anchor="ctr"/>
            <a:lstStyle/>
            <a:p>
              <a:endParaRPr lang="en-US" sz="3400">
                <a:solidFill>
                  <a:schemeClr val="accent1"/>
                </a:solidFill>
              </a:endParaRPr>
            </a:p>
          </p:txBody>
        </p:sp>
        <p:sp>
          <p:nvSpPr>
            <p:cNvPr id="649" name="Freeform: Shape 648">
              <a:extLst>
                <a:ext uri="{FF2B5EF4-FFF2-40B4-BE49-F238E27FC236}">
                  <a16:creationId xmlns:a16="http://schemas.microsoft.com/office/drawing/2014/main" id="{7831C95A-4F05-469B-AC19-B468872F6905}"/>
                </a:ext>
              </a:extLst>
            </p:cNvPr>
            <p:cNvSpPr/>
            <p:nvPr/>
          </p:nvSpPr>
          <p:spPr>
            <a:xfrm>
              <a:off x="16238773" y="3385466"/>
              <a:ext cx="28966" cy="2896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9050" cap="flat">
              <a:solidFill>
                <a:srgbClr val="FDC500"/>
              </a:solidFill>
              <a:prstDash val="solid"/>
              <a:round/>
            </a:ln>
          </p:spPr>
          <p:txBody>
            <a:bodyPr rtlCol="0" anchor="ctr"/>
            <a:lstStyle/>
            <a:p>
              <a:endParaRPr lang="en-US" sz="3400">
                <a:solidFill>
                  <a:schemeClr val="accent1"/>
                </a:solidFill>
              </a:endParaRPr>
            </a:p>
          </p:txBody>
        </p:sp>
        <p:sp>
          <p:nvSpPr>
            <p:cNvPr id="650" name="Freeform: Shape 649">
              <a:extLst>
                <a:ext uri="{FF2B5EF4-FFF2-40B4-BE49-F238E27FC236}">
                  <a16:creationId xmlns:a16="http://schemas.microsoft.com/office/drawing/2014/main" id="{F6DE042D-A597-4BE6-8D74-DC990BD50C02}"/>
                </a:ext>
              </a:extLst>
            </p:cNvPr>
            <p:cNvSpPr/>
            <p:nvPr/>
          </p:nvSpPr>
          <p:spPr>
            <a:xfrm>
              <a:off x="16278276" y="3342270"/>
              <a:ext cx="28966" cy="2896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9050" cap="flat">
              <a:solidFill>
                <a:srgbClr val="FDC500"/>
              </a:solidFill>
              <a:prstDash val="solid"/>
              <a:round/>
            </a:ln>
          </p:spPr>
          <p:txBody>
            <a:bodyPr rtlCol="0" anchor="ctr"/>
            <a:lstStyle/>
            <a:p>
              <a:endParaRPr lang="en-US" sz="3400">
                <a:solidFill>
                  <a:schemeClr val="accent1"/>
                </a:solidFill>
              </a:endParaRPr>
            </a:p>
          </p:txBody>
        </p:sp>
        <p:sp>
          <p:nvSpPr>
            <p:cNvPr id="651" name="Freeform: Shape 650">
              <a:extLst>
                <a:ext uri="{FF2B5EF4-FFF2-40B4-BE49-F238E27FC236}">
                  <a16:creationId xmlns:a16="http://schemas.microsoft.com/office/drawing/2014/main" id="{6A05AA07-3B2B-4516-AE66-CC84C56F056C}"/>
                </a:ext>
              </a:extLst>
            </p:cNvPr>
            <p:cNvSpPr/>
            <p:nvPr/>
          </p:nvSpPr>
          <p:spPr>
            <a:xfrm>
              <a:off x="16128616" y="3322519"/>
              <a:ext cx="28966" cy="2896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9050" cap="flat">
              <a:solidFill>
                <a:srgbClr val="FDC500"/>
              </a:solidFill>
              <a:prstDash val="solid"/>
              <a:round/>
            </a:ln>
          </p:spPr>
          <p:txBody>
            <a:bodyPr rtlCol="0" anchor="ctr"/>
            <a:lstStyle/>
            <a:p>
              <a:endParaRPr lang="en-US" sz="3400">
                <a:solidFill>
                  <a:schemeClr val="accent1"/>
                </a:solidFill>
              </a:endParaRPr>
            </a:p>
          </p:txBody>
        </p:sp>
        <p:sp>
          <p:nvSpPr>
            <p:cNvPr id="652" name="Freeform: Shape 651">
              <a:extLst>
                <a:ext uri="{FF2B5EF4-FFF2-40B4-BE49-F238E27FC236}">
                  <a16:creationId xmlns:a16="http://schemas.microsoft.com/office/drawing/2014/main" id="{18A1F4A9-F842-4C3F-8B6C-86F39088A792}"/>
                </a:ext>
              </a:extLst>
            </p:cNvPr>
            <p:cNvSpPr/>
            <p:nvPr/>
          </p:nvSpPr>
          <p:spPr>
            <a:xfrm>
              <a:off x="16310091" y="3408172"/>
              <a:ext cx="28966" cy="2896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9050" cap="flat">
              <a:solidFill>
                <a:srgbClr val="FDC500"/>
              </a:solidFill>
              <a:prstDash val="solid"/>
              <a:round/>
            </a:ln>
          </p:spPr>
          <p:txBody>
            <a:bodyPr rtlCol="0" anchor="ctr"/>
            <a:lstStyle/>
            <a:p>
              <a:endParaRPr lang="en-US" sz="3400">
                <a:solidFill>
                  <a:schemeClr val="accent1"/>
                </a:solidFill>
              </a:endParaRPr>
            </a:p>
          </p:txBody>
        </p:sp>
        <p:sp>
          <p:nvSpPr>
            <p:cNvPr id="653" name="Freeform: Shape 652">
              <a:extLst>
                <a:ext uri="{FF2B5EF4-FFF2-40B4-BE49-F238E27FC236}">
                  <a16:creationId xmlns:a16="http://schemas.microsoft.com/office/drawing/2014/main" id="{E8FFB9BC-0816-40AB-8C2D-F643D6697AFF}"/>
                </a:ext>
              </a:extLst>
            </p:cNvPr>
            <p:cNvSpPr/>
            <p:nvPr/>
          </p:nvSpPr>
          <p:spPr>
            <a:xfrm>
              <a:off x="16211922" y="3429238"/>
              <a:ext cx="28966" cy="2896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9050" cap="flat">
              <a:solidFill>
                <a:srgbClr val="FDC500"/>
              </a:solidFill>
              <a:prstDash val="solid"/>
              <a:round/>
            </a:ln>
          </p:spPr>
          <p:txBody>
            <a:bodyPr rtlCol="0" anchor="ctr"/>
            <a:lstStyle/>
            <a:p>
              <a:endParaRPr lang="en-US" sz="3400">
                <a:solidFill>
                  <a:schemeClr val="accent1"/>
                </a:solidFill>
              </a:endParaRPr>
            </a:p>
          </p:txBody>
        </p:sp>
        <p:sp>
          <p:nvSpPr>
            <p:cNvPr id="654" name="Freeform: Shape 653">
              <a:extLst>
                <a:ext uri="{FF2B5EF4-FFF2-40B4-BE49-F238E27FC236}">
                  <a16:creationId xmlns:a16="http://schemas.microsoft.com/office/drawing/2014/main" id="{E88BDAA9-9DC7-4096-8531-0E0F18C32840}"/>
                </a:ext>
              </a:extLst>
            </p:cNvPr>
            <p:cNvSpPr/>
            <p:nvPr/>
          </p:nvSpPr>
          <p:spPr>
            <a:xfrm>
              <a:off x="16205476" y="3495108"/>
              <a:ext cx="28966" cy="2896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9050" cap="flat">
              <a:solidFill>
                <a:srgbClr val="FDC500"/>
              </a:solidFill>
              <a:prstDash val="solid"/>
              <a:round/>
            </a:ln>
          </p:spPr>
          <p:txBody>
            <a:bodyPr rtlCol="0" anchor="ctr"/>
            <a:lstStyle/>
            <a:p>
              <a:endParaRPr lang="en-US" sz="3400">
                <a:solidFill>
                  <a:schemeClr val="accent1"/>
                </a:solidFill>
              </a:endParaRPr>
            </a:p>
          </p:txBody>
        </p:sp>
        <p:sp>
          <p:nvSpPr>
            <p:cNvPr id="655" name="Freeform: Shape 654">
              <a:extLst>
                <a:ext uri="{FF2B5EF4-FFF2-40B4-BE49-F238E27FC236}">
                  <a16:creationId xmlns:a16="http://schemas.microsoft.com/office/drawing/2014/main" id="{0833D9A5-2F5F-40FB-AFE2-F35214F75C65}"/>
                </a:ext>
              </a:extLst>
            </p:cNvPr>
            <p:cNvSpPr/>
            <p:nvPr/>
          </p:nvSpPr>
          <p:spPr>
            <a:xfrm>
              <a:off x="16161959" y="3455605"/>
              <a:ext cx="28966" cy="2896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9050" cap="flat">
              <a:solidFill>
                <a:srgbClr val="FDC500"/>
              </a:solidFill>
              <a:prstDash val="solid"/>
              <a:round/>
            </a:ln>
          </p:spPr>
          <p:txBody>
            <a:bodyPr rtlCol="0" anchor="ctr"/>
            <a:lstStyle/>
            <a:p>
              <a:endParaRPr lang="en-US" sz="3400">
                <a:solidFill>
                  <a:schemeClr val="accent1"/>
                </a:solidFill>
              </a:endParaRPr>
            </a:p>
          </p:txBody>
        </p:sp>
        <p:sp>
          <p:nvSpPr>
            <p:cNvPr id="656" name="Freeform: Shape 655">
              <a:extLst>
                <a:ext uri="{FF2B5EF4-FFF2-40B4-BE49-F238E27FC236}">
                  <a16:creationId xmlns:a16="http://schemas.microsoft.com/office/drawing/2014/main" id="{EC5BACF0-841A-4097-9EBA-D77A36ACC5F1}"/>
                </a:ext>
              </a:extLst>
            </p:cNvPr>
            <p:cNvSpPr/>
            <p:nvPr/>
          </p:nvSpPr>
          <p:spPr>
            <a:xfrm>
              <a:off x="16185093" y="3381569"/>
              <a:ext cx="28966" cy="2896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9050" cap="flat">
              <a:solidFill>
                <a:srgbClr val="FDC500"/>
              </a:solidFill>
              <a:prstDash val="solid"/>
              <a:round/>
            </a:ln>
          </p:spPr>
          <p:txBody>
            <a:bodyPr rtlCol="0" anchor="ctr"/>
            <a:lstStyle/>
            <a:p>
              <a:endParaRPr lang="en-US" sz="3400">
                <a:solidFill>
                  <a:schemeClr val="accent1"/>
                </a:solidFill>
              </a:endParaRPr>
            </a:p>
          </p:txBody>
        </p:sp>
        <p:sp>
          <p:nvSpPr>
            <p:cNvPr id="657" name="Freeform: Shape 656">
              <a:extLst>
                <a:ext uri="{FF2B5EF4-FFF2-40B4-BE49-F238E27FC236}">
                  <a16:creationId xmlns:a16="http://schemas.microsoft.com/office/drawing/2014/main" id="{910B1FD6-06E0-4413-B7CA-09FE96B79F4A}"/>
                </a:ext>
              </a:extLst>
            </p:cNvPr>
            <p:cNvSpPr/>
            <p:nvPr/>
          </p:nvSpPr>
          <p:spPr>
            <a:xfrm>
              <a:off x="16330367" y="3509707"/>
              <a:ext cx="80461" cy="9655"/>
            </a:xfrm>
            <a:custGeom>
              <a:avLst/>
              <a:gdLst>
                <a:gd name="connsiteX0" fmla="*/ 2414 w 80461"/>
                <a:gd name="connsiteY0" fmla="*/ 2414 h 9655"/>
                <a:gd name="connsiteX1" fmla="*/ 78691 w 80461"/>
                <a:gd name="connsiteY1" fmla="*/ 2414 h 9655"/>
                <a:gd name="connsiteX2" fmla="*/ 78691 w 80461"/>
                <a:gd name="connsiteY2" fmla="*/ 8207 h 9655"/>
                <a:gd name="connsiteX3" fmla="*/ 2414 w 80461"/>
                <a:gd name="connsiteY3" fmla="*/ 8207 h 9655"/>
              </a:gdLst>
              <a:ahLst/>
              <a:cxnLst>
                <a:cxn ang="0">
                  <a:pos x="connsiteX0" y="connsiteY0"/>
                </a:cxn>
                <a:cxn ang="0">
                  <a:pos x="connsiteX1" y="connsiteY1"/>
                </a:cxn>
                <a:cxn ang="0">
                  <a:pos x="connsiteX2" y="connsiteY2"/>
                </a:cxn>
                <a:cxn ang="0">
                  <a:pos x="connsiteX3" y="connsiteY3"/>
                </a:cxn>
              </a:cxnLst>
              <a:rect l="l" t="t" r="r" b="b"/>
              <a:pathLst>
                <a:path w="80461" h="9655">
                  <a:moveTo>
                    <a:pt x="2414" y="2414"/>
                  </a:moveTo>
                  <a:lnTo>
                    <a:pt x="78691" y="2414"/>
                  </a:lnTo>
                  <a:lnTo>
                    <a:pt x="78691" y="8207"/>
                  </a:lnTo>
                  <a:lnTo>
                    <a:pt x="2414" y="8207"/>
                  </a:lnTo>
                  <a:close/>
                </a:path>
              </a:pathLst>
            </a:custGeom>
            <a:solidFill>
              <a:schemeClr val="tx1"/>
            </a:solidFill>
            <a:ln w="9525" cap="flat">
              <a:noFill/>
              <a:prstDash val="solid"/>
              <a:miter/>
            </a:ln>
          </p:spPr>
          <p:txBody>
            <a:bodyPr rtlCol="0" anchor="ctr"/>
            <a:lstStyle/>
            <a:p>
              <a:endParaRPr lang="en-US" sz="3400"/>
            </a:p>
          </p:txBody>
        </p:sp>
        <p:sp>
          <p:nvSpPr>
            <p:cNvPr id="658" name="Freeform: Shape 657">
              <a:extLst>
                <a:ext uri="{FF2B5EF4-FFF2-40B4-BE49-F238E27FC236}">
                  <a16:creationId xmlns:a16="http://schemas.microsoft.com/office/drawing/2014/main" id="{6E400DE5-5806-492D-A93C-8BE60E4CA4DB}"/>
                </a:ext>
              </a:extLst>
            </p:cNvPr>
            <p:cNvSpPr/>
            <p:nvPr/>
          </p:nvSpPr>
          <p:spPr>
            <a:xfrm>
              <a:off x="16414728" y="3509506"/>
              <a:ext cx="57932" cy="9655"/>
            </a:xfrm>
            <a:custGeom>
              <a:avLst/>
              <a:gdLst>
                <a:gd name="connsiteX0" fmla="*/ 57771 w 57932"/>
                <a:gd name="connsiteY0" fmla="*/ 8207 h 9655"/>
                <a:gd name="connsiteX1" fmla="*/ 2414 w 57932"/>
                <a:gd name="connsiteY1" fmla="*/ 8207 h 9655"/>
                <a:gd name="connsiteX2" fmla="*/ 2414 w 57932"/>
                <a:gd name="connsiteY2" fmla="*/ 2414 h 9655"/>
                <a:gd name="connsiteX3" fmla="*/ 57771 w 57932"/>
                <a:gd name="connsiteY3" fmla="*/ 2414 h 9655"/>
              </a:gdLst>
              <a:ahLst/>
              <a:cxnLst>
                <a:cxn ang="0">
                  <a:pos x="connsiteX0" y="connsiteY0"/>
                </a:cxn>
                <a:cxn ang="0">
                  <a:pos x="connsiteX1" y="connsiteY1"/>
                </a:cxn>
                <a:cxn ang="0">
                  <a:pos x="connsiteX2" y="connsiteY2"/>
                </a:cxn>
                <a:cxn ang="0">
                  <a:pos x="connsiteX3" y="connsiteY3"/>
                </a:cxn>
              </a:cxnLst>
              <a:rect l="l" t="t" r="r" b="b"/>
              <a:pathLst>
                <a:path w="57932" h="9655">
                  <a:moveTo>
                    <a:pt x="57771" y="8207"/>
                  </a:moveTo>
                  <a:lnTo>
                    <a:pt x="2414" y="8207"/>
                  </a:lnTo>
                  <a:lnTo>
                    <a:pt x="2414" y="2414"/>
                  </a:lnTo>
                  <a:lnTo>
                    <a:pt x="57771" y="2414"/>
                  </a:lnTo>
                  <a:close/>
                </a:path>
              </a:pathLst>
            </a:custGeom>
            <a:solidFill>
              <a:schemeClr val="tx1"/>
            </a:solidFill>
            <a:ln w="9525" cap="flat">
              <a:noFill/>
              <a:prstDash val="solid"/>
              <a:miter/>
            </a:ln>
          </p:spPr>
          <p:txBody>
            <a:bodyPr rtlCol="0" anchor="ctr"/>
            <a:lstStyle/>
            <a:p>
              <a:endParaRPr lang="en-US" sz="3400"/>
            </a:p>
          </p:txBody>
        </p:sp>
        <p:sp>
          <p:nvSpPr>
            <p:cNvPr id="659" name="Freeform: Shape 658">
              <a:extLst>
                <a:ext uri="{FF2B5EF4-FFF2-40B4-BE49-F238E27FC236}">
                  <a16:creationId xmlns:a16="http://schemas.microsoft.com/office/drawing/2014/main" id="{F809CE46-3213-4B31-B36B-7E65DF2383FE}"/>
                </a:ext>
              </a:extLst>
            </p:cNvPr>
            <p:cNvSpPr/>
            <p:nvPr/>
          </p:nvSpPr>
          <p:spPr>
            <a:xfrm>
              <a:off x="16350322" y="3535776"/>
              <a:ext cx="106209" cy="9655"/>
            </a:xfrm>
            <a:custGeom>
              <a:avLst/>
              <a:gdLst>
                <a:gd name="connsiteX0" fmla="*/ 2414 w 106208"/>
                <a:gd name="connsiteY0" fmla="*/ 2414 h 9655"/>
                <a:gd name="connsiteX1" fmla="*/ 104760 w 106208"/>
                <a:gd name="connsiteY1" fmla="*/ 2414 h 9655"/>
                <a:gd name="connsiteX2" fmla="*/ 104760 w 106208"/>
                <a:gd name="connsiteY2" fmla="*/ 8207 h 9655"/>
                <a:gd name="connsiteX3" fmla="*/ 2414 w 106208"/>
                <a:gd name="connsiteY3" fmla="*/ 8207 h 9655"/>
              </a:gdLst>
              <a:ahLst/>
              <a:cxnLst>
                <a:cxn ang="0">
                  <a:pos x="connsiteX0" y="connsiteY0"/>
                </a:cxn>
                <a:cxn ang="0">
                  <a:pos x="connsiteX1" y="connsiteY1"/>
                </a:cxn>
                <a:cxn ang="0">
                  <a:pos x="connsiteX2" y="connsiteY2"/>
                </a:cxn>
                <a:cxn ang="0">
                  <a:pos x="connsiteX3" y="connsiteY3"/>
                </a:cxn>
              </a:cxnLst>
              <a:rect l="l" t="t" r="r" b="b"/>
              <a:pathLst>
                <a:path w="106208" h="9655">
                  <a:moveTo>
                    <a:pt x="2414" y="2414"/>
                  </a:moveTo>
                  <a:lnTo>
                    <a:pt x="104760" y="2414"/>
                  </a:lnTo>
                  <a:lnTo>
                    <a:pt x="104760" y="8207"/>
                  </a:lnTo>
                  <a:lnTo>
                    <a:pt x="2414" y="8207"/>
                  </a:lnTo>
                  <a:close/>
                </a:path>
              </a:pathLst>
            </a:custGeom>
            <a:solidFill>
              <a:schemeClr val="tx1"/>
            </a:solidFill>
            <a:ln w="9525" cap="flat">
              <a:noFill/>
              <a:prstDash val="solid"/>
              <a:miter/>
            </a:ln>
          </p:spPr>
          <p:txBody>
            <a:bodyPr rtlCol="0" anchor="ctr"/>
            <a:lstStyle/>
            <a:p>
              <a:endParaRPr lang="en-US" sz="3400"/>
            </a:p>
          </p:txBody>
        </p:sp>
        <p:sp>
          <p:nvSpPr>
            <p:cNvPr id="660" name="Freeform: Shape 659">
              <a:extLst>
                <a:ext uri="{FF2B5EF4-FFF2-40B4-BE49-F238E27FC236}">
                  <a16:creationId xmlns:a16="http://schemas.microsoft.com/office/drawing/2014/main" id="{2FD75703-C986-424F-8F20-476C83C8BC16}"/>
                </a:ext>
              </a:extLst>
            </p:cNvPr>
            <p:cNvSpPr/>
            <p:nvPr/>
          </p:nvSpPr>
          <p:spPr>
            <a:xfrm>
              <a:off x="16494739" y="3536044"/>
              <a:ext cx="35403" cy="9655"/>
            </a:xfrm>
            <a:custGeom>
              <a:avLst/>
              <a:gdLst>
                <a:gd name="connsiteX0" fmla="*/ 33955 w 35402"/>
                <a:gd name="connsiteY0" fmla="*/ 8207 h 9655"/>
                <a:gd name="connsiteX1" fmla="*/ 2414 w 35402"/>
                <a:gd name="connsiteY1" fmla="*/ 8207 h 9655"/>
                <a:gd name="connsiteX2" fmla="*/ 2414 w 35402"/>
                <a:gd name="connsiteY2" fmla="*/ 2414 h 9655"/>
                <a:gd name="connsiteX3" fmla="*/ 33955 w 35402"/>
                <a:gd name="connsiteY3" fmla="*/ 2414 h 9655"/>
              </a:gdLst>
              <a:ahLst/>
              <a:cxnLst>
                <a:cxn ang="0">
                  <a:pos x="connsiteX0" y="connsiteY0"/>
                </a:cxn>
                <a:cxn ang="0">
                  <a:pos x="connsiteX1" y="connsiteY1"/>
                </a:cxn>
                <a:cxn ang="0">
                  <a:pos x="connsiteX2" y="connsiteY2"/>
                </a:cxn>
                <a:cxn ang="0">
                  <a:pos x="connsiteX3" y="connsiteY3"/>
                </a:cxn>
              </a:cxnLst>
              <a:rect l="l" t="t" r="r" b="b"/>
              <a:pathLst>
                <a:path w="35402" h="9655">
                  <a:moveTo>
                    <a:pt x="33955" y="8207"/>
                  </a:moveTo>
                  <a:lnTo>
                    <a:pt x="2414" y="8207"/>
                  </a:lnTo>
                  <a:lnTo>
                    <a:pt x="2414" y="2414"/>
                  </a:lnTo>
                  <a:lnTo>
                    <a:pt x="33955" y="2414"/>
                  </a:lnTo>
                  <a:close/>
                </a:path>
              </a:pathLst>
            </a:custGeom>
            <a:solidFill>
              <a:schemeClr val="tx1"/>
            </a:solidFill>
            <a:ln w="9525" cap="flat">
              <a:noFill/>
              <a:prstDash val="solid"/>
              <a:miter/>
            </a:ln>
          </p:spPr>
          <p:txBody>
            <a:bodyPr rtlCol="0" anchor="ctr"/>
            <a:lstStyle/>
            <a:p>
              <a:endParaRPr lang="en-US" sz="3400"/>
            </a:p>
          </p:txBody>
        </p:sp>
        <p:sp>
          <p:nvSpPr>
            <p:cNvPr id="661" name="Freeform: Shape 660">
              <a:extLst>
                <a:ext uri="{FF2B5EF4-FFF2-40B4-BE49-F238E27FC236}">
                  <a16:creationId xmlns:a16="http://schemas.microsoft.com/office/drawing/2014/main" id="{99C0D971-A284-4B83-9346-DA6EEDEB1E5B}"/>
                </a:ext>
              </a:extLst>
            </p:cNvPr>
            <p:cNvSpPr/>
            <p:nvPr/>
          </p:nvSpPr>
          <p:spPr>
            <a:xfrm>
              <a:off x="16457174" y="3535776"/>
              <a:ext cx="35403" cy="9655"/>
            </a:xfrm>
            <a:custGeom>
              <a:avLst/>
              <a:gdLst>
                <a:gd name="connsiteX0" fmla="*/ 2414 w 35402"/>
                <a:gd name="connsiteY0" fmla="*/ 2414 h 9655"/>
                <a:gd name="connsiteX1" fmla="*/ 34598 w 35402"/>
                <a:gd name="connsiteY1" fmla="*/ 2414 h 9655"/>
                <a:gd name="connsiteX2" fmla="*/ 34598 w 35402"/>
                <a:gd name="connsiteY2" fmla="*/ 8207 h 9655"/>
                <a:gd name="connsiteX3" fmla="*/ 2414 w 35402"/>
                <a:gd name="connsiteY3" fmla="*/ 8207 h 9655"/>
              </a:gdLst>
              <a:ahLst/>
              <a:cxnLst>
                <a:cxn ang="0">
                  <a:pos x="connsiteX0" y="connsiteY0"/>
                </a:cxn>
                <a:cxn ang="0">
                  <a:pos x="connsiteX1" y="connsiteY1"/>
                </a:cxn>
                <a:cxn ang="0">
                  <a:pos x="connsiteX2" y="connsiteY2"/>
                </a:cxn>
                <a:cxn ang="0">
                  <a:pos x="connsiteX3" y="connsiteY3"/>
                </a:cxn>
              </a:cxnLst>
              <a:rect l="l" t="t" r="r" b="b"/>
              <a:pathLst>
                <a:path w="35402" h="9655">
                  <a:moveTo>
                    <a:pt x="2414" y="2414"/>
                  </a:moveTo>
                  <a:lnTo>
                    <a:pt x="34598" y="2414"/>
                  </a:lnTo>
                  <a:lnTo>
                    <a:pt x="34598" y="8207"/>
                  </a:lnTo>
                  <a:lnTo>
                    <a:pt x="2414" y="8207"/>
                  </a:lnTo>
                  <a:close/>
                </a:path>
              </a:pathLst>
            </a:custGeom>
            <a:solidFill>
              <a:schemeClr val="tx1"/>
            </a:solidFill>
            <a:ln w="9525" cap="flat">
              <a:noFill/>
              <a:prstDash val="solid"/>
              <a:miter/>
            </a:ln>
          </p:spPr>
          <p:txBody>
            <a:bodyPr rtlCol="0" anchor="ctr"/>
            <a:lstStyle/>
            <a:p>
              <a:endParaRPr lang="en-US" sz="3400"/>
            </a:p>
          </p:txBody>
        </p:sp>
        <p:sp>
          <p:nvSpPr>
            <p:cNvPr id="662" name="Freeform: Shape 661">
              <a:extLst>
                <a:ext uri="{FF2B5EF4-FFF2-40B4-BE49-F238E27FC236}">
                  <a16:creationId xmlns:a16="http://schemas.microsoft.com/office/drawing/2014/main" id="{F990DABD-A0FD-4B72-91F2-155685593EA5}"/>
                </a:ext>
              </a:extLst>
            </p:cNvPr>
            <p:cNvSpPr/>
            <p:nvPr/>
          </p:nvSpPr>
          <p:spPr>
            <a:xfrm>
              <a:off x="16384437" y="3562167"/>
              <a:ext cx="93335" cy="9655"/>
            </a:xfrm>
            <a:custGeom>
              <a:avLst/>
              <a:gdLst>
                <a:gd name="connsiteX0" fmla="*/ 2414 w 93334"/>
                <a:gd name="connsiteY0" fmla="*/ 2414 h 9655"/>
                <a:gd name="connsiteX1" fmla="*/ 92208 w 93334"/>
                <a:gd name="connsiteY1" fmla="*/ 2414 h 9655"/>
                <a:gd name="connsiteX2" fmla="*/ 92208 w 93334"/>
                <a:gd name="connsiteY2" fmla="*/ 8207 h 9655"/>
                <a:gd name="connsiteX3" fmla="*/ 2414 w 93334"/>
                <a:gd name="connsiteY3" fmla="*/ 8207 h 9655"/>
              </a:gdLst>
              <a:ahLst/>
              <a:cxnLst>
                <a:cxn ang="0">
                  <a:pos x="connsiteX0" y="connsiteY0"/>
                </a:cxn>
                <a:cxn ang="0">
                  <a:pos x="connsiteX1" y="connsiteY1"/>
                </a:cxn>
                <a:cxn ang="0">
                  <a:pos x="connsiteX2" y="connsiteY2"/>
                </a:cxn>
                <a:cxn ang="0">
                  <a:pos x="connsiteX3" y="connsiteY3"/>
                </a:cxn>
              </a:cxnLst>
              <a:rect l="l" t="t" r="r" b="b"/>
              <a:pathLst>
                <a:path w="93334" h="9655">
                  <a:moveTo>
                    <a:pt x="2414" y="2414"/>
                  </a:moveTo>
                  <a:lnTo>
                    <a:pt x="92208" y="2414"/>
                  </a:lnTo>
                  <a:lnTo>
                    <a:pt x="92208" y="8207"/>
                  </a:lnTo>
                  <a:lnTo>
                    <a:pt x="2414" y="8207"/>
                  </a:lnTo>
                  <a:close/>
                </a:path>
              </a:pathLst>
            </a:custGeom>
            <a:solidFill>
              <a:schemeClr val="tx1"/>
            </a:solidFill>
            <a:ln w="9525" cap="flat">
              <a:noFill/>
              <a:prstDash val="solid"/>
              <a:miter/>
            </a:ln>
          </p:spPr>
          <p:txBody>
            <a:bodyPr rtlCol="0" anchor="ctr"/>
            <a:lstStyle/>
            <a:p>
              <a:endParaRPr lang="en-US" sz="3400"/>
            </a:p>
          </p:txBody>
        </p:sp>
        <p:sp>
          <p:nvSpPr>
            <p:cNvPr id="663" name="Freeform: Shape 662">
              <a:extLst>
                <a:ext uri="{FF2B5EF4-FFF2-40B4-BE49-F238E27FC236}">
                  <a16:creationId xmlns:a16="http://schemas.microsoft.com/office/drawing/2014/main" id="{32402811-F5D6-4705-8819-7C073EBAF4A0}"/>
                </a:ext>
              </a:extLst>
            </p:cNvPr>
            <p:cNvSpPr/>
            <p:nvPr/>
          </p:nvSpPr>
          <p:spPr>
            <a:xfrm>
              <a:off x="16359778" y="3562258"/>
              <a:ext cx="22529" cy="9655"/>
            </a:xfrm>
            <a:custGeom>
              <a:avLst/>
              <a:gdLst>
                <a:gd name="connsiteX0" fmla="*/ 21081 w 22529"/>
                <a:gd name="connsiteY0" fmla="*/ 8207 h 9655"/>
                <a:gd name="connsiteX1" fmla="*/ 2414 w 22529"/>
                <a:gd name="connsiteY1" fmla="*/ 8207 h 9655"/>
                <a:gd name="connsiteX2" fmla="*/ 2414 w 22529"/>
                <a:gd name="connsiteY2" fmla="*/ 2414 h 9655"/>
                <a:gd name="connsiteX3" fmla="*/ 21081 w 22529"/>
                <a:gd name="connsiteY3" fmla="*/ 2414 h 9655"/>
              </a:gdLst>
              <a:ahLst/>
              <a:cxnLst>
                <a:cxn ang="0">
                  <a:pos x="connsiteX0" y="connsiteY0"/>
                </a:cxn>
                <a:cxn ang="0">
                  <a:pos x="connsiteX1" y="connsiteY1"/>
                </a:cxn>
                <a:cxn ang="0">
                  <a:pos x="connsiteX2" y="connsiteY2"/>
                </a:cxn>
                <a:cxn ang="0">
                  <a:pos x="connsiteX3" y="connsiteY3"/>
                </a:cxn>
              </a:cxnLst>
              <a:rect l="l" t="t" r="r" b="b"/>
              <a:pathLst>
                <a:path w="22529" h="9655">
                  <a:moveTo>
                    <a:pt x="21081" y="8207"/>
                  </a:moveTo>
                  <a:lnTo>
                    <a:pt x="2414" y="8207"/>
                  </a:lnTo>
                  <a:lnTo>
                    <a:pt x="2414" y="2414"/>
                  </a:lnTo>
                  <a:lnTo>
                    <a:pt x="21081" y="2414"/>
                  </a:lnTo>
                  <a:close/>
                </a:path>
              </a:pathLst>
            </a:custGeom>
            <a:solidFill>
              <a:schemeClr val="tx1"/>
            </a:solidFill>
            <a:ln w="9525" cap="flat">
              <a:noFill/>
              <a:prstDash val="solid"/>
              <a:miter/>
            </a:ln>
          </p:spPr>
          <p:txBody>
            <a:bodyPr rtlCol="0" anchor="ctr"/>
            <a:lstStyle/>
            <a:p>
              <a:endParaRPr lang="en-US" sz="3400"/>
            </a:p>
          </p:txBody>
        </p:sp>
        <p:sp>
          <p:nvSpPr>
            <p:cNvPr id="664" name="Freeform: Shape 663">
              <a:extLst>
                <a:ext uri="{FF2B5EF4-FFF2-40B4-BE49-F238E27FC236}">
                  <a16:creationId xmlns:a16="http://schemas.microsoft.com/office/drawing/2014/main" id="{7606DB55-4AB9-4F20-83B4-F4A0E7B24250}"/>
                </a:ext>
              </a:extLst>
            </p:cNvPr>
            <p:cNvSpPr/>
            <p:nvPr/>
          </p:nvSpPr>
          <p:spPr>
            <a:xfrm>
              <a:off x="16330367" y="3582444"/>
              <a:ext cx="64369" cy="9655"/>
            </a:xfrm>
            <a:custGeom>
              <a:avLst/>
              <a:gdLst>
                <a:gd name="connsiteX0" fmla="*/ 2414 w 64368"/>
                <a:gd name="connsiteY0" fmla="*/ 2414 h 9655"/>
                <a:gd name="connsiteX1" fmla="*/ 63564 w 64368"/>
                <a:gd name="connsiteY1" fmla="*/ 2414 h 9655"/>
                <a:gd name="connsiteX2" fmla="*/ 63564 w 64368"/>
                <a:gd name="connsiteY2" fmla="*/ 8207 h 9655"/>
                <a:gd name="connsiteX3" fmla="*/ 2414 w 64368"/>
                <a:gd name="connsiteY3" fmla="*/ 8207 h 9655"/>
              </a:gdLst>
              <a:ahLst/>
              <a:cxnLst>
                <a:cxn ang="0">
                  <a:pos x="connsiteX0" y="connsiteY0"/>
                </a:cxn>
                <a:cxn ang="0">
                  <a:pos x="connsiteX1" y="connsiteY1"/>
                </a:cxn>
                <a:cxn ang="0">
                  <a:pos x="connsiteX2" y="connsiteY2"/>
                </a:cxn>
                <a:cxn ang="0">
                  <a:pos x="connsiteX3" y="connsiteY3"/>
                </a:cxn>
              </a:cxnLst>
              <a:rect l="l" t="t" r="r" b="b"/>
              <a:pathLst>
                <a:path w="64368" h="9655">
                  <a:moveTo>
                    <a:pt x="2414" y="2414"/>
                  </a:moveTo>
                  <a:lnTo>
                    <a:pt x="63564" y="2414"/>
                  </a:lnTo>
                  <a:lnTo>
                    <a:pt x="63564" y="8207"/>
                  </a:lnTo>
                  <a:lnTo>
                    <a:pt x="2414" y="8207"/>
                  </a:lnTo>
                  <a:close/>
                </a:path>
              </a:pathLst>
            </a:custGeom>
            <a:solidFill>
              <a:schemeClr val="tx1"/>
            </a:solidFill>
            <a:ln w="9525" cap="flat">
              <a:noFill/>
              <a:prstDash val="solid"/>
              <a:miter/>
            </a:ln>
          </p:spPr>
          <p:txBody>
            <a:bodyPr rtlCol="0" anchor="ctr"/>
            <a:lstStyle/>
            <a:p>
              <a:endParaRPr lang="en-US" sz="3400"/>
            </a:p>
          </p:txBody>
        </p:sp>
        <p:sp>
          <p:nvSpPr>
            <p:cNvPr id="665" name="Freeform: Shape 664">
              <a:extLst>
                <a:ext uri="{FF2B5EF4-FFF2-40B4-BE49-F238E27FC236}">
                  <a16:creationId xmlns:a16="http://schemas.microsoft.com/office/drawing/2014/main" id="{D8A34843-24F5-4C61-8252-F676F77C615E}"/>
                </a:ext>
              </a:extLst>
            </p:cNvPr>
            <p:cNvSpPr/>
            <p:nvPr/>
          </p:nvSpPr>
          <p:spPr>
            <a:xfrm>
              <a:off x="16396346" y="3582444"/>
              <a:ext cx="25748" cy="9655"/>
            </a:xfrm>
            <a:custGeom>
              <a:avLst/>
              <a:gdLst>
                <a:gd name="connsiteX0" fmla="*/ 2414 w 25747"/>
                <a:gd name="connsiteY0" fmla="*/ 2414 h 9655"/>
                <a:gd name="connsiteX1" fmla="*/ 23334 w 25747"/>
                <a:gd name="connsiteY1" fmla="*/ 2414 h 9655"/>
                <a:gd name="connsiteX2" fmla="*/ 23334 w 25747"/>
                <a:gd name="connsiteY2" fmla="*/ 8207 h 9655"/>
                <a:gd name="connsiteX3" fmla="*/ 2414 w 25747"/>
                <a:gd name="connsiteY3" fmla="*/ 8207 h 9655"/>
              </a:gdLst>
              <a:ahLst/>
              <a:cxnLst>
                <a:cxn ang="0">
                  <a:pos x="connsiteX0" y="connsiteY0"/>
                </a:cxn>
                <a:cxn ang="0">
                  <a:pos x="connsiteX1" y="connsiteY1"/>
                </a:cxn>
                <a:cxn ang="0">
                  <a:pos x="connsiteX2" y="connsiteY2"/>
                </a:cxn>
                <a:cxn ang="0">
                  <a:pos x="connsiteX3" y="connsiteY3"/>
                </a:cxn>
              </a:cxnLst>
              <a:rect l="l" t="t" r="r" b="b"/>
              <a:pathLst>
                <a:path w="25747" h="9655">
                  <a:moveTo>
                    <a:pt x="2414" y="2414"/>
                  </a:moveTo>
                  <a:lnTo>
                    <a:pt x="23334" y="2414"/>
                  </a:lnTo>
                  <a:lnTo>
                    <a:pt x="23334" y="8207"/>
                  </a:lnTo>
                  <a:lnTo>
                    <a:pt x="2414" y="8207"/>
                  </a:lnTo>
                  <a:close/>
                </a:path>
              </a:pathLst>
            </a:custGeom>
            <a:solidFill>
              <a:schemeClr val="tx1"/>
            </a:solidFill>
            <a:ln w="9525" cap="flat">
              <a:noFill/>
              <a:prstDash val="solid"/>
              <a:miter/>
            </a:ln>
          </p:spPr>
          <p:txBody>
            <a:bodyPr rtlCol="0" anchor="ctr"/>
            <a:lstStyle/>
            <a:p>
              <a:endParaRPr lang="en-US" sz="3400"/>
            </a:p>
          </p:txBody>
        </p:sp>
        <p:sp>
          <p:nvSpPr>
            <p:cNvPr id="666" name="Freeform: Shape 665">
              <a:extLst>
                <a:ext uri="{FF2B5EF4-FFF2-40B4-BE49-F238E27FC236}">
                  <a16:creationId xmlns:a16="http://schemas.microsoft.com/office/drawing/2014/main" id="{1BA0D73D-E2D7-44CB-8F85-6278CD1459DE}"/>
                </a:ext>
              </a:extLst>
            </p:cNvPr>
            <p:cNvSpPr/>
            <p:nvPr/>
          </p:nvSpPr>
          <p:spPr>
            <a:xfrm>
              <a:off x="16423059" y="3582444"/>
              <a:ext cx="86898" cy="9655"/>
            </a:xfrm>
            <a:custGeom>
              <a:avLst/>
              <a:gdLst>
                <a:gd name="connsiteX0" fmla="*/ 2414 w 86898"/>
                <a:gd name="connsiteY0" fmla="*/ 2414 h 9655"/>
                <a:gd name="connsiteX1" fmla="*/ 86093 w 86898"/>
                <a:gd name="connsiteY1" fmla="*/ 2414 h 9655"/>
                <a:gd name="connsiteX2" fmla="*/ 86093 w 86898"/>
                <a:gd name="connsiteY2" fmla="*/ 8207 h 9655"/>
                <a:gd name="connsiteX3" fmla="*/ 2414 w 86898"/>
                <a:gd name="connsiteY3" fmla="*/ 8207 h 9655"/>
              </a:gdLst>
              <a:ahLst/>
              <a:cxnLst>
                <a:cxn ang="0">
                  <a:pos x="connsiteX0" y="connsiteY0"/>
                </a:cxn>
                <a:cxn ang="0">
                  <a:pos x="connsiteX1" y="connsiteY1"/>
                </a:cxn>
                <a:cxn ang="0">
                  <a:pos x="connsiteX2" y="connsiteY2"/>
                </a:cxn>
                <a:cxn ang="0">
                  <a:pos x="connsiteX3" y="connsiteY3"/>
                </a:cxn>
              </a:cxnLst>
              <a:rect l="l" t="t" r="r" b="b"/>
              <a:pathLst>
                <a:path w="86898" h="9655">
                  <a:moveTo>
                    <a:pt x="2414" y="2414"/>
                  </a:moveTo>
                  <a:lnTo>
                    <a:pt x="86093" y="2414"/>
                  </a:lnTo>
                  <a:lnTo>
                    <a:pt x="86093" y="8207"/>
                  </a:lnTo>
                  <a:lnTo>
                    <a:pt x="2414" y="8207"/>
                  </a:lnTo>
                  <a:close/>
                </a:path>
              </a:pathLst>
            </a:custGeom>
            <a:solidFill>
              <a:schemeClr val="tx1"/>
            </a:solidFill>
            <a:ln w="9525" cap="flat">
              <a:noFill/>
              <a:prstDash val="solid"/>
              <a:miter/>
            </a:ln>
          </p:spPr>
          <p:txBody>
            <a:bodyPr rtlCol="0" anchor="ctr"/>
            <a:lstStyle/>
            <a:p>
              <a:endParaRPr lang="en-US" sz="3400"/>
            </a:p>
          </p:txBody>
        </p:sp>
        <p:sp>
          <p:nvSpPr>
            <p:cNvPr id="667" name="Freeform: Shape 666">
              <a:extLst>
                <a:ext uri="{FF2B5EF4-FFF2-40B4-BE49-F238E27FC236}">
                  <a16:creationId xmlns:a16="http://schemas.microsoft.com/office/drawing/2014/main" id="{14060813-3795-4E6A-B9FD-53E89ABFD4D4}"/>
                </a:ext>
              </a:extLst>
            </p:cNvPr>
            <p:cNvSpPr/>
            <p:nvPr/>
          </p:nvSpPr>
          <p:spPr>
            <a:xfrm>
              <a:off x="16350322" y="3608835"/>
              <a:ext cx="35403" cy="9655"/>
            </a:xfrm>
            <a:custGeom>
              <a:avLst/>
              <a:gdLst>
                <a:gd name="connsiteX0" fmla="*/ 2414 w 35402"/>
                <a:gd name="connsiteY0" fmla="*/ 2414 h 9655"/>
                <a:gd name="connsiteX1" fmla="*/ 34276 w 35402"/>
                <a:gd name="connsiteY1" fmla="*/ 2414 h 9655"/>
                <a:gd name="connsiteX2" fmla="*/ 34276 w 35402"/>
                <a:gd name="connsiteY2" fmla="*/ 8207 h 9655"/>
                <a:gd name="connsiteX3" fmla="*/ 2414 w 35402"/>
                <a:gd name="connsiteY3" fmla="*/ 8207 h 9655"/>
              </a:gdLst>
              <a:ahLst/>
              <a:cxnLst>
                <a:cxn ang="0">
                  <a:pos x="connsiteX0" y="connsiteY0"/>
                </a:cxn>
                <a:cxn ang="0">
                  <a:pos x="connsiteX1" y="connsiteY1"/>
                </a:cxn>
                <a:cxn ang="0">
                  <a:pos x="connsiteX2" y="connsiteY2"/>
                </a:cxn>
                <a:cxn ang="0">
                  <a:pos x="connsiteX3" y="connsiteY3"/>
                </a:cxn>
              </a:cxnLst>
              <a:rect l="l" t="t" r="r" b="b"/>
              <a:pathLst>
                <a:path w="35402" h="9655">
                  <a:moveTo>
                    <a:pt x="2414" y="2414"/>
                  </a:moveTo>
                  <a:lnTo>
                    <a:pt x="34276" y="2414"/>
                  </a:lnTo>
                  <a:lnTo>
                    <a:pt x="34276" y="8207"/>
                  </a:lnTo>
                  <a:lnTo>
                    <a:pt x="2414" y="8207"/>
                  </a:lnTo>
                  <a:close/>
                </a:path>
              </a:pathLst>
            </a:custGeom>
            <a:solidFill>
              <a:schemeClr val="tx1"/>
            </a:solidFill>
            <a:ln w="9525" cap="flat">
              <a:noFill/>
              <a:prstDash val="solid"/>
              <a:miter/>
            </a:ln>
          </p:spPr>
          <p:txBody>
            <a:bodyPr rtlCol="0" anchor="ctr"/>
            <a:lstStyle/>
            <a:p>
              <a:endParaRPr lang="en-US" sz="3400"/>
            </a:p>
          </p:txBody>
        </p:sp>
        <p:sp>
          <p:nvSpPr>
            <p:cNvPr id="668" name="Freeform: Shape 667">
              <a:extLst>
                <a:ext uri="{FF2B5EF4-FFF2-40B4-BE49-F238E27FC236}">
                  <a16:creationId xmlns:a16="http://schemas.microsoft.com/office/drawing/2014/main" id="{5BF76A0C-EF87-4F18-BDA1-F49C7475E8EA}"/>
                </a:ext>
              </a:extLst>
            </p:cNvPr>
            <p:cNvSpPr/>
            <p:nvPr/>
          </p:nvSpPr>
          <p:spPr>
            <a:xfrm>
              <a:off x="16391529" y="3608927"/>
              <a:ext cx="77243" cy="9655"/>
            </a:xfrm>
            <a:custGeom>
              <a:avLst/>
              <a:gdLst>
                <a:gd name="connsiteX0" fmla="*/ 77725 w 77242"/>
                <a:gd name="connsiteY0" fmla="*/ 8207 h 9655"/>
                <a:gd name="connsiteX1" fmla="*/ 2414 w 77242"/>
                <a:gd name="connsiteY1" fmla="*/ 8207 h 9655"/>
                <a:gd name="connsiteX2" fmla="*/ 2414 w 77242"/>
                <a:gd name="connsiteY2" fmla="*/ 2414 h 9655"/>
                <a:gd name="connsiteX3" fmla="*/ 77725 w 77242"/>
                <a:gd name="connsiteY3" fmla="*/ 2414 h 9655"/>
              </a:gdLst>
              <a:ahLst/>
              <a:cxnLst>
                <a:cxn ang="0">
                  <a:pos x="connsiteX0" y="connsiteY0"/>
                </a:cxn>
                <a:cxn ang="0">
                  <a:pos x="connsiteX1" y="connsiteY1"/>
                </a:cxn>
                <a:cxn ang="0">
                  <a:pos x="connsiteX2" y="connsiteY2"/>
                </a:cxn>
                <a:cxn ang="0">
                  <a:pos x="connsiteX3" y="connsiteY3"/>
                </a:cxn>
              </a:cxnLst>
              <a:rect l="l" t="t" r="r" b="b"/>
              <a:pathLst>
                <a:path w="77242" h="9655">
                  <a:moveTo>
                    <a:pt x="77725" y="8207"/>
                  </a:moveTo>
                  <a:lnTo>
                    <a:pt x="2414" y="8207"/>
                  </a:lnTo>
                  <a:lnTo>
                    <a:pt x="2414" y="2414"/>
                  </a:lnTo>
                  <a:lnTo>
                    <a:pt x="77725" y="2414"/>
                  </a:lnTo>
                  <a:close/>
                </a:path>
              </a:pathLst>
            </a:custGeom>
            <a:solidFill>
              <a:schemeClr val="tx1"/>
            </a:solidFill>
            <a:ln w="9525" cap="flat">
              <a:noFill/>
              <a:prstDash val="solid"/>
              <a:miter/>
            </a:ln>
          </p:spPr>
          <p:txBody>
            <a:bodyPr rtlCol="0" anchor="ctr"/>
            <a:lstStyle/>
            <a:p>
              <a:endParaRPr lang="en-US" sz="3400"/>
            </a:p>
          </p:txBody>
        </p:sp>
        <p:sp>
          <p:nvSpPr>
            <p:cNvPr id="669" name="Freeform: Shape 668">
              <a:extLst>
                <a:ext uri="{FF2B5EF4-FFF2-40B4-BE49-F238E27FC236}">
                  <a16:creationId xmlns:a16="http://schemas.microsoft.com/office/drawing/2014/main" id="{40695288-B007-4EB7-9D7F-8D02323EFC92}"/>
                </a:ext>
              </a:extLst>
            </p:cNvPr>
            <p:cNvSpPr/>
            <p:nvPr/>
          </p:nvSpPr>
          <p:spPr>
            <a:xfrm>
              <a:off x="16303332" y="3491684"/>
              <a:ext cx="12874" cy="12874"/>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173"/>
                    <a:pt x="9173" y="10782"/>
                    <a:pt x="7563" y="10782"/>
                  </a:cubicBezTo>
                  <a:close/>
                </a:path>
              </a:pathLst>
            </a:custGeom>
            <a:solidFill>
              <a:schemeClr val="tx1"/>
            </a:solidFill>
            <a:ln w="9525" cap="flat">
              <a:noFill/>
              <a:prstDash val="solid"/>
              <a:miter/>
            </a:ln>
          </p:spPr>
          <p:txBody>
            <a:bodyPr rtlCol="0" anchor="ctr"/>
            <a:lstStyle/>
            <a:p>
              <a:endParaRPr lang="en-US" sz="3400"/>
            </a:p>
          </p:txBody>
        </p:sp>
        <p:sp>
          <p:nvSpPr>
            <p:cNvPr id="670" name="Freeform: Shape 669">
              <a:extLst>
                <a:ext uri="{FF2B5EF4-FFF2-40B4-BE49-F238E27FC236}">
                  <a16:creationId xmlns:a16="http://schemas.microsoft.com/office/drawing/2014/main" id="{C05C0947-67E0-44C1-9506-DFB5C57DBDA7}"/>
                </a:ext>
              </a:extLst>
            </p:cNvPr>
            <p:cNvSpPr/>
            <p:nvPr/>
          </p:nvSpPr>
          <p:spPr>
            <a:xfrm>
              <a:off x="16303332" y="3513891"/>
              <a:ext cx="12874" cy="12874"/>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endParaRPr lang="en-US" sz="3400"/>
            </a:p>
          </p:txBody>
        </p:sp>
        <p:sp>
          <p:nvSpPr>
            <p:cNvPr id="671" name="Freeform: Shape 670">
              <a:extLst>
                <a:ext uri="{FF2B5EF4-FFF2-40B4-BE49-F238E27FC236}">
                  <a16:creationId xmlns:a16="http://schemas.microsoft.com/office/drawing/2014/main" id="{84ABA399-7664-46E8-A6AE-F8A31004C71B}"/>
                </a:ext>
              </a:extLst>
            </p:cNvPr>
            <p:cNvSpPr/>
            <p:nvPr/>
          </p:nvSpPr>
          <p:spPr>
            <a:xfrm>
              <a:off x="16303332" y="3536098"/>
              <a:ext cx="12874" cy="12874"/>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endParaRPr lang="en-US" sz="3400"/>
            </a:p>
          </p:txBody>
        </p:sp>
        <p:sp>
          <p:nvSpPr>
            <p:cNvPr id="672" name="Freeform: Shape 671">
              <a:extLst>
                <a:ext uri="{FF2B5EF4-FFF2-40B4-BE49-F238E27FC236}">
                  <a16:creationId xmlns:a16="http://schemas.microsoft.com/office/drawing/2014/main" id="{4A469963-A3C1-42FD-8DC8-2A0522418E0B}"/>
                </a:ext>
              </a:extLst>
            </p:cNvPr>
            <p:cNvSpPr/>
            <p:nvPr/>
          </p:nvSpPr>
          <p:spPr>
            <a:xfrm>
              <a:off x="16303332" y="3558627"/>
              <a:ext cx="12874" cy="12874"/>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173"/>
                    <a:pt x="9173" y="10782"/>
                    <a:pt x="7563" y="10782"/>
                  </a:cubicBezTo>
                  <a:close/>
                </a:path>
              </a:pathLst>
            </a:custGeom>
            <a:solidFill>
              <a:schemeClr val="tx1"/>
            </a:solidFill>
            <a:ln w="9525" cap="flat">
              <a:noFill/>
              <a:prstDash val="solid"/>
              <a:miter/>
            </a:ln>
          </p:spPr>
          <p:txBody>
            <a:bodyPr rtlCol="0" anchor="ctr"/>
            <a:lstStyle/>
            <a:p>
              <a:endParaRPr lang="en-US" sz="3400"/>
            </a:p>
          </p:txBody>
        </p:sp>
        <p:sp>
          <p:nvSpPr>
            <p:cNvPr id="673" name="Freeform: Shape 672">
              <a:extLst>
                <a:ext uri="{FF2B5EF4-FFF2-40B4-BE49-F238E27FC236}">
                  <a16:creationId xmlns:a16="http://schemas.microsoft.com/office/drawing/2014/main" id="{BD27B63C-38FC-4CA8-84D1-EDD52F1D005C}"/>
                </a:ext>
              </a:extLst>
            </p:cNvPr>
            <p:cNvSpPr/>
            <p:nvPr/>
          </p:nvSpPr>
          <p:spPr>
            <a:xfrm>
              <a:off x="16303332" y="3580834"/>
              <a:ext cx="12874" cy="12874"/>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173"/>
                    <a:pt x="9173" y="10782"/>
                    <a:pt x="7563" y="10782"/>
                  </a:cubicBezTo>
                  <a:close/>
                </a:path>
              </a:pathLst>
            </a:custGeom>
            <a:solidFill>
              <a:schemeClr val="tx1"/>
            </a:solidFill>
            <a:ln w="9525" cap="flat">
              <a:noFill/>
              <a:prstDash val="solid"/>
              <a:miter/>
            </a:ln>
          </p:spPr>
          <p:txBody>
            <a:bodyPr rtlCol="0" anchor="ctr"/>
            <a:lstStyle/>
            <a:p>
              <a:endParaRPr lang="en-US" sz="3400"/>
            </a:p>
          </p:txBody>
        </p:sp>
        <p:sp>
          <p:nvSpPr>
            <p:cNvPr id="674" name="Freeform: Shape 673">
              <a:extLst>
                <a:ext uri="{FF2B5EF4-FFF2-40B4-BE49-F238E27FC236}">
                  <a16:creationId xmlns:a16="http://schemas.microsoft.com/office/drawing/2014/main" id="{EA4BEACB-888A-4D0A-8993-93456BCF44E0}"/>
                </a:ext>
              </a:extLst>
            </p:cNvPr>
            <p:cNvSpPr/>
            <p:nvPr/>
          </p:nvSpPr>
          <p:spPr>
            <a:xfrm>
              <a:off x="16303332" y="3603042"/>
              <a:ext cx="12874" cy="12874"/>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endParaRPr lang="en-US" sz="3400"/>
            </a:p>
          </p:txBody>
        </p:sp>
        <p:sp>
          <p:nvSpPr>
            <p:cNvPr id="675" name="Freeform: Shape 674">
              <a:extLst>
                <a:ext uri="{FF2B5EF4-FFF2-40B4-BE49-F238E27FC236}">
                  <a16:creationId xmlns:a16="http://schemas.microsoft.com/office/drawing/2014/main" id="{327521A0-A418-4546-92CF-9B06EA58CB10}"/>
                </a:ext>
              </a:extLst>
            </p:cNvPr>
            <p:cNvSpPr/>
            <p:nvPr/>
          </p:nvSpPr>
          <p:spPr>
            <a:xfrm>
              <a:off x="16303332" y="3625249"/>
              <a:ext cx="12874" cy="12874"/>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endParaRPr lang="en-US" sz="3400"/>
            </a:p>
          </p:txBody>
        </p:sp>
      </p:grpSp>
      <p:sp>
        <p:nvSpPr>
          <p:cNvPr id="570" name="TextBox 569">
            <a:extLst>
              <a:ext uri="{FF2B5EF4-FFF2-40B4-BE49-F238E27FC236}">
                <a16:creationId xmlns:a16="http://schemas.microsoft.com/office/drawing/2014/main" id="{9A3C6F80-AD9B-9B42-BD74-F1B54A5A4C1D}"/>
              </a:ext>
            </a:extLst>
          </p:cNvPr>
          <p:cNvSpPr txBox="1"/>
          <p:nvPr/>
        </p:nvSpPr>
        <p:spPr>
          <a:xfrm>
            <a:off x="2074975" y="5456324"/>
            <a:ext cx="1841896" cy="292388"/>
          </a:xfrm>
          <a:prstGeom prst="rect">
            <a:avLst/>
          </a:prstGeom>
          <a:noFill/>
        </p:spPr>
        <p:txBody>
          <a:bodyPr wrap="square" rtlCol="0">
            <a:spAutoFit/>
          </a:bodyPr>
          <a:lstStyle/>
          <a:p>
            <a:pPr algn="ctr" defTabSz="1097258">
              <a:defRPr/>
            </a:pPr>
            <a:r>
              <a:rPr lang="en-US" sz="1300" dirty="0">
                <a:solidFill>
                  <a:srgbClr val="FFFFFF"/>
                </a:solidFill>
                <a:latin typeface="Amazon Ember" panose="02000000000000000000" pitchFamily="2" charset="0"/>
                <a:ea typeface="Amazon Ember" panose="02000000000000000000" pitchFamily="2" charset="0"/>
              </a:rPr>
              <a:t>Immersion day</a:t>
            </a:r>
          </a:p>
        </p:txBody>
      </p:sp>
      <p:grpSp>
        <p:nvGrpSpPr>
          <p:cNvPr id="14" name="Group 13">
            <a:extLst>
              <a:ext uri="{FF2B5EF4-FFF2-40B4-BE49-F238E27FC236}">
                <a16:creationId xmlns:a16="http://schemas.microsoft.com/office/drawing/2014/main" id="{59D17D10-30CE-E346-A832-4881F37C05BC}"/>
              </a:ext>
            </a:extLst>
          </p:cNvPr>
          <p:cNvGrpSpPr/>
          <p:nvPr/>
        </p:nvGrpSpPr>
        <p:grpSpPr>
          <a:xfrm>
            <a:off x="1639604" y="3272042"/>
            <a:ext cx="1112123" cy="1112123"/>
            <a:chOff x="1912629" y="3417968"/>
            <a:chExt cx="1112123" cy="1112123"/>
          </a:xfrm>
        </p:grpSpPr>
        <p:pic>
          <p:nvPicPr>
            <p:cNvPr id="4" name="Graphic 3">
              <a:extLst>
                <a:ext uri="{FF2B5EF4-FFF2-40B4-BE49-F238E27FC236}">
                  <a16:creationId xmlns:a16="http://schemas.microsoft.com/office/drawing/2014/main" id="{A1BA1BB0-75B3-244B-9BBF-974D027AF52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12629" y="3417968"/>
              <a:ext cx="1112123" cy="1112123"/>
            </a:xfrm>
            <a:prstGeom prst="rect">
              <a:avLst/>
            </a:prstGeom>
          </p:spPr>
        </p:pic>
        <p:sp>
          <p:nvSpPr>
            <p:cNvPr id="10" name="Rectangle 9">
              <a:extLst>
                <a:ext uri="{FF2B5EF4-FFF2-40B4-BE49-F238E27FC236}">
                  <a16:creationId xmlns:a16="http://schemas.microsoft.com/office/drawing/2014/main" id="{6B131D50-1EA7-5742-8FDC-3933760395E3}"/>
                </a:ext>
              </a:extLst>
            </p:cNvPr>
            <p:cNvSpPr/>
            <p:nvPr/>
          </p:nvSpPr>
          <p:spPr>
            <a:xfrm>
              <a:off x="2178618" y="3605376"/>
              <a:ext cx="45719" cy="45719"/>
            </a:xfrm>
            <a:prstGeom prst="rect">
              <a:avLst/>
            </a:prstGeom>
            <a:solidFill>
              <a:schemeClr val="accent1"/>
            </a:solidFill>
            <a:ln>
              <a:solidFill>
                <a:srgbClr val="CDCDC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571" name="Rectangle 570">
              <a:extLst>
                <a:ext uri="{FF2B5EF4-FFF2-40B4-BE49-F238E27FC236}">
                  <a16:creationId xmlns:a16="http://schemas.microsoft.com/office/drawing/2014/main" id="{503B44A2-9469-3347-AC4F-F6D5222892BC}"/>
                </a:ext>
              </a:extLst>
            </p:cNvPr>
            <p:cNvSpPr/>
            <p:nvPr/>
          </p:nvSpPr>
          <p:spPr>
            <a:xfrm>
              <a:off x="2283393" y="3710151"/>
              <a:ext cx="45719" cy="45719"/>
            </a:xfrm>
            <a:prstGeom prst="rect">
              <a:avLst/>
            </a:prstGeom>
            <a:solidFill>
              <a:schemeClr val="accent1"/>
            </a:solidFill>
            <a:ln>
              <a:solidFill>
                <a:srgbClr val="CDCDC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572" name="Rectangle 571">
              <a:extLst>
                <a:ext uri="{FF2B5EF4-FFF2-40B4-BE49-F238E27FC236}">
                  <a16:creationId xmlns:a16="http://schemas.microsoft.com/office/drawing/2014/main" id="{47AFE73E-6964-E646-A8CB-07DBEFB12ACC}"/>
                </a:ext>
              </a:extLst>
            </p:cNvPr>
            <p:cNvSpPr/>
            <p:nvPr/>
          </p:nvSpPr>
          <p:spPr>
            <a:xfrm>
              <a:off x="2378643" y="3722851"/>
              <a:ext cx="45719" cy="45719"/>
            </a:xfrm>
            <a:prstGeom prst="rect">
              <a:avLst/>
            </a:prstGeom>
            <a:solidFill>
              <a:schemeClr val="accent1"/>
            </a:solidFill>
            <a:ln>
              <a:solidFill>
                <a:srgbClr val="CDCDC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573" name="Rectangle 572">
              <a:extLst>
                <a:ext uri="{FF2B5EF4-FFF2-40B4-BE49-F238E27FC236}">
                  <a16:creationId xmlns:a16="http://schemas.microsoft.com/office/drawing/2014/main" id="{65C2FBBE-4884-D543-B5A7-FCE6ABF1CD6D}"/>
                </a:ext>
              </a:extLst>
            </p:cNvPr>
            <p:cNvSpPr/>
            <p:nvPr/>
          </p:nvSpPr>
          <p:spPr>
            <a:xfrm>
              <a:off x="2448493" y="3643476"/>
              <a:ext cx="45719" cy="45719"/>
            </a:xfrm>
            <a:prstGeom prst="rect">
              <a:avLst/>
            </a:prstGeom>
            <a:solidFill>
              <a:schemeClr val="accent1"/>
            </a:solidFill>
            <a:ln>
              <a:solidFill>
                <a:srgbClr val="CDCDC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574" name="Rectangle 573">
              <a:extLst>
                <a:ext uri="{FF2B5EF4-FFF2-40B4-BE49-F238E27FC236}">
                  <a16:creationId xmlns:a16="http://schemas.microsoft.com/office/drawing/2014/main" id="{3AEE10ED-EC5D-FF47-9E7D-69DA6AB7D56A}"/>
                </a:ext>
              </a:extLst>
            </p:cNvPr>
            <p:cNvSpPr/>
            <p:nvPr/>
          </p:nvSpPr>
          <p:spPr>
            <a:xfrm>
              <a:off x="2504464" y="3765305"/>
              <a:ext cx="45719" cy="45719"/>
            </a:xfrm>
            <a:prstGeom prst="rect">
              <a:avLst/>
            </a:prstGeom>
            <a:solidFill>
              <a:schemeClr val="accent1"/>
            </a:solidFill>
            <a:ln>
              <a:solidFill>
                <a:srgbClr val="CDCDC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575" name="Rectangle 574">
              <a:extLst>
                <a:ext uri="{FF2B5EF4-FFF2-40B4-BE49-F238E27FC236}">
                  <a16:creationId xmlns:a16="http://schemas.microsoft.com/office/drawing/2014/main" id="{072F3D00-2EA0-884C-8692-EFE0C8FABF51}"/>
                </a:ext>
              </a:extLst>
            </p:cNvPr>
            <p:cNvSpPr/>
            <p:nvPr/>
          </p:nvSpPr>
          <p:spPr>
            <a:xfrm>
              <a:off x="2425089" y="3788347"/>
              <a:ext cx="45719" cy="45719"/>
            </a:xfrm>
            <a:prstGeom prst="rect">
              <a:avLst/>
            </a:prstGeom>
            <a:solidFill>
              <a:schemeClr val="accent1"/>
            </a:solidFill>
            <a:ln>
              <a:solidFill>
                <a:srgbClr val="CDCDC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576" name="Rectangle 575">
              <a:extLst>
                <a:ext uri="{FF2B5EF4-FFF2-40B4-BE49-F238E27FC236}">
                  <a16:creationId xmlns:a16="http://schemas.microsoft.com/office/drawing/2014/main" id="{EBC538E6-E6D7-9442-A351-0FC576BB7D68}"/>
                </a:ext>
              </a:extLst>
            </p:cNvPr>
            <p:cNvSpPr/>
            <p:nvPr/>
          </p:nvSpPr>
          <p:spPr>
            <a:xfrm>
              <a:off x="2331018" y="3802226"/>
              <a:ext cx="45719" cy="45719"/>
            </a:xfrm>
            <a:prstGeom prst="rect">
              <a:avLst/>
            </a:prstGeom>
            <a:solidFill>
              <a:schemeClr val="accent1"/>
            </a:solidFill>
            <a:ln>
              <a:solidFill>
                <a:srgbClr val="CDCDC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577" name="Rectangle 576">
              <a:extLst>
                <a:ext uri="{FF2B5EF4-FFF2-40B4-BE49-F238E27FC236}">
                  <a16:creationId xmlns:a16="http://schemas.microsoft.com/office/drawing/2014/main" id="{3B869351-132F-0F41-8524-A7E885F8E441}"/>
                </a:ext>
              </a:extLst>
            </p:cNvPr>
            <p:cNvSpPr/>
            <p:nvPr/>
          </p:nvSpPr>
          <p:spPr>
            <a:xfrm>
              <a:off x="2240849" y="3850653"/>
              <a:ext cx="45719" cy="45719"/>
            </a:xfrm>
            <a:prstGeom prst="rect">
              <a:avLst/>
            </a:prstGeom>
            <a:solidFill>
              <a:schemeClr val="accent1"/>
            </a:solidFill>
            <a:ln>
              <a:solidFill>
                <a:srgbClr val="CDCDC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578" name="Rectangle 577">
              <a:extLst>
                <a:ext uri="{FF2B5EF4-FFF2-40B4-BE49-F238E27FC236}">
                  <a16:creationId xmlns:a16="http://schemas.microsoft.com/office/drawing/2014/main" id="{68117340-64D2-E14C-8E58-B125A6C04206}"/>
                </a:ext>
              </a:extLst>
            </p:cNvPr>
            <p:cNvSpPr/>
            <p:nvPr/>
          </p:nvSpPr>
          <p:spPr>
            <a:xfrm>
              <a:off x="2317049" y="3920503"/>
              <a:ext cx="45719" cy="45719"/>
            </a:xfrm>
            <a:prstGeom prst="rect">
              <a:avLst/>
            </a:prstGeom>
            <a:solidFill>
              <a:schemeClr val="accent1"/>
            </a:solidFill>
            <a:ln>
              <a:solidFill>
                <a:srgbClr val="CDCDC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grpSp>
      <p:grpSp>
        <p:nvGrpSpPr>
          <p:cNvPr id="12" name="Group 11"/>
          <p:cNvGrpSpPr/>
          <p:nvPr/>
        </p:nvGrpSpPr>
        <p:grpSpPr>
          <a:xfrm>
            <a:off x="4212202" y="4114801"/>
            <a:ext cx="1294300" cy="1896829"/>
            <a:chOff x="3510167" y="3429000"/>
            <a:chExt cx="1078583" cy="1580691"/>
          </a:xfrm>
        </p:grpSpPr>
        <p:sp>
          <p:nvSpPr>
            <p:cNvPr id="3" name="Rounded Rectangle 2">
              <a:extLst>
                <a:ext uri="{FF2B5EF4-FFF2-40B4-BE49-F238E27FC236}">
                  <a16:creationId xmlns:a16="http://schemas.microsoft.com/office/drawing/2014/main" id="{44910735-4894-1B4F-9063-A073AC2ED5FE}"/>
                </a:ext>
              </a:extLst>
            </p:cNvPr>
            <p:cNvSpPr/>
            <p:nvPr/>
          </p:nvSpPr>
          <p:spPr>
            <a:xfrm>
              <a:off x="3510167" y="3429000"/>
              <a:ext cx="1078583" cy="1264743"/>
            </a:xfrm>
            <a:prstGeom prst="roundRect">
              <a:avLst/>
            </a:prstGeom>
            <a:noFill/>
            <a:ln w="9525" cap="flat" cmpd="sng" algn="ctr">
              <a:solidFill>
                <a:srgbClr val="A166FF"/>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sz="2520" dirty="0"/>
            </a:p>
          </p:txBody>
        </p:sp>
        <p:sp>
          <p:nvSpPr>
            <p:cNvPr id="7" name="TextBox 6">
              <a:extLst>
                <a:ext uri="{FF2B5EF4-FFF2-40B4-BE49-F238E27FC236}">
                  <a16:creationId xmlns:a16="http://schemas.microsoft.com/office/drawing/2014/main" id="{02E5BB44-44AB-E944-B515-6A1673378DB8}"/>
                </a:ext>
              </a:extLst>
            </p:cNvPr>
            <p:cNvSpPr txBox="1"/>
            <p:nvPr/>
          </p:nvSpPr>
          <p:spPr>
            <a:xfrm>
              <a:off x="3792000" y="4778858"/>
              <a:ext cx="554639" cy="230833"/>
            </a:xfrm>
            <a:prstGeom prst="rect">
              <a:avLst/>
            </a:prstGeom>
            <a:noFill/>
            <a:ln>
              <a:noFill/>
            </a:ln>
          </p:spPr>
          <p:txBody>
            <a:bodyPr wrap="none" rtlCol="0">
              <a:spAutoFit/>
            </a:bodyPr>
            <a:lstStyle/>
            <a:p>
              <a:r>
                <a:rPr lang="en-US" sz="1200" dirty="0"/>
                <a:t>People</a:t>
              </a:r>
            </a:p>
          </p:txBody>
        </p:sp>
      </p:grpSp>
      <p:grpSp>
        <p:nvGrpSpPr>
          <p:cNvPr id="11" name="Group 10"/>
          <p:cNvGrpSpPr/>
          <p:nvPr/>
        </p:nvGrpSpPr>
        <p:grpSpPr>
          <a:xfrm>
            <a:off x="5666902" y="4113942"/>
            <a:ext cx="3949361" cy="1916738"/>
            <a:chOff x="4722418" y="3428285"/>
            <a:chExt cx="3291134" cy="1597282"/>
          </a:xfrm>
        </p:grpSpPr>
        <p:sp>
          <p:nvSpPr>
            <p:cNvPr id="579" name="Rounded Rectangle 578">
              <a:extLst>
                <a:ext uri="{FF2B5EF4-FFF2-40B4-BE49-F238E27FC236}">
                  <a16:creationId xmlns:a16="http://schemas.microsoft.com/office/drawing/2014/main" id="{D292A479-3251-3E4F-AC4B-6BA876C388E0}"/>
                </a:ext>
              </a:extLst>
            </p:cNvPr>
            <p:cNvSpPr/>
            <p:nvPr/>
          </p:nvSpPr>
          <p:spPr>
            <a:xfrm>
              <a:off x="4722418" y="3428285"/>
              <a:ext cx="3291134" cy="1264743"/>
            </a:xfrm>
            <a:prstGeom prst="roundRect">
              <a:avLst/>
            </a:prstGeom>
            <a:noFill/>
            <a:ln w="9525" cap="flat" cmpd="sng" algn="ctr">
              <a:solidFill>
                <a:srgbClr val="A166FF"/>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sz="2520" dirty="0"/>
            </a:p>
          </p:txBody>
        </p:sp>
        <p:sp>
          <p:nvSpPr>
            <p:cNvPr id="582" name="TextBox 581">
              <a:extLst>
                <a:ext uri="{FF2B5EF4-FFF2-40B4-BE49-F238E27FC236}">
                  <a16:creationId xmlns:a16="http://schemas.microsoft.com/office/drawing/2014/main" id="{E1DC8D5C-A3E6-3049-943B-9103C9A1A173}"/>
                </a:ext>
              </a:extLst>
            </p:cNvPr>
            <p:cNvSpPr txBox="1"/>
            <p:nvPr/>
          </p:nvSpPr>
          <p:spPr>
            <a:xfrm>
              <a:off x="6147124" y="4794734"/>
              <a:ext cx="670857" cy="230833"/>
            </a:xfrm>
            <a:prstGeom prst="rect">
              <a:avLst/>
            </a:prstGeom>
            <a:noFill/>
            <a:ln>
              <a:noFill/>
            </a:ln>
          </p:spPr>
          <p:txBody>
            <a:bodyPr wrap="none" rtlCol="0">
              <a:spAutoFit/>
            </a:bodyPr>
            <a:lstStyle/>
            <a:p>
              <a:r>
                <a:rPr lang="en-US" sz="1200" dirty="0"/>
                <a:t>Platform</a:t>
              </a:r>
            </a:p>
          </p:txBody>
        </p:sp>
      </p:grpSp>
      <p:grpSp>
        <p:nvGrpSpPr>
          <p:cNvPr id="5" name="Group 4"/>
          <p:cNvGrpSpPr/>
          <p:nvPr/>
        </p:nvGrpSpPr>
        <p:grpSpPr>
          <a:xfrm>
            <a:off x="4194422" y="2153937"/>
            <a:ext cx="4062058" cy="1845500"/>
            <a:chOff x="3495351" y="1794947"/>
            <a:chExt cx="3385048" cy="1537917"/>
          </a:xfrm>
        </p:grpSpPr>
        <p:sp>
          <p:nvSpPr>
            <p:cNvPr id="569" name="Rounded Rectangle 568">
              <a:extLst>
                <a:ext uri="{FF2B5EF4-FFF2-40B4-BE49-F238E27FC236}">
                  <a16:creationId xmlns:a16="http://schemas.microsoft.com/office/drawing/2014/main" id="{98F365EC-729F-F544-91A7-C934A57A7190}"/>
                </a:ext>
              </a:extLst>
            </p:cNvPr>
            <p:cNvSpPr/>
            <p:nvPr/>
          </p:nvSpPr>
          <p:spPr>
            <a:xfrm>
              <a:off x="3495351" y="2025780"/>
              <a:ext cx="3385048" cy="1307084"/>
            </a:xfrm>
            <a:prstGeom prst="roundRect">
              <a:avLst/>
            </a:prstGeom>
            <a:noFill/>
            <a:ln w="9525" cap="flat" cmpd="sng" algn="ctr">
              <a:solidFill>
                <a:srgbClr val="A166FF"/>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sz="2520" dirty="0"/>
            </a:p>
          </p:txBody>
        </p:sp>
        <p:sp>
          <p:nvSpPr>
            <p:cNvPr id="583" name="TextBox 582">
              <a:extLst>
                <a:ext uri="{FF2B5EF4-FFF2-40B4-BE49-F238E27FC236}">
                  <a16:creationId xmlns:a16="http://schemas.microsoft.com/office/drawing/2014/main" id="{9904FCF2-8A27-8B45-9D54-8CB32305CC7A}"/>
                </a:ext>
              </a:extLst>
            </p:cNvPr>
            <p:cNvSpPr txBox="1"/>
            <p:nvPr/>
          </p:nvSpPr>
          <p:spPr>
            <a:xfrm>
              <a:off x="4760750" y="1794947"/>
              <a:ext cx="669521" cy="230833"/>
            </a:xfrm>
            <a:prstGeom prst="rect">
              <a:avLst/>
            </a:prstGeom>
            <a:noFill/>
            <a:ln>
              <a:noFill/>
            </a:ln>
          </p:spPr>
          <p:txBody>
            <a:bodyPr wrap="none" rtlCol="0">
              <a:spAutoFit/>
            </a:bodyPr>
            <a:lstStyle/>
            <a:p>
              <a:r>
                <a:rPr lang="en-US" sz="1200" dirty="0"/>
                <a:t>Portfolio</a:t>
              </a:r>
            </a:p>
          </p:txBody>
        </p:sp>
      </p:grpSp>
      <p:grpSp>
        <p:nvGrpSpPr>
          <p:cNvPr id="9" name="Group 8"/>
          <p:cNvGrpSpPr/>
          <p:nvPr/>
        </p:nvGrpSpPr>
        <p:grpSpPr>
          <a:xfrm>
            <a:off x="8395746" y="2109389"/>
            <a:ext cx="1244610" cy="1890048"/>
            <a:chOff x="6996455" y="1757824"/>
            <a:chExt cx="1037175" cy="1575040"/>
          </a:xfrm>
        </p:grpSpPr>
        <p:sp>
          <p:nvSpPr>
            <p:cNvPr id="581" name="Rounded Rectangle 580">
              <a:extLst>
                <a:ext uri="{FF2B5EF4-FFF2-40B4-BE49-F238E27FC236}">
                  <a16:creationId xmlns:a16="http://schemas.microsoft.com/office/drawing/2014/main" id="{36B12DEB-0880-DE44-AE07-E28570C1F3A8}"/>
                </a:ext>
              </a:extLst>
            </p:cNvPr>
            <p:cNvSpPr/>
            <p:nvPr/>
          </p:nvSpPr>
          <p:spPr>
            <a:xfrm>
              <a:off x="6996455" y="2025781"/>
              <a:ext cx="1037175" cy="1307083"/>
            </a:xfrm>
            <a:prstGeom prst="roundRect">
              <a:avLst/>
            </a:prstGeom>
            <a:noFill/>
            <a:ln w="9525" cap="flat" cmpd="sng" algn="ctr">
              <a:solidFill>
                <a:srgbClr val="A166FF"/>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sz="2520" dirty="0"/>
            </a:p>
          </p:txBody>
        </p:sp>
        <p:sp>
          <p:nvSpPr>
            <p:cNvPr id="584" name="TextBox 583">
              <a:extLst>
                <a:ext uri="{FF2B5EF4-FFF2-40B4-BE49-F238E27FC236}">
                  <a16:creationId xmlns:a16="http://schemas.microsoft.com/office/drawing/2014/main" id="{9067511C-35FF-2849-83BA-D5CE0B06F2BA}"/>
                </a:ext>
              </a:extLst>
            </p:cNvPr>
            <p:cNvSpPr txBox="1"/>
            <p:nvPr/>
          </p:nvSpPr>
          <p:spPr>
            <a:xfrm>
              <a:off x="7173194" y="1757824"/>
              <a:ext cx="602729" cy="230833"/>
            </a:xfrm>
            <a:prstGeom prst="rect">
              <a:avLst/>
            </a:prstGeom>
            <a:noFill/>
            <a:ln>
              <a:noFill/>
            </a:ln>
          </p:spPr>
          <p:txBody>
            <a:bodyPr wrap="none" rtlCol="0">
              <a:spAutoFit/>
            </a:bodyPr>
            <a:lstStyle/>
            <a:p>
              <a:r>
                <a:rPr lang="en-US" sz="1200" dirty="0"/>
                <a:t>Migrate</a:t>
              </a:r>
            </a:p>
          </p:txBody>
        </p:sp>
      </p:grpSp>
      <p:grpSp>
        <p:nvGrpSpPr>
          <p:cNvPr id="585" name="Group 584">
            <a:extLst>
              <a:ext uri="{FF2B5EF4-FFF2-40B4-BE49-F238E27FC236}">
                <a16:creationId xmlns:a16="http://schemas.microsoft.com/office/drawing/2014/main" id="{5616833E-622D-8D4F-B596-7096F1732E68}"/>
              </a:ext>
            </a:extLst>
          </p:cNvPr>
          <p:cNvGrpSpPr>
            <a:grpSpLocks noChangeAspect="1"/>
          </p:cNvGrpSpPr>
          <p:nvPr/>
        </p:nvGrpSpPr>
        <p:grpSpPr>
          <a:xfrm>
            <a:off x="12075027" y="2780045"/>
            <a:ext cx="327769" cy="329184"/>
            <a:chOff x="3853940" y="3046180"/>
            <a:chExt cx="1239926" cy="1245279"/>
          </a:xfrm>
        </p:grpSpPr>
        <p:sp>
          <p:nvSpPr>
            <p:cNvPr id="586" name="Freeform: Shape 1268">
              <a:extLst>
                <a:ext uri="{FF2B5EF4-FFF2-40B4-BE49-F238E27FC236}">
                  <a16:creationId xmlns:a16="http://schemas.microsoft.com/office/drawing/2014/main" id="{3BC40A30-B2ED-8643-B5E4-44DF97635BE8}"/>
                </a:ext>
              </a:extLst>
            </p:cNvPr>
            <p:cNvSpPr/>
            <p:nvPr/>
          </p:nvSpPr>
          <p:spPr>
            <a:xfrm>
              <a:off x="3853940" y="3315794"/>
              <a:ext cx="54865" cy="685799"/>
            </a:xfrm>
            <a:custGeom>
              <a:avLst/>
              <a:gdLst>
                <a:gd name="connsiteX0" fmla="*/ 4828 w 19310"/>
                <a:gd name="connsiteY0" fmla="*/ 238487 h 241383"/>
                <a:gd name="connsiteX1" fmla="*/ 4828 w 19310"/>
                <a:gd name="connsiteY1" fmla="*/ 4828 h 241383"/>
                <a:gd name="connsiteX2" fmla="*/ 16736 w 19310"/>
                <a:gd name="connsiteY2" fmla="*/ 4828 h 241383"/>
              </a:gdLst>
              <a:ahLst/>
              <a:cxnLst>
                <a:cxn ang="0">
                  <a:pos x="connsiteX0" y="connsiteY0"/>
                </a:cxn>
                <a:cxn ang="0">
                  <a:pos x="connsiteX1" y="connsiteY1"/>
                </a:cxn>
                <a:cxn ang="0">
                  <a:pos x="connsiteX2" y="connsiteY2"/>
                </a:cxn>
              </a:cxnLst>
              <a:rect l="l" t="t" r="r" b="b"/>
              <a:pathLst>
                <a:path w="19310" h="241383">
                  <a:moveTo>
                    <a:pt x="4828" y="238487"/>
                  </a:moveTo>
                  <a:lnTo>
                    <a:pt x="4828" y="4828"/>
                  </a:lnTo>
                  <a:lnTo>
                    <a:pt x="16736" y="4828"/>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587" name="Freeform: Shape 1269">
              <a:extLst>
                <a:ext uri="{FF2B5EF4-FFF2-40B4-BE49-F238E27FC236}">
                  <a16:creationId xmlns:a16="http://schemas.microsoft.com/office/drawing/2014/main" id="{3E5F1707-5071-C045-AF1D-F39E398BF2C6}"/>
                </a:ext>
              </a:extLst>
            </p:cNvPr>
            <p:cNvSpPr/>
            <p:nvPr/>
          </p:nvSpPr>
          <p:spPr>
            <a:xfrm>
              <a:off x="3853940" y="4024453"/>
              <a:ext cx="27431" cy="128015"/>
            </a:xfrm>
            <a:custGeom>
              <a:avLst/>
              <a:gdLst>
                <a:gd name="connsiteX0" fmla="*/ 4828 w 9655"/>
                <a:gd name="connsiteY0" fmla="*/ 40552 h 45058"/>
                <a:gd name="connsiteX1" fmla="*/ 4828 w 9655"/>
                <a:gd name="connsiteY1" fmla="*/ 4828 h 45058"/>
              </a:gdLst>
              <a:ahLst/>
              <a:cxnLst>
                <a:cxn ang="0">
                  <a:pos x="connsiteX0" y="connsiteY0"/>
                </a:cxn>
                <a:cxn ang="0">
                  <a:pos x="connsiteX1" y="connsiteY1"/>
                </a:cxn>
              </a:cxnLst>
              <a:rect l="l" t="t" r="r" b="b"/>
              <a:pathLst>
                <a:path w="9655" h="45058">
                  <a:moveTo>
                    <a:pt x="4828" y="40552"/>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588" name="Freeform: Shape 1270">
              <a:extLst>
                <a:ext uri="{FF2B5EF4-FFF2-40B4-BE49-F238E27FC236}">
                  <a16:creationId xmlns:a16="http://schemas.microsoft.com/office/drawing/2014/main" id="{9AEC2083-8E76-9B4A-AEBD-3B1F379FF41E}"/>
                </a:ext>
              </a:extLst>
            </p:cNvPr>
            <p:cNvSpPr/>
            <p:nvPr/>
          </p:nvSpPr>
          <p:spPr>
            <a:xfrm>
              <a:off x="3853940" y="3550795"/>
              <a:ext cx="128015" cy="740664"/>
            </a:xfrm>
            <a:custGeom>
              <a:avLst/>
              <a:gdLst>
                <a:gd name="connsiteX0" fmla="*/ 40231 w 45058"/>
                <a:gd name="connsiteY0" fmla="*/ 4828 h 260694"/>
                <a:gd name="connsiteX1" fmla="*/ 40231 w 45058"/>
                <a:gd name="connsiteY1" fmla="*/ 255866 h 260694"/>
                <a:gd name="connsiteX2" fmla="*/ 4828 w 45058"/>
                <a:gd name="connsiteY2" fmla="*/ 255866 h 260694"/>
                <a:gd name="connsiteX3" fmla="*/ 4828 w 45058"/>
                <a:gd name="connsiteY3" fmla="*/ 224004 h 260694"/>
              </a:gdLst>
              <a:ahLst/>
              <a:cxnLst>
                <a:cxn ang="0">
                  <a:pos x="connsiteX0" y="connsiteY0"/>
                </a:cxn>
                <a:cxn ang="0">
                  <a:pos x="connsiteX1" y="connsiteY1"/>
                </a:cxn>
                <a:cxn ang="0">
                  <a:pos x="connsiteX2" y="connsiteY2"/>
                </a:cxn>
                <a:cxn ang="0">
                  <a:pos x="connsiteX3" y="connsiteY3"/>
                </a:cxn>
              </a:cxnLst>
              <a:rect l="l" t="t" r="r" b="b"/>
              <a:pathLst>
                <a:path w="45058" h="260694">
                  <a:moveTo>
                    <a:pt x="40231" y="4828"/>
                  </a:moveTo>
                  <a:lnTo>
                    <a:pt x="40231" y="255866"/>
                  </a:lnTo>
                  <a:lnTo>
                    <a:pt x="4828" y="255866"/>
                  </a:lnTo>
                  <a:lnTo>
                    <a:pt x="4828" y="224004"/>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589" name="Freeform: Shape 1271">
              <a:extLst>
                <a:ext uri="{FF2B5EF4-FFF2-40B4-BE49-F238E27FC236}">
                  <a16:creationId xmlns:a16="http://schemas.microsoft.com/office/drawing/2014/main" id="{645D85F3-00EA-2B40-AEC5-87DF70C00A7A}"/>
                </a:ext>
              </a:extLst>
            </p:cNvPr>
            <p:cNvSpPr/>
            <p:nvPr/>
          </p:nvSpPr>
          <p:spPr>
            <a:xfrm>
              <a:off x="4965851" y="3315794"/>
              <a:ext cx="128015" cy="969264"/>
            </a:xfrm>
            <a:custGeom>
              <a:avLst/>
              <a:gdLst>
                <a:gd name="connsiteX0" fmla="*/ 30575 w 45058"/>
                <a:gd name="connsiteY0" fmla="*/ 4828 h 341155"/>
                <a:gd name="connsiteX1" fmla="*/ 40231 w 45058"/>
                <a:gd name="connsiteY1" fmla="*/ 4828 h 341155"/>
                <a:gd name="connsiteX2" fmla="*/ 40231 w 45058"/>
                <a:gd name="connsiteY2" fmla="*/ 338580 h 341155"/>
                <a:gd name="connsiteX3" fmla="*/ 4828 w 45058"/>
                <a:gd name="connsiteY3" fmla="*/ 338580 h 341155"/>
                <a:gd name="connsiteX4" fmla="*/ 4828 w 45058"/>
                <a:gd name="connsiteY4" fmla="*/ 73702 h 341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58" h="341155">
                  <a:moveTo>
                    <a:pt x="30575" y="4828"/>
                  </a:moveTo>
                  <a:lnTo>
                    <a:pt x="40231" y="4828"/>
                  </a:lnTo>
                  <a:lnTo>
                    <a:pt x="40231" y="338580"/>
                  </a:lnTo>
                  <a:lnTo>
                    <a:pt x="4828" y="338580"/>
                  </a:lnTo>
                  <a:lnTo>
                    <a:pt x="4828" y="73702"/>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590" name="Freeform: Shape 1272">
              <a:extLst>
                <a:ext uri="{FF2B5EF4-FFF2-40B4-BE49-F238E27FC236}">
                  <a16:creationId xmlns:a16="http://schemas.microsoft.com/office/drawing/2014/main" id="{BC7DBCA0-C747-754F-8698-3E744DBCC4C1}"/>
                </a:ext>
              </a:extLst>
            </p:cNvPr>
            <p:cNvSpPr/>
            <p:nvPr/>
          </p:nvSpPr>
          <p:spPr>
            <a:xfrm>
              <a:off x="4812231" y="4222877"/>
              <a:ext cx="137161" cy="27431"/>
            </a:xfrm>
            <a:custGeom>
              <a:avLst/>
              <a:gdLst>
                <a:gd name="connsiteX0" fmla="*/ 4828 w 48276"/>
                <a:gd name="connsiteY0" fmla="*/ 4828 h 9655"/>
                <a:gd name="connsiteX1" fmla="*/ 44736 w 48276"/>
                <a:gd name="connsiteY1" fmla="*/ 4828 h 9655"/>
              </a:gdLst>
              <a:ahLst/>
              <a:cxnLst>
                <a:cxn ang="0">
                  <a:pos x="connsiteX0" y="connsiteY0"/>
                </a:cxn>
                <a:cxn ang="0">
                  <a:pos x="connsiteX1" y="connsiteY1"/>
                </a:cxn>
              </a:cxnLst>
              <a:rect l="l" t="t" r="r" b="b"/>
              <a:pathLst>
                <a:path w="48276" h="9655">
                  <a:moveTo>
                    <a:pt x="4828" y="4828"/>
                  </a:moveTo>
                  <a:lnTo>
                    <a:pt x="44736"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591" name="Freeform: Shape 1273">
              <a:extLst>
                <a:ext uri="{FF2B5EF4-FFF2-40B4-BE49-F238E27FC236}">
                  <a16:creationId xmlns:a16="http://schemas.microsoft.com/office/drawing/2014/main" id="{BBA6D75A-D123-4244-B9C0-57E3278DD8AD}"/>
                </a:ext>
              </a:extLst>
            </p:cNvPr>
            <p:cNvSpPr/>
            <p:nvPr/>
          </p:nvSpPr>
          <p:spPr>
            <a:xfrm>
              <a:off x="4641238" y="4222877"/>
              <a:ext cx="137161" cy="27431"/>
            </a:xfrm>
            <a:custGeom>
              <a:avLst/>
              <a:gdLst>
                <a:gd name="connsiteX0" fmla="*/ 4828 w 48276"/>
                <a:gd name="connsiteY0" fmla="*/ 4828 h 9655"/>
                <a:gd name="connsiteX1" fmla="*/ 45380 w 48276"/>
                <a:gd name="connsiteY1" fmla="*/ 4828 h 9655"/>
              </a:gdLst>
              <a:ahLst/>
              <a:cxnLst>
                <a:cxn ang="0">
                  <a:pos x="connsiteX0" y="connsiteY0"/>
                </a:cxn>
                <a:cxn ang="0">
                  <a:pos x="connsiteX1" y="connsiteY1"/>
                </a:cxn>
              </a:cxnLst>
              <a:rect l="l" t="t" r="r" b="b"/>
              <a:pathLst>
                <a:path w="48276" h="9655">
                  <a:moveTo>
                    <a:pt x="4828" y="4828"/>
                  </a:moveTo>
                  <a:lnTo>
                    <a:pt x="45380"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06" name="Freeform: Shape 1274">
              <a:extLst>
                <a:ext uri="{FF2B5EF4-FFF2-40B4-BE49-F238E27FC236}">
                  <a16:creationId xmlns:a16="http://schemas.microsoft.com/office/drawing/2014/main" id="{2E0F6012-0A49-9B40-A868-F0C80FED2437}"/>
                </a:ext>
              </a:extLst>
            </p:cNvPr>
            <p:cNvSpPr/>
            <p:nvPr/>
          </p:nvSpPr>
          <p:spPr>
            <a:xfrm>
              <a:off x="3994757" y="4222877"/>
              <a:ext cx="630937" cy="27431"/>
            </a:xfrm>
            <a:custGeom>
              <a:avLst/>
              <a:gdLst>
                <a:gd name="connsiteX0" fmla="*/ 4828 w 222072"/>
                <a:gd name="connsiteY0" fmla="*/ 4828 h 9655"/>
                <a:gd name="connsiteX1" fmla="*/ 219176 w 222072"/>
                <a:gd name="connsiteY1" fmla="*/ 4828 h 9655"/>
              </a:gdLst>
              <a:ahLst/>
              <a:cxnLst>
                <a:cxn ang="0">
                  <a:pos x="connsiteX0" y="connsiteY0"/>
                </a:cxn>
                <a:cxn ang="0">
                  <a:pos x="connsiteX1" y="connsiteY1"/>
                </a:cxn>
              </a:cxnLst>
              <a:rect l="l" t="t" r="r" b="b"/>
              <a:pathLst>
                <a:path w="222072" h="9655">
                  <a:moveTo>
                    <a:pt x="4828" y="4828"/>
                  </a:moveTo>
                  <a:lnTo>
                    <a:pt x="219176"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07" name="Freeform: Shape 1275">
              <a:extLst>
                <a:ext uri="{FF2B5EF4-FFF2-40B4-BE49-F238E27FC236}">
                  <a16:creationId xmlns:a16="http://schemas.microsoft.com/office/drawing/2014/main" id="{360EEA21-7C60-CF40-AB8D-0C7747613B4A}"/>
                </a:ext>
              </a:extLst>
            </p:cNvPr>
            <p:cNvSpPr/>
            <p:nvPr/>
          </p:nvSpPr>
          <p:spPr>
            <a:xfrm>
              <a:off x="4658612" y="3383458"/>
              <a:ext cx="201169" cy="27431"/>
            </a:xfrm>
            <a:custGeom>
              <a:avLst/>
              <a:gdLst>
                <a:gd name="connsiteX0" fmla="*/ 4828 w 70805"/>
                <a:gd name="connsiteY0" fmla="*/ 4828 h 9655"/>
                <a:gd name="connsiteX1" fmla="*/ 68875 w 70805"/>
                <a:gd name="connsiteY1" fmla="*/ 4828 h 9655"/>
              </a:gdLst>
              <a:ahLst/>
              <a:cxnLst>
                <a:cxn ang="0">
                  <a:pos x="connsiteX0" y="connsiteY0"/>
                </a:cxn>
                <a:cxn ang="0">
                  <a:pos x="connsiteX1" y="connsiteY1"/>
                </a:cxn>
              </a:cxnLst>
              <a:rect l="l" t="t" r="r" b="b"/>
              <a:pathLst>
                <a:path w="70805" h="9655">
                  <a:moveTo>
                    <a:pt x="4828" y="4828"/>
                  </a:moveTo>
                  <a:lnTo>
                    <a:pt x="68875"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11" name="Freeform: Shape 1276">
              <a:extLst>
                <a:ext uri="{FF2B5EF4-FFF2-40B4-BE49-F238E27FC236}">
                  <a16:creationId xmlns:a16="http://schemas.microsoft.com/office/drawing/2014/main" id="{5A85D861-9125-3C45-A88E-FCDEA0684056}"/>
                </a:ext>
              </a:extLst>
            </p:cNvPr>
            <p:cNvSpPr/>
            <p:nvPr/>
          </p:nvSpPr>
          <p:spPr>
            <a:xfrm>
              <a:off x="4172152" y="3383458"/>
              <a:ext cx="146304" cy="27431"/>
            </a:xfrm>
            <a:custGeom>
              <a:avLst/>
              <a:gdLst>
                <a:gd name="connsiteX0" fmla="*/ 4828 w 51495"/>
                <a:gd name="connsiteY0" fmla="*/ 4828 h 9655"/>
                <a:gd name="connsiteX1" fmla="*/ 47311 w 51495"/>
                <a:gd name="connsiteY1" fmla="*/ 4828 h 9655"/>
              </a:gdLst>
              <a:ahLst/>
              <a:cxnLst>
                <a:cxn ang="0">
                  <a:pos x="connsiteX0" y="connsiteY0"/>
                </a:cxn>
                <a:cxn ang="0">
                  <a:pos x="connsiteX1" y="connsiteY1"/>
                </a:cxn>
              </a:cxnLst>
              <a:rect l="l" t="t" r="r" b="b"/>
              <a:pathLst>
                <a:path w="51495" h="9655">
                  <a:moveTo>
                    <a:pt x="4828" y="4828"/>
                  </a:moveTo>
                  <a:lnTo>
                    <a:pt x="47311"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12" name="Freeform: Shape 1277">
              <a:extLst>
                <a:ext uri="{FF2B5EF4-FFF2-40B4-BE49-F238E27FC236}">
                  <a16:creationId xmlns:a16="http://schemas.microsoft.com/office/drawing/2014/main" id="{D0F46A9A-D498-ED44-BFA3-A321A4B2638B}"/>
                </a:ext>
              </a:extLst>
            </p:cNvPr>
            <p:cNvSpPr/>
            <p:nvPr/>
          </p:nvSpPr>
          <p:spPr>
            <a:xfrm>
              <a:off x="4666842" y="3463924"/>
              <a:ext cx="201169" cy="27431"/>
            </a:xfrm>
            <a:custGeom>
              <a:avLst/>
              <a:gdLst>
                <a:gd name="connsiteX0" fmla="*/ 4828 w 70805"/>
                <a:gd name="connsiteY0" fmla="*/ 4828 h 9655"/>
                <a:gd name="connsiteX1" fmla="*/ 68231 w 70805"/>
                <a:gd name="connsiteY1" fmla="*/ 4828 h 9655"/>
              </a:gdLst>
              <a:ahLst/>
              <a:cxnLst>
                <a:cxn ang="0">
                  <a:pos x="connsiteX0" y="connsiteY0"/>
                </a:cxn>
                <a:cxn ang="0">
                  <a:pos x="connsiteX1" y="connsiteY1"/>
                </a:cxn>
              </a:cxnLst>
              <a:rect l="l" t="t" r="r" b="b"/>
              <a:pathLst>
                <a:path w="70805" h="9655">
                  <a:moveTo>
                    <a:pt x="4828" y="4828"/>
                  </a:moveTo>
                  <a:lnTo>
                    <a:pt x="68231"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13" name="Freeform: Shape 1278">
              <a:extLst>
                <a:ext uri="{FF2B5EF4-FFF2-40B4-BE49-F238E27FC236}">
                  <a16:creationId xmlns:a16="http://schemas.microsoft.com/office/drawing/2014/main" id="{AC48F695-5076-EC42-9EB2-984A37EE01C4}"/>
                </a:ext>
              </a:extLst>
            </p:cNvPr>
            <p:cNvSpPr/>
            <p:nvPr/>
          </p:nvSpPr>
          <p:spPr>
            <a:xfrm>
              <a:off x="4441899" y="3463924"/>
              <a:ext cx="54865" cy="27431"/>
            </a:xfrm>
            <a:custGeom>
              <a:avLst/>
              <a:gdLst>
                <a:gd name="connsiteX0" fmla="*/ 4828 w 19310"/>
                <a:gd name="connsiteY0" fmla="*/ 4828 h 9655"/>
                <a:gd name="connsiteX1" fmla="*/ 17058 w 19310"/>
                <a:gd name="connsiteY1" fmla="*/ 4828 h 9655"/>
              </a:gdLst>
              <a:ahLst/>
              <a:cxnLst>
                <a:cxn ang="0">
                  <a:pos x="connsiteX0" y="connsiteY0"/>
                </a:cxn>
                <a:cxn ang="0">
                  <a:pos x="connsiteX1" y="connsiteY1"/>
                </a:cxn>
              </a:cxnLst>
              <a:rect l="l" t="t" r="r" b="b"/>
              <a:pathLst>
                <a:path w="19310" h="9655">
                  <a:moveTo>
                    <a:pt x="4828" y="4828"/>
                  </a:moveTo>
                  <a:lnTo>
                    <a:pt x="1705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14" name="Freeform: Shape 1279">
              <a:extLst>
                <a:ext uri="{FF2B5EF4-FFF2-40B4-BE49-F238E27FC236}">
                  <a16:creationId xmlns:a16="http://schemas.microsoft.com/office/drawing/2014/main" id="{A770B790-6324-324B-B9B6-F982078BF785}"/>
                </a:ext>
              </a:extLst>
            </p:cNvPr>
            <p:cNvSpPr/>
            <p:nvPr/>
          </p:nvSpPr>
          <p:spPr>
            <a:xfrm>
              <a:off x="4161179" y="3463924"/>
              <a:ext cx="146304" cy="27431"/>
            </a:xfrm>
            <a:custGeom>
              <a:avLst/>
              <a:gdLst>
                <a:gd name="connsiteX0" fmla="*/ 4828 w 51495"/>
                <a:gd name="connsiteY0" fmla="*/ 4828 h 9655"/>
                <a:gd name="connsiteX1" fmla="*/ 46667 w 51495"/>
                <a:gd name="connsiteY1" fmla="*/ 4828 h 9655"/>
              </a:gdLst>
              <a:ahLst/>
              <a:cxnLst>
                <a:cxn ang="0">
                  <a:pos x="connsiteX0" y="connsiteY0"/>
                </a:cxn>
                <a:cxn ang="0">
                  <a:pos x="connsiteX1" y="connsiteY1"/>
                </a:cxn>
              </a:cxnLst>
              <a:rect l="l" t="t" r="r" b="b"/>
              <a:pathLst>
                <a:path w="51495" h="9655">
                  <a:moveTo>
                    <a:pt x="4828" y="4828"/>
                  </a:moveTo>
                  <a:lnTo>
                    <a:pt x="46667"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15" name="Freeform: Shape 1280">
              <a:extLst>
                <a:ext uri="{FF2B5EF4-FFF2-40B4-BE49-F238E27FC236}">
                  <a16:creationId xmlns:a16="http://schemas.microsoft.com/office/drawing/2014/main" id="{ECACEEE0-1998-6449-9CEB-4C9B7B25AAF9}"/>
                </a:ext>
              </a:extLst>
            </p:cNvPr>
            <p:cNvSpPr/>
            <p:nvPr/>
          </p:nvSpPr>
          <p:spPr>
            <a:xfrm>
              <a:off x="4509563" y="3473070"/>
              <a:ext cx="73153" cy="27431"/>
            </a:xfrm>
            <a:custGeom>
              <a:avLst/>
              <a:gdLst>
                <a:gd name="connsiteX0" fmla="*/ 23495 w 25747"/>
                <a:gd name="connsiteY0" fmla="*/ 4828 h 9655"/>
                <a:gd name="connsiteX1" fmla="*/ 4828 w 25747"/>
                <a:gd name="connsiteY1" fmla="*/ 6759 h 9655"/>
              </a:gdLst>
              <a:ahLst/>
              <a:cxnLst>
                <a:cxn ang="0">
                  <a:pos x="connsiteX0" y="connsiteY0"/>
                </a:cxn>
                <a:cxn ang="0">
                  <a:pos x="connsiteX1" y="connsiteY1"/>
                </a:cxn>
              </a:cxnLst>
              <a:rect l="l" t="t" r="r" b="b"/>
              <a:pathLst>
                <a:path w="25747" h="9655">
                  <a:moveTo>
                    <a:pt x="23495" y="4828"/>
                  </a:moveTo>
                  <a:lnTo>
                    <a:pt x="4828" y="6759"/>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16" name="Freeform: Shape 1281">
              <a:extLst>
                <a:ext uri="{FF2B5EF4-FFF2-40B4-BE49-F238E27FC236}">
                  <a16:creationId xmlns:a16="http://schemas.microsoft.com/office/drawing/2014/main" id="{7C234919-66AD-C94C-B312-0AC8F4ECB957}"/>
                </a:ext>
              </a:extLst>
            </p:cNvPr>
            <p:cNvSpPr/>
            <p:nvPr/>
          </p:nvSpPr>
          <p:spPr>
            <a:xfrm>
              <a:off x="4518709" y="3559023"/>
              <a:ext cx="73153" cy="27431"/>
            </a:xfrm>
            <a:custGeom>
              <a:avLst/>
              <a:gdLst>
                <a:gd name="connsiteX0" fmla="*/ 23817 w 25747"/>
                <a:gd name="connsiteY0" fmla="*/ 4828 h 9655"/>
                <a:gd name="connsiteX1" fmla="*/ 4828 w 25747"/>
                <a:gd name="connsiteY1" fmla="*/ 7081 h 9655"/>
              </a:gdLst>
              <a:ahLst/>
              <a:cxnLst>
                <a:cxn ang="0">
                  <a:pos x="connsiteX0" y="connsiteY0"/>
                </a:cxn>
                <a:cxn ang="0">
                  <a:pos x="connsiteX1" y="connsiteY1"/>
                </a:cxn>
              </a:cxnLst>
              <a:rect l="l" t="t" r="r" b="b"/>
              <a:pathLst>
                <a:path w="25747" h="9655">
                  <a:moveTo>
                    <a:pt x="23817" y="4828"/>
                  </a:moveTo>
                  <a:lnTo>
                    <a:pt x="4828" y="7081"/>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17" name="Freeform: Shape 1282">
              <a:extLst>
                <a:ext uri="{FF2B5EF4-FFF2-40B4-BE49-F238E27FC236}">
                  <a16:creationId xmlns:a16="http://schemas.microsoft.com/office/drawing/2014/main" id="{6547E83E-90C1-554C-B704-038E500F3C8B}"/>
                </a:ext>
              </a:extLst>
            </p:cNvPr>
            <p:cNvSpPr/>
            <p:nvPr/>
          </p:nvSpPr>
          <p:spPr>
            <a:xfrm>
              <a:off x="4527852" y="3645890"/>
              <a:ext cx="73153" cy="27431"/>
            </a:xfrm>
            <a:custGeom>
              <a:avLst/>
              <a:gdLst>
                <a:gd name="connsiteX0" fmla="*/ 23817 w 25747"/>
                <a:gd name="connsiteY0" fmla="*/ 4828 h 9655"/>
                <a:gd name="connsiteX1" fmla="*/ 4828 w 25747"/>
                <a:gd name="connsiteY1" fmla="*/ 6759 h 9655"/>
              </a:gdLst>
              <a:ahLst/>
              <a:cxnLst>
                <a:cxn ang="0">
                  <a:pos x="connsiteX0" y="connsiteY0"/>
                </a:cxn>
                <a:cxn ang="0">
                  <a:pos x="connsiteX1" y="connsiteY1"/>
                </a:cxn>
              </a:cxnLst>
              <a:rect l="l" t="t" r="r" b="b"/>
              <a:pathLst>
                <a:path w="25747" h="9655">
                  <a:moveTo>
                    <a:pt x="23817" y="4828"/>
                  </a:moveTo>
                  <a:lnTo>
                    <a:pt x="4828" y="6759"/>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18" name="Freeform: Shape 1283">
              <a:extLst>
                <a:ext uri="{FF2B5EF4-FFF2-40B4-BE49-F238E27FC236}">
                  <a16:creationId xmlns:a16="http://schemas.microsoft.com/office/drawing/2014/main" id="{6EB19281-2C4C-E749-9D8D-20D078FD8D3E}"/>
                </a:ext>
              </a:extLst>
            </p:cNvPr>
            <p:cNvSpPr/>
            <p:nvPr/>
          </p:nvSpPr>
          <p:spPr>
            <a:xfrm>
              <a:off x="4536997" y="3732760"/>
              <a:ext cx="73153" cy="27431"/>
            </a:xfrm>
            <a:custGeom>
              <a:avLst/>
              <a:gdLst>
                <a:gd name="connsiteX0" fmla="*/ 23817 w 25747"/>
                <a:gd name="connsiteY0" fmla="*/ 4828 h 9655"/>
                <a:gd name="connsiteX1" fmla="*/ 4828 w 25747"/>
                <a:gd name="connsiteY1" fmla="*/ 6759 h 9655"/>
              </a:gdLst>
              <a:ahLst/>
              <a:cxnLst>
                <a:cxn ang="0">
                  <a:pos x="connsiteX0" y="connsiteY0"/>
                </a:cxn>
                <a:cxn ang="0">
                  <a:pos x="connsiteX1" y="connsiteY1"/>
                </a:cxn>
              </a:cxnLst>
              <a:rect l="l" t="t" r="r" b="b"/>
              <a:pathLst>
                <a:path w="25747" h="9655">
                  <a:moveTo>
                    <a:pt x="23817" y="4828"/>
                  </a:moveTo>
                  <a:lnTo>
                    <a:pt x="4828" y="6759"/>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19" name="Freeform: Shape 1284">
              <a:extLst>
                <a:ext uri="{FF2B5EF4-FFF2-40B4-BE49-F238E27FC236}">
                  <a16:creationId xmlns:a16="http://schemas.microsoft.com/office/drawing/2014/main" id="{94991869-9C95-8742-B760-28D4AE77E561}"/>
                </a:ext>
              </a:extLst>
            </p:cNvPr>
            <p:cNvSpPr/>
            <p:nvPr/>
          </p:nvSpPr>
          <p:spPr>
            <a:xfrm>
              <a:off x="4494934" y="3356027"/>
              <a:ext cx="210311" cy="457199"/>
            </a:xfrm>
            <a:custGeom>
              <a:avLst/>
              <a:gdLst>
                <a:gd name="connsiteX0" fmla="*/ 20598 w 74024"/>
                <a:gd name="connsiteY0" fmla="*/ 157382 h 160922"/>
                <a:gd name="connsiteX1" fmla="*/ 4828 w 74024"/>
                <a:gd name="connsiteY1" fmla="*/ 9977 h 160922"/>
                <a:gd name="connsiteX2" fmla="*/ 53104 w 74024"/>
                <a:gd name="connsiteY2" fmla="*/ 4828 h 160922"/>
                <a:gd name="connsiteX3" fmla="*/ 69197 w 74024"/>
                <a:gd name="connsiteY3" fmla="*/ 155773 h 160922"/>
              </a:gdLst>
              <a:ahLst/>
              <a:cxnLst>
                <a:cxn ang="0">
                  <a:pos x="connsiteX0" y="connsiteY0"/>
                </a:cxn>
                <a:cxn ang="0">
                  <a:pos x="connsiteX1" y="connsiteY1"/>
                </a:cxn>
                <a:cxn ang="0">
                  <a:pos x="connsiteX2" y="connsiteY2"/>
                </a:cxn>
                <a:cxn ang="0">
                  <a:pos x="connsiteX3" y="connsiteY3"/>
                </a:cxn>
              </a:cxnLst>
              <a:rect l="l" t="t" r="r" b="b"/>
              <a:pathLst>
                <a:path w="74024" h="160922">
                  <a:moveTo>
                    <a:pt x="20598" y="157382"/>
                  </a:moveTo>
                  <a:lnTo>
                    <a:pt x="4828" y="9977"/>
                  </a:lnTo>
                  <a:lnTo>
                    <a:pt x="53104" y="4828"/>
                  </a:lnTo>
                  <a:lnTo>
                    <a:pt x="69197" y="155773"/>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20" name="Freeform: Shape 1285">
              <a:extLst>
                <a:ext uri="{FF2B5EF4-FFF2-40B4-BE49-F238E27FC236}">
                  <a16:creationId xmlns:a16="http://schemas.microsoft.com/office/drawing/2014/main" id="{A3D9B066-2E20-5849-850E-9E875B1D5552}"/>
                </a:ext>
              </a:extLst>
            </p:cNvPr>
            <p:cNvSpPr/>
            <p:nvPr/>
          </p:nvSpPr>
          <p:spPr>
            <a:xfrm>
              <a:off x="4349546" y="3267330"/>
              <a:ext cx="137161" cy="548641"/>
            </a:xfrm>
            <a:custGeom>
              <a:avLst/>
              <a:gdLst>
                <a:gd name="connsiteX0" fmla="*/ 4828 w 48276"/>
                <a:gd name="connsiteY0" fmla="*/ 190854 h 193106"/>
                <a:gd name="connsiteX1" fmla="*/ 45058 w 48276"/>
                <a:gd name="connsiteY1" fmla="*/ 4828 h 193106"/>
              </a:gdLst>
              <a:ahLst/>
              <a:cxnLst>
                <a:cxn ang="0">
                  <a:pos x="connsiteX0" y="connsiteY0"/>
                </a:cxn>
                <a:cxn ang="0">
                  <a:pos x="connsiteX1" y="connsiteY1"/>
                </a:cxn>
              </a:cxnLst>
              <a:rect l="l" t="t" r="r" b="b"/>
              <a:pathLst>
                <a:path w="48276" h="193106">
                  <a:moveTo>
                    <a:pt x="4828" y="190854"/>
                  </a:moveTo>
                  <a:lnTo>
                    <a:pt x="45058" y="4828"/>
                  </a:lnTo>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621" name="Freeform: Shape 1286">
              <a:extLst>
                <a:ext uri="{FF2B5EF4-FFF2-40B4-BE49-F238E27FC236}">
                  <a16:creationId xmlns:a16="http://schemas.microsoft.com/office/drawing/2014/main" id="{B5EAE954-93A6-2043-988D-EFBD6FD2353F}"/>
                </a:ext>
              </a:extLst>
            </p:cNvPr>
            <p:cNvSpPr/>
            <p:nvPr/>
          </p:nvSpPr>
          <p:spPr>
            <a:xfrm>
              <a:off x="4236159" y="3246297"/>
              <a:ext cx="137161" cy="566929"/>
            </a:xfrm>
            <a:custGeom>
              <a:avLst/>
              <a:gdLst>
                <a:gd name="connsiteX0" fmla="*/ 46346 w 48276"/>
                <a:gd name="connsiteY0" fmla="*/ 4828 h 199543"/>
                <a:gd name="connsiteX1" fmla="*/ 4828 w 48276"/>
                <a:gd name="connsiteY1" fmla="*/ 196003 h 199543"/>
              </a:gdLst>
              <a:ahLst/>
              <a:cxnLst>
                <a:cxn ang="0">
                  <a:pos x="connsiteX0" y="connsiteY0"/>
                </a:cxn>
                <a:cxn ang="0">
                  <a:pos x="connsiteX1" y="connsiteY1"/>
                </a:cxn>
              </a:cxnLst>
              <a:rect l="l" t="t" r="r" b="b"/>
              <a:pathLst>
                <a:path w="48276" h="199543">
                  <a:moveTo>
                    <a:pt x="46346" y="4828"/>
                  </a:moveTo>
                  <a:lnTo>
                    <a:pt x="4828" y="196003"/>
                  </a:lnTo>
                </a:path>
              </a:pathLst>
            </a:custGeom>
            <a:ln w="12700" cap="flat">
              <a:solidFill>
                <a:srgbClr val="FDC500"/>
              </a:solidFill>
              <a:prstDash val="solid"/>
              <a:round/>
            </a:ln>
          </p:spPr>
          <p:txBody>
            <a:bodyPr rtlCol="0" anchor="ctr"/>
            <a:lstStyle/>
            <a:p>
              <a:pPr defTabSz="731504">
                <a:defRPr/>
              </a:pPr>
              <a:endParaRPr lang="en-US" sz="1800" dirty="0">
                <a:solidFill>
                  <a:srgbClr val="FFFFFF"/>
                </a:solidFill>
              </a:endParaRPr>
            </a:p>
          </p:txBody>
        </p:sp>
        <p:sp>
          <p:nvSpPr>
            <p:cNvPr id="622" name="Freeform: Shape 1287">
              <a:extLst>
                <a:ext uri="{FF2B5EF4-FFF2-40B4-BE49-F238E27FC236}">
                  <a16:creationId xmlns:a16="http://schemas.microsoft.com/office/drawing/2014/main" id="{E05870F7-E7EA-AE4D-858E-A7F68AFB474B}"/>
                </a:ext>
              </a:extLst>
            </p:cNvPr>
            <p:cNvSpPr/>
            <p:nvPr/>
          </p:nvSpPr>
          <p:spPr>
            <a:xfrm>
              <a:off x="4537912" y="3090851"/>
              <a:ext cx="118873" cy="54865"/>
            </a:xfrm>
            <a:custGeom>
              <a:avLst/>
              <a:gdLst>
                <a:gd name="connsiteX0" fmla="*/ 4828 w 41839"/>
                <a:gd name="connsiteY0" fmla="*/ 4828 h 19310"/>
                <a:gd name="connsiteX1" fmla="*/ 19954 w 41839"/>
                <a:gd name="connsiteY1" fmla="*/ 13839 h 19310"/>
                <a:gd name="connsiteX2" fmla="*/ 37656 w 41839"/>
                <a:gd name="connsiteY2" fmla="*/ 11908 h 19310"/>
              </a:gdLst>
              <a:ahLst/>
              <a:cxnLst>
                <a:cxn ang="0">
                  <a:pos x="connsiteX0" y="connsiteY0"/>
                </a:cxn>
                <a:cxn ang="0">
                  <a:pos x="connsiteX1" y="connsiteY1"/>
                </a:cxn>
                <a:cxn ang="0">
                  <a:pos x="connsiteX2" y="connsiteY2"/>
                </a:cxn>
              </a:cxnLst>
              <a:rect l="l" t="t" r="r" b="b"/>
              <a:pathLst>
                <a:path w="41839" h="19310">
                  <a:moveTo>
                    <a:pt x="4828" y="4828"/>
                  </a:moveTo>
                  <a:cubicBezTo>
                    <a:pt x="8368" y="9012"/>
                    <a:pt x="13839" y="12552"/>
                    <a:pt x="19954" y="13839"/>
                  </a:cubicBezTo>
                  <a:cubicBezTo>
                    <a:pt x="26069" y="15127"/>
                    <a:pt x="32506" y="14483"/>
                    <a:pt x="37656" y="11908"/>
                  </a:cubicBezTo>
                </a:path>
              </a:pathLst>
            </a:custGeom>
            <a:ln w="12700" cap="flat">
              <a:solidFill>
                <a:srgbClr val="FDC500"/>
              </a:solidFill>
              <a:prstDash val="solid"/>
              <a:round/>
            </a:ln>
          </p:spPr>
          <p:txBody>
            <a:bodyPr rtlCol="0" anchor="ctr"/>
            <a:lstStyle/>
            <a:p>
              <a:pPr defTabSz="731504">
                <a:defRPr/>
              </a:pPr>
              <a:endParaRPr lang="en-US" sz="1800" dirty="0">
                <a:solidFill>
                  <a:srgbClr val="FFFFFF"/>
                </a:solidFill>
              </a:endParaRPr>
            </a:p>
          </p:txBody>
        </p:sp>
        <p:sp>
          <p:nvSpPr>
            <p:cNvPr id="623" name="Freeform: Shape 1288">
              <a:extLst>
                <a:ext uri="{FF2B5EF4-FFF2-40B4-BE49-F238E27FC236}">
                  <a16:creationId xmlns:a16="http://schemas.microsoft.com/office/drawing/2014/main" id="{315436F8-987E-B948-967C-BB537CB078D9}"/>
                </a:ext>
              </a:extLst>
            </p:cNvPr>
            <p:cNvSpPr/>
            <p:nvPr/>
          </p:nvSpPr>
          <p:spPr>
            <a:xfrm>
              <a:off x="4517794" y="3181591"/>
              <a:ext cx="109727" cy="45719"/>
            </a:xfrm>
            <a:custGeom>
              <a:avLst/>
              <a:gdLst>
                <a:gd name="connsiteX0" fmla="*/ 35081 w 38621"/>
                <a:gd name="connsiteY0" fmla="*/ 14085 h 16092"/>
                <a:gd name="connsiteX1" fmla="*/ 21242 w 38621"/>
                <a:gd name="connsiteY1" fmla="*/ 5395 h 16092"/>
                <a:gd name="connsiteX2" fmla="*/ 4828 w 38621"/>
                <a:gd name="connsiteY2" fmla="*/ 7648 h 16092"/>
              </a:gdLst>
              <a:ahLst/>
              <a:cxnLst>
                <a:cxn ang="0">
                  <a:pos x="connsiteX0" y="connsiteY0"/>
                </a:cxn>
                <a:cxn ang="0">
                  <a:pos x="connsiteX1" y="connsiteY1"/>
                </a:cxn>
                <a:cxn ang="0">
                  <a:pos x="connsiteX2" y="connsiteY2"/>
                </a:cxn>
              </a:cxnLst>
              <a:rect l="l" t="t" r="r" b="b"/>
              <a:pathLst>
                <a:path w="38621" h="16092">
                  <a:moveTo>
                    <a:pt x="35081" y="14085"/>
                  </a:moveTo>
                  <a:cubicBezTo>
                    <a:pt x="31863" y="9901"/>
                    <a:pt x="27035" y="6683"/>
                    <a:pt x="21242" y="5395"/>
                  </a:cubicBezTo>
                  <a:cubicBezTo>
                    <a:pt x="15449" y="4108"/>
                    <a:pt x="9655" y="5074"/>
                    <a:pt x="4828" y="7648"/>
                  </a:cubicBezTo>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624" name="Freeform: Shape 1289">
              <a:extLst>
                <a:ext uri="{FF2B5EF4-FFF2-40B4-BE49-F238E27FC236}">
                  <a16:creationId xmlns:a16="http://schemas.microsoft.com/office/drawing/2014/main" id="{04A7437D-FF9C-7341-B13C-807EE65A630D}"/>
                </a:ext>
              </a:extLst>
            </p:cNvPr>
            <p:cNvSpPr/>
            <p:nvPr/>
          </p:nvSpPr>
          <p:spPr>
            <a:xfrm>
              <a:off x="4124597" y="3046180"/>
              <a:ext cx="438911" cy="246888"/>
            </a:xfrm>
            <a:custGeom>
              <a:avLst/>
              <a:gdLst>
                <a:gd name="connsiteX0" fmla="*/ 96555 w 154485"/>
                <a:gd name="connsiteY0" fmla="*/ 5745 h 86898"/>
                <a:gd name="connsiteX1" fmla="*/ 149659 w 154485"/>
                <a:gd name="connsiteY1" fmla="*/ 17332 h 86898"/>
                <a:gd name="connsiteX2" fmla="*/ 140970 w 154485"/>
                <a:gd name="connsiteY2" fmla="*/ 58206 h 86898"/>
                <a:gd name="connsiteX3" fmla="*/ 124234 w 154485"/>
                <a:gd name="connsiteY3" fmla="*/ 85241 h 86898"/>
                <a:gd name="connsiteX4" fmla="*/ 85612 w 154485"/>
                <a:gd name="connsiteY4" fmla="*/ 76873 h 86898"/>
                <a:gd name="connsiteX5" fmla="*/ 79497 w 154485"/>
                <a:gd name="connsiteY5" fmla="*/ 38895 h 86898"/>
                <a:gd name="connsiteX6" fmla="*/ 11266 w 154485"/>
                <a:gd name="connsiteY6" fmla="*/ 76873 h 86898"/>
                <a:gd name="connsiteX7" fmla="*/ 4829 w 154485"/>
                <a:gd name="connsiteY7" fmla="*/ 70758 h 86898"/>
                <a:gd name="connsiteX8" fmla="*/ 96555 w 154485"/>
                <a:gd name="connsiteY8" fmla="*/ 5745 h 8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485" h="86898">
                  <a:moveTo>
                    <a:pt x="96555" y="5745"/>
                  </a:moveTo>
                  <a:lnTo>
                    <a:pt x="149659" y="17332"/>
                  </a:lnTo>
                  <a:lnTo>
                    <a:pt x="140970" y="58206"/>
                  </a:lnTo>
                  <a:lnTo>
                    <a:pt x="124234" y="85241"/>
                  </a:lnTo>
                  <a:lnTo>
                    <a:pt x="85612" y="76873"/>
                  </a:lnTo>
                  <a:cubicBezTo>
                    <a:pt x="85612" y="76873"/>
                    <a:pt x="90118" y="45010"/>
                    <a:pt x="79497" y="38895"/>
                  </a:cubicBezTo>
                  <a:cubicBezTo>
                    <a:pt x="65658" y="31171"/>
                    <a:pt x="36048" y="49516"/>
                    <a:pt x="11266" y="76873"/>
                  </a:cubicBezTo>
                  <a:lnTo>
                    <a:pt x="4829" y="70758"/>
                  </a:lnTo>
                  <a:cubicBezTo>
                    <a:pt x="4507" y="70436"/>
                    <a:pt x="50853" y="-4232"/>
                    <a:pt x="96555" y="5745"/>
                  </a:cubicBezTo>
                  <a:close/>
                </a:path>
              </a:pathLst>
            </a:custGeom>
            <a:ln w="12700" cap="flat">
              <a:solidFill>
                <a:srgbClr val="FDC500"/>
              </a:solidFill>
              <a:prstDash val="solid"/>
              <a:round/>
            </a:ln>
          </p:spPr>
          <p:txBody>
            <a:bodyPr rtlCol="0" anchor="ctr"/>
            <a:lstStyle/>
            <a:p>
              <a:pPr defTabSz="731504">
                <a:defRPr/>
              </a:pPr>
              <a:endParaRPr lang="en-US" sz="1800" dirty="0">
                <a:solidFill>
                  <a:srgbClr val="FFFFFF"/>
                </a:solidFill>
              </a:endParaRPr>
            </a:p>
          </p:txBody>
        </p:sp>
        <p:sp>
          <p:nvSpPr>
            <p:cNvPr id="625" name="Freeform: Shape 1290">
              <a:extLst>
                <a:ext uri="{FF2B5EF4-FFF2-40B4-BE49-F238E27FC236}">
                  <a16:creationId xmlns:a16="http://schemas.microsoft.com/office/drawing/2014/main" id="{496E9F1D-E925-DC4E-8B41-68B05E46F0B1}"/>
                </a:ext>
              </a:extLst>
            </p:cNvPr>
            <p:cNvSpPr/>
            <p:nvPr/>
          </p:nvSpPr>
          <p:spPr>
            <a:xfrm>
              <a:off x="4965851" y="3859861"/>
              <a:ext cx="128015" cy="27431"/>
            </a:xfrm>
            <a:custGeom>
              <a:avLst/>
              <a:gdLst>
                <a:gd name="connsiteX0" fmla="*/ 4828 w 45058"/>
                <a:gd name="connsiteY0" fmla="*/ 4828 h 9655"/>
                <a:gd name="connsiteX1" fmla="*/ 40231 w 45058"/>
                <a:gd name="connsiteY1" fmla="*/ 4828 h 9655"/>
              </a:gdLst>
              <a:ahLst/>
              <a:cxnLst>
                <a:cxn ang="0">
                  <a:pos x="connsiteX0" y="connsiteY0"/>
                </a:cxn>
                <a:cxn ang="0">
                  <a:pos x="connsiteX1" y="connsiteY1"/>
                </a:cxn>
              </a:cxnLst>
              <a:rect l="l" t="t" r="r" b="b"/>
              <a:pathLst>
                <a:path w="45058" h="9655">
                  <a:moveTo>
                    <a:pt x="4828" y="4828"/>
                  </a:moveTo>
                  <a:lnTo>
                    <a:pt x="40231"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26" name="Freeform: Shape 1291">
              <a:extLst>
                <a:ext uri="{FF2B5EF4-FFF2-40B4-BE49-F238E27FC236}">
                  <a16:creationId xmlns:a16="http://schemas.microsoft.com/office/drawing/2014/main" id="{82388F59-9615-AC42-B6A1-E91529F3E5E9}"/>
                </a:ext>
              </a:extLst>
            </p:cNvPr>
            <p:cNvSpPr/>
            <p:nvPr/>
          </p:nvSpPr>
          <p:spPr>
            <a:xfrm>
              <a:off x="4686043" y="3859861"/>
              <a:ext cx="246888" cy="27431"/>
            </a:xfrm>
            <a:custGeom>
              <a:avLst/>
              <a:gdLst>
                <a:gd name="connsiteX0" fmla="*/ 4828 w 86898"/>
                <a:gd name="connsiteY0" fmla="*/ 4828 h 9655"/>
                <a:gd name="connsiteX1" fmla="*/ 83680 w 86898"/>
                <a:gd name="connsiteY1" fmla="*/ 4828 h 9655"/>
              </a:gdLst>
              <a:ahLst/>
              <a:cxnLst>
                <a:cxn ang="0">
                  <a:pos x="connsiteX0" y="connsiteY0"/>
                </a:cxn>
                <a:cxn ang="0">
                  <a:pos x="connsiteX1" y="connsiteY1"/>
                </a:cxn>
              </a:cxnLst>
              <a:rect l="l" t="t" r="r" b="b"/>
              <a:pathLst>
                <a:path w="86898" h="9655">
                  <a:moveTo>
                    <a:pt x="4828" y="4828"/>
                  </a:moveTo>
                  <a:lnTo>
                    <a:pt x="83680"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27" name="Freeform: Shape 1292">
              <a:extLst>
                <a:ext uri="{FF2B5EF4-FFF2-40B4-BE49-F238E27FC236}">
                  <a16:creationId xmlns:a16="http://schemas.microsoft.com/office/drawing/2014/main" id="{89A69B48-94E6-C746-9934-44E94DAAAADA}"/>
                </a:ext>
              </a:extLst>
            </p:cNvPr>
            <p:cNvSpPr/>
            <p:nvPr/>
          </p:nvSpPr>
          <p:spPr>
            <a:xfrm>
              <a:off x="3996587" y="3859861"/>
              <a:ext cx="713233" cy="27431"/>
            </a:xfrm>
            <a:custGeom>
              <a:avLst/>
              <a:gdLst>
                <a:gd name="connsiteX0" fmla="*/ 4828 w 251038"/>
                <a:gd name="connsiteY0" fmla="*/ 4828 h 9655"/>
                <a:gd name="connsiteX1" fmla="*/ 247498 w 251038"/>
                <a:gd name="connsiteY1" fmla="*/ 4828 h 9655"/>
              </a:gdLst>
              <a:ahLst/>
              <a:cxnLst>
                <a:cxn ang="0">
                  <a:pos x="connsiteX0" y="connsiteY0"/>
                </a:cxn>
                <a:cxn ang="0">
                  <a:pos x="connsiteX1" y="connsiteY1"/>
                </a:cxn>
              </a:cxnLst>
              <a:rect l="l" t="t" r="r" b="b"/>
              <a:pathLst>
                <a:path w="251038" h="9655">
                  <a:moveTo>
                    <a:pt x="4828" y="4828"/>
                  </a:moveTo>
                  <a:lnTo>
                    <a:pt x="24749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28" name="Freeform: Shape 1293">
              <a:extLst>
                <a:ext uri="{FF2B5EF4-FFF2-40B4-BE49-F238E27FC236}">
                  <a16:creationId xmlns:a16="http://schemas.microsoft.com/office/drawing/2014/main" id="{D8505B2D-FEB1-734B-BFAF-4B9AB700E709}"/>
                </a:ext>
              </a:extLst>
            </p:cNvPr>
            <p:cNvSpPr/>
            <p:nvPr/>
          </p:nvSpPr>
          <p:spPr>
            <a:xfrm>
              <a:off x="3853940" y="3859861"/>
              <a:ext cx="128015" cy="27431"/>
            </a:xfrm>
            <a:custGeom>
              <a:avLst/>
              <a:gdLst>
                <a:gd name="connsiteX0" fmla="*/ 4828 w 45058"/>
                <a:gd name="connsiteY0" fmla="*/ 4828 h 9655"/>
                <a:gd name="connsiteX1" fmla="*/ 40231 w 45058"/>
                <a:gd name="connsiteY1" fmla="*/ 4828 h 9655"/>
              </a:gdLst>
              <a:ahLst/>
              <a:cxnLst>
                <a:cxn ang="0">
                  <a:pos x="connsiteX0" y="connsiteY0"/>
                </a:cxn>
                <a:cxn ang="0">
                  <a:pos x="connsiteX1" y="connsiteY1"/>
                </a:cxn>
              </a:cxnLst>
              <a:rect l="l" t="t" r="r" b="b"/>
              <a:pathLst>
                <a:path w="45058" h="9655">
                  <a:moveTo>
                    <a:pt x="4828" y="4828"/>
                  </a:moveTo>
                  <a:lnTo>
                    <a:pt x="40231"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29" name="Freeform: Shape 1294">
              <a:extLst>
                <a:ext uri="{FF2B5EF4-FFF2-40B4-BE49-F238E27FC236}">
                  <a16:creationId xmlns:a16="http://schemas.microsoft.com/office/drawing/2014/main" id="{8359D6F3-B63B-264E-A863-20E4F099945E}"/>
                </a:ext>
              </a:extLst>
            </p:cNvPr>
            <p:cNvSpPr/>
            <p:nvPr/>
          </p:nvSpPr>
          <p:spPr>
            <a:xfrm>
              <a:off x="3916118" y="3450210"/>
              <a:ext cx="265176" cy="365761"/>
            </a:xfrm>
            <a:custGeom>
              <a:avLst/>
              <a:gdLst>
                <a:gd name="connsiteX0" fmla="*/ 89795 w 93334"/>
                <a:gd name="connsiteY0" fmla="*/ 126485 h 128737"/>
                <a:gd name="connsiteX1" fmla="*/ 43127 w 93334"/>
                <a:gd name="connsiteY1" fmla="*/ 29288 h 128737"/>
                <a:gd name="connsiteX2" fmla="*/ 4828 w 93334"/>
                <a:gd name="connsiteY2" fmla="*/ 4828 h 128737"/>
              </a:gdLst>
              <a:ahLst/>
              <a:cxnLst>
                <a:cxn ang="0">
                  <a:pos x="connsiteX0" y="connsiteY0"/>
                </a:cxn>
                <a:cxn ang="0">
                  <a:pos x="connsiteX1" y="connsiteY1"/>
                </a:cxn>
                <a:cxn ang="0">
                  <a:pos x="connsiteX2" y="connsiteY2"/>
                </a:cxn>
              </a:cxnLst>
              <a:rect l="l" t="t" r="r" b="b"/>
              <a:pathLst>
                <a:path w="93334" h="128737">
                  <a:moveTo>
                    <a:pt x="89795" y="126485"/>
                  </a:moveTo>
                  <a:lnTo>
                    <a:pt x="43127" y="29288"/>
                  </a:lnTo>
                  <a:cubicBezTo>
                    <a:pt x="27357" y="29288"/>
                    <a:pt x="12230" y="20276"/>
                    <a:pt x="4828" y="4828"/>
                  </a:cubicBez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30" name="Freeform: Shape 1295">
              <a:extLst>
                <a:ext uri="{FF2B5EF4-FFF2-40B4-BE49-F238E27FC236}">
                  <a16:creationId xmlns:a16="http://schemas.microsoft.com/office/drawing/2014/main" id="{5BC46F4E-FE56-4C43-872F-1D9939F5C5B6}"/>
                </a:ext>
              </a:extLst>
            </p:cNvPr>
            <p:cNvSpPr/>
            <p:nvPr/>
          </p:nvSpPr>
          <p:spPr>
            <a:xfrm>
              <a:off x="3904197" y="3276444"/>
              <a:ext cx="338327" cy="429768"/>
            </a:xfrm>
            <a:custGeom>
              <a:avLst/>
              <a:gdLst>
                <a:gd name="connsiteX0" fmla="*/ 9024 w 119082"/>
                <a:gd name="connsiteY0" fmla="*/ 66310 h 151266"/>
                <a:gd name="connsiteX1" fmla="*/ 17714 w 119082"/>
                <a:gd name="connsiteY1" fmla="*/ 17068 h 151266"/>
                <a:gd name="connsiteX2" fmla="*/ 32841 w 119082"/>
                <a:gd name="connsiteY2" fmla="*/ 48609 h 151266"/>
                <a:gd name="connsiteX3" fmla="*/ 57945 w 119082"/>
                <a:gd name="connsiteY3" fmla="*/ 36701 h 151266"/>
                <a:gd name="connsiteX4" fmla="*/ 42818 w 119082"/>
                <a:gd name="connsiteY4" fmla="*/ 5160 h 151266"/>
                <a:gd name="connsiteX5" fmla="*/ 86589 w 119082"/>
                <a:gd name="connsiteY5" fmla="*/ 29298 h 151266"/>
                <a:gd name="connsiteX6" fmla="*/ 81761 w 119082"/>
                <a:gd name="connsiteY6" fmla="*/ 74356 h 151266"/>
                <a:gd name="connsiteX7" fmla="*/ 116520 w 119082"/>
                <a:gd name="connsiteY7" fmla="*/ 146771 h 151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082" h="151266">
                  <a:moveTo>
                    <a:pt x="9024" y="66310"/>
                  </a:moveTo>
                  <a:cubicBezTo>
                    <a:pt x="978" y="49253"/>
                    <a:pt x="4840" y="29620"/>
                    <a:pt x="17714" y="17068"/>
                  </a:cubicBezTo>
                  <a:lnTo>
                    <a:pt x="32841" y="48609"/>
                  </a:lnTo>
                  <a:lnTo>
                    <a:pt x="57945" y="36701"/>
                  </a:lnTo>
                  <a:lnTo>
                    <a:pt x="42818" y="5160"/>
                  </a:lnTo>
                  <a:cubicBezTo>
                    <a:pt x="60519" y="2907"/>
                    <a:pt x="78543" y="12240"/>
                    <a:pt x="86589" y="29298"/>
                  </a:cubicBezTo>
                  <a:cubicBezTo>
                    <a:pt x="93991" y="44425"/>
                    <a:pt x="91416" y="62126"/>
                    <a:pt x="81761" y="74356"/>
                  </a:cubicBezTo>
                  <a:lnTo>
                    <a:pt x="116520" y="146771"/>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31" name="Freeform: Shape 1296">
              <a:extLst>
                <a:ext uri="{FF2B5EF4-FFF2-40B4-BE49-F238E27FC236}">
                  <a16:creationId xmlns:a16="http://schemas.microsoft.com/office/drawing/2014/main" id="{8FCE65BF-D318-EF40-89D0-6D0AF7DC504E}"/>
                </a:ext>
              </a:extLst>
            </p:cNvPr>
            <p:cNvSpPr/>
            <p:nvPr/>
          </p:nvSpPr>
          <p:spPr>
            <a:xfrm>
              <a:off x="4812231" y="3246655"/>
              <a:ext cx="210311" cy="438911"/>
            </a:xfrm>
            <a:custGeom>
              <a:avLst/>
              <a:gdLst>
                <a:gd name="connsiteX0" fmla="*/ 25104 w 74024"/>
                <a:gd name="connsiteY0" fmla="*/ 54266 h 154485"/>
                <a:gd name="connsiteX1" fmla="*/ 24138 w 74024"/>
                <a:gd name="connsiteY1" fmla="*/ 48794 h 154485"/>
                <a:gd name="connsiteX2" fmla="*/ 53426 w 74024"/>
                <a:gd name="connsiteY2" fmla="*/ 7598 h 154485"/>
                <a:gd name="connsiteX3" fmla="*/ 58898 w 74024"/>
                <a:gd name="connsiteY3" fmla="*/ 5023 h 154485"/>
                <a:gd name="connsiteX4" fmla="*/ 67265 w 74024"/>
                <a:gd name="connsiteY4" fmla="*/ 7920 h 154485"/>
                <a:gd name="connsiteX5" fmla="*/ 70162 w 74024"/>
                <a:gd name="connsiteY5" fmla="*/ 13391 h 154485"/>
                <a:gd name="connsiteX6" fmla="*/ 68231 w 74024"/>
                <a:gd name="connsiteY6" fmla="*/ 63599 h 154485"/>
                <a:gd name="connsiteX7" fmla="*/ 64047 w 74024"/>
                <a:gd name="connsiteY7" fmla="*/ 67461 h 154485"/>
                <a:gd name="connsiteX8" fmla="*/ 53426 w 74024"/>
                <a:gd name="connsiteY8" fmla="*/ 68749 h 154485"/>
                <a:gd name="connsiteX9" fmla="*/ 25426 w 74024"/>
                <a:gd name="connsiteY9" fmla="*/ 150497 h 154485"/>
                <a:gd name="connsiteX10" fmla="*/ 4828 w 74024"/>
                <a:gd name="connsiteY10" fmla="*/ 143417 h 154485"/>
                <a:gd name="connsiteX11" fmla="*/ 32828 w 74024"/>
                <a:gd name="connsiteY11" fmla="*/ 61668 h 154485"/>
                <a:gd name="connsiteX12" fmla="*/ 25104 w 74024"/>
                <a:gd name="connsiteY12" fmla="*/ 54266 h 15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024" h="154485">
                  <a:moveTo>
                    <a:pt x="25104" y="54266"/>
                  </a:moveTo>
                  <a:cubicBezTo>
                    <a:pt x="24138" y="53300"/>
                    <a:pt x="23173" y="51047"/>
                    <a:pt x="24138" y="48794"/>
                  </a:cubicBezTo>
                  <a:lnTo>
                    <a:pt x="53426" y="7598"/>
                  </a:lnTo>
                  <a:cubicBezTo>
                    <a:pt x="54392" y="5345"/>
                    <a:pt x="56645" y="4380"/>
                    <a:pt x="58898" y="5023"/>
                  </a:cubicBezTo>
                  <a:lnTo>
                    <a:pt x="67265" y="7920"/>
                  </a:lnTo>
                  <a:cubicBezTo>
                    <a:pt x="69518" y="8564"/>
                    <a:pt x="70806" y="11138"/>
                    <a:pt x="70162" y="13391"/>
                  </a:cubicBezTo>
                  <a:lnTo>
                    <a:pt x="68231" y="63599"/>
                  </a:lnTo>
                  <a:cubicBezTo>
                    <a:pt x="67587" y="66174"/>
                    <a:pt x="65334" y="67461"/>
                    <a:pt x="64047" y="67461"/>
                  </a:cubicBezTo>
                  <a:cubicBezTo>
                    <a:pt x="61472" y="67461"/>
                    <a:pt x="54070" y="66174"/>
                    <a:pt x="53426" y="68749"/>
                  </a:cubicBezTo>
                  <a:lnTo>
                    <a:pt x="25426" y="150497"/>
                  </a:lnTo>
                  <a:lnTo>
                    <a:pt x="4828" y="143417"/>
                  </a:lnTo>
                  <a:lnTo>
                    <a:pt x="32828" y="61668"/>
                  </a:lnTo>
                  <a:cubicBezTo>
                    <a:pt x="33794" y="59093"/>
                    <a:pt x="27035" y="55553"/>
                    <a:pt x="25104" y="54266"/>
                  </a:cubicBezTo>
                  <a:close/>
                </a:path>
              </a:pathLst>
            </a:custGeom>
            <a:ln w="12700" cap="flat">
              <a:solidFill>
                <a:srgbClr val="FDC500"/>
              </a:solidFill>
              <a:prstDash val="solid"/>
              <a:round/>
            </a:ln>
          </p:spPr>
          <p:txBody>
            <a:bodyPr rtlCol="0" anchor="ctr"/>
            <a:lstStyle/>
            <a:p>
              <a:pPr defTabSz="731504">
                <a:defRPr/>
              </a:pPr>
              <a:endParaRPr lang="en-US" sz="1800" dirty="0">
                <a:solidFill>
                  <a:srgbClr val="FFFFFF"/>
                </a:solidFill>
              </a:endParaRPr>
            </a:p>
          </p:txBody>
        </p:sp>
        <p:sp>
          <p:nvSpPr>
            <p:cNvPr id="632" name="Freeform: Shape 1297">
              <a:extLst>
                <a:ext uri="{FF2B5EF4-FFF2-40B4-BE49-F238E27FC236}">
                  <a16:creationId xmlns:a16="http://schemas.microsoft.com/office/drawing/2014/main" id="{56238A50-0DA6-8143-9C97-2F6D60F2EB1C}"/>
                </a:ext>
              </a:extLst>
            </p:cNvPr>
            <p:cNvSpPr/>
            <p:nvPr/>
          </p:nvSpPr>
          <p:spPr>
            <a:xfrm>
              <a:off x="4714391" y="3630713"/>
              <a:ext cx="219457" cy="182880"/>
            </a:xfrm>
            <a:custGeom>
              <a:avLst/>
              <a:gdLst>
                <a:gd name="connsiteX0" fmla="*/ 61472 w 77242"/>
                <a:gd name="connsiteY0" fmla="*/ 60700 h 64368"/>
                <a:gd name="connsiteX1" fmla="*/ 73702 w 77242"/>
                <a:gd name="connsiteY1" fmla="*/ 24975 h 64368"/>
                <a:gd name="connsiteX2" fmla="*/ 70806 w 77242"/>
                <a:gd name="connsiteY2" fmla="*/ 19182 h 64368"/>
                <a:gd name="connsiteX3" fmla="*/ 28644 w 77242"/>
                <a:gd name="connsiteY3" fmla="*/ 5021 h 64368"/>
                <a:gd name="connsiteX4" fmla="*/ 22851 w 77242"/>
                <a:gd name="connsiteY4" fmla="*/ 7917 h 64368"/>
                <a:gd name="connsiteX5" fmla="*/ 4828 w 77242"/>
                <a:gd name="connsiteY5" fmla="*/ 61022 h 64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242" h="64368">
                  <a:moveTo>
                    <a:pt x="61472" y="60700"/>
                  </a:moveTo>
                  <a:lnTo>
                    <a:pt x="73702" y="24975"/>
                  </a:lnTo>
                  <a:cubicBezTo>
                    <a:pt x="74668" y="22722"/>
                    <a:pt x="73381" y="20147"/>
                    <a:pt x="70806" y="19182"/>
                  </a:cubicBezTo>
                  <a:lnTo>
                    <a:pt x="28644" y="5021"/>
                  </a:lnTo>
                  <a:cubicBezTo>
                    <a:pt x="26391" y="4377"/>
                    <a:pt x="23816" y="5343"/>
                    <a:pt x="22851" y="7917"/>
                  </a:cubicBezTo>
                  <a:lnTo>
                    <a:pt x="4828" y="61022"/>
                  </a:lnTo>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633" name="Freeform: Shape 1298">
              <a:extLst>
                <a:ext uri="{FF2B5EF4-FFF2-40B4-BE49-F238E27FC236}">
                  <a16:creationId xmlns:a16="http://schemas.microsoft.com/office/drawing/2014/main" id="{2985CEDE-5E60-E443-BC9D-1E4C885DE43B}"/>
                </a:ext>
              </a:extLst>
            </p:cNvPr>
            <p:cNvSpPr/>
            <p:nvPr/>
          </p:nvSpPr>
          <p:spPr>
            <a:xfrm>
              <a:off x="4592984" y="3105690"/>
              <a:ext cx="128015" cy="155449"/>
            </a:xfrm>
            <a:custGeom>
              <a:avLst/>
              <a:gdLst>
                <a:gd name="connsiteX0" fmla="*/ 13444 w 45058"/>
                <a:gd name="connsiteY0" fmla="*/ 46916 h 54713"/>
                <a:gd name="connsiteX1" fmla="*/ 31467 w 45058"/>
                <a:gd name="connsiteY1" fmla="*/ 50778 h 54713"/>
                <a:gd name="connsiteX2" fmla="*/ 40479 w 45058"/>
                <a:gd name="connsiteY2" fmla="*/ 8938 h 54713"/>
                <a:gd name="connsiteX3" fmla="*/ 22455 w 45058"/>
                <a:gd name="connsiteY3" fmla="*/ 5076 h 54713"/>
                <a:gd name="connsiteX4" fmla="*/ 9582 w 45058"/>
                <a:gd name="connsiteY4" fmla="*/ 13444 h 54713"/>
                <a:gd name="connsiteX5" fmla="*/ 5076 w 45058"/>
                <a:gd name="connsiteY5" fmla="*/ 34042 h 54713"/>
                <a:gd name="connsiteX6" fmla="*/ 13444 w 45058"/>
                <a:gd name="connsiteY6" fmla="*/ 46916 h 5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58" h="54713">
                  <a:moveTo>
                    <a:pt x="13444" y="46916"/>
                  </a:moveTo>
                  <a:lnTo>
                    <a:pt x="31467" y="50778"/>
                  </a:lnTo>
                  <a:lnTo>
                    <a:pt x="40479" y="8938"/>
                  </a:lnTo>
                  <a:lnTo>
                    <a:pt x="22455" y="5076"/>
                  </a:lnTo>
                  <a:cubicBezTo>
                    <a:pt x="16662" y="3788"/>
                    <a:pt x="10869" y="7650"/>
                    <a:pt x="9582" y="13444"/>
                  </a:cubicBezTo>
                  <a:lnTo>
                    <a:pt x="5076" y="34042"/>
                  </a:lnTo>
                  <a:cubicBezTo>
                    <a:pt x="3788" y="39835"/>
                    <a:pt x="7651" y="45628"/>
                    <a:pt x="13444" y="46916"/>
                  </a:cubicBezTo>
                  <a:close/>
                </a:path>
              </a:pathLst>
            </a:custGeom>
            <a:ln w="12700" cap="flat">
              <a:solidFill>
                <a:srgbClr val="FDC500"/>
              </a:solidFill>
              <a:prstDash val="solid"/>
              <a:round/>
            </a:ln>
          </p:spPr>
          <p:txBody>
            <a:bodyPr rtlCol="0" anchor="ctr"/>
            <a:lstStyle/>
            <a:p>
              <a:pPr defTabSz="731504">
                <a:defRPr/>
              </a:pPr>
              <a:endParaRPr lang="en-US" sz="1800" dirty="0">
                <a:solidFill>
                  <a:srgbClr val="FFFFFF"/>
                </a:solidFill>
              </a:endParaRPr>
            </a:p>
          </p:txBody>
        </p:sp>
      </p:grpSp>
      <p:grpSp>
        <p:nvGrpSpPr>
          <p:cNvPr id="634" name="Group 633">
            <a:extLst>
              <a:ext uri="{FF2B5EF4-FFF2-40B4-BE49-F238E27FC236}">
                <a16:creationId xmlns:a16="http://schemas.microsoft.com/office/drawing/2014/main" id="{21F46EC5-72AC-BE41-B63A-8ECD0A519291}"/>
              </a:ext>
            </a:extLst>
          </p:cNvPr>
          <p:cNvGrpSpPr>
            <a:grpSpLocks noChangeAspect="1"/>
          </p:cNvGrpSpPr>
          <p:nvPr/>
        </p:nvGrpSpPr>
        <p:grpSpPr>
          <a:xfrm>
            <a:off x="11898963" y="3262959"/>
            <a:ext cx="327769" cy="329184"/>
            <a:chOff x="3853940" y="3046180"/>
            <a:chExt cx="1239926" cy="1245279"/>
          </a:xfrm>
        </p:grpSpPr>
        <p:sp>
          <p:nvSpPr>
            <p:cNvPr id="635" name="Freeform: Shape 1268">
              <a:extLst>
                <a:ext uri="{FF2B5EF4-FFF2-40B4-BE49-F238E27FC236}">
                  <a16:creationId xmlns:a16="http://schemas.microsoft.com/office/drawing/2014/main" id="{9B0EFDD2-13E9-B944-A00F-CF184731C59B}"/>
                </a:ext>
              </a:extLst>
            </p:cNvPr>
            <p:cNvSpPr/>
            <p:nvPr/>
          </p:nvSpPr>
          <p:spPr>
            <a:xfrm>
              <a:off x="3853940" y="3315794"/>
              <a:ext cx="54865" cy="685799"/>
            </a:xfrm>
            <a:custGeom>
              <a:avLst/>
              <a:gdLst>
                <a:gd name="connsiteX0" fmla="*/ 4828 w 19310"/>
                <a:gd name="connsiteY0" fmla="*/ 238487 h 241383"/>
                <a:gd name="connsiteX1" fmla="*/ 4828 w 19310"/>
                <a:gd name="connsiteY1" fmla="*/ 4828 h 241383"/>
                <a:gd name="connsiteX2" fmla="*/ 16736 w 19310"/>
                <a:gd name="connsiteY2" fmla="*/ 4828 h 241383"/>
              </a:gdLst>
              <a:ahLst/>
              <a:cxnLst>
                <a:cxn ang="0">
                  <a:pos x="connsiteX0" y="connsiteY0"/>
                </a:cxn>
                <a:cxn ang="0">
                  <a:pos x="connsiteX1" y="connsiteY1"/>
                </a:cxn>
                <a:cxn ang="0">
                  <a:pos x="connsiteX2" y="connsiteY2"/>
                </a:cxn>
              </a:cxnLst>
              <a:rect l="l" t="t" r="r" b="b"/>
              <a:pathLst>
                <a:path w="19310" h="241383">
                  <a:moveTo>
                    <a:pt x="4828" y="238487"/>
                  </a:moveTo>
                  <a:lnTo>
                    <a:pt x="4828" y="4828"/>
                  </a:lnTo>
                  <a:lnTo>
                    <a:pt x="16736" y="4828"/>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36" name="Freeform: Shape 1269">
              <a:extLst>
                <a:ext uri="{FF2B5EF4-FFF2-40B4-BE49-F238E27FC236}">
                  <a16:creationId xmlns:a16="http://schemas.microsoft.com/office/drawing/2014/main" id="{1A3789A4-E034-1F4C-BA92-16C388E29156}"/>
                </a:ext>
              </a:extLst>
            </p:cNvPr>
            <p:cNvSpPr/>
            <p:nvPr/>
          </p:nvSpPr>
          <p:spPr>
            <a:xfrm>
              <a:off x="3853940" y="4024453"/>
              <a:ext cx="27431" cy="128015"/>
            </a:xfrm>
            <a:custGeom>
              <a:avLst/>
              <a:gdLst>
                <a:gd name="connsiteX0" fmla="*/ 4828 w 9655"/>
                <a:gd name="connsiteY0" fmla="*/ 40552 h 45058"/>
                <a:gd name="connsiteX1" fmla="*/ 4828 w 9655"/>
                <a:gd name="connsiteY1" fmla="*/ 4828 h 45058"/>
              </a:gdLst>
              <a:ahLst/>
              <a:cxnLst>
                <a:cxn ang="0">
                  <a:pos x="connsiteX0" y="connsiteY0"/>
                </a:cxn>
                <a:cxn ang="0">
                  <a:pos x="connsiteX1" y="connsiteY1"/>
                </a:cxn>
              </a:cxnLst>
              <a:rect l="l" t="t" r="r" b="b"/>
              <a:pathLst>
                <a:path w="9655" h="45058">
                  <a:moveTo>
                    <a:pt x="4828" y="40552"/>
                  </a:moveTo>
                  <a:lnTo>
                    <a:pt x="482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37" name="Freeform: Shape 1270">
              <a:extLst>
                <a:ext uri="{FF2B5EF4-FFF2-40B4-BE49-F238E27FC236}">
                  <a16:creationId xmlns:a16="http://schemas.microsoft.com/office/drawing/2014/main" id="{DC4971C1-4829-FD49-9B52-C28618BA1983}"/>
                </a:ext>
              </a:extLst>
            </p:cNvPr>
            <p:cNvSpPr/>
            <p:nvPr/>
          </p:nvSpPr>
          <p:spPr>
            <a:xfrm>
              <a:off x="3853940" y="3550795"/>
              <a:ext cx="128015" cy="740664"/>
            </a:xfrm>
            <a:custGeom>
              <a:avLst/>
              <a:gdLst>
                <a:gd name="connsiteX0" fmla="*/ 40231 w 45058"/>
                <a:gd name="connsiteY0" fmla="*/ 4828 h 260694"/>
                <a:gd name="connsiteX1" fmla="*/ 40231 w 45058"/>
                <a:gd name="connsiteY1" fmla="*/ 255866 h 260694"/>
                <a:gd name="connsiteX2" fmla="*/ 4828 w 45058"/>
                <a:gd name="connsiteY2" fmla="*/ 255866 h 260694"/>
                <a:gd name="connsiteX3" fmla="*/ 4828 w 45058"/>
                <a:gd name="connsiteY3" fmla="*/ 224004 h 260694"/>
              </a:gdLst>
              <a:ahLst/>
              <a:cxnLst>
                <a:cxn ang="0">
                  <a:pos x="connsiteX0" y="connsiteY0"/>
                </a:cxn>
                <a:cxn ang="0">
                  <a:pos x="connsiteX1" y="connsiteY1"/>
                </a:cxn>
                <a:cxn ang="0">
                  <a:pos x="connsiteX2" y="connsiteY2"/>
                </a:cxn>
                <a:cxn ang="0">
                  <a:pos x="connsiteX3" y="connsiteY3"/>
                </a:cxn>
              </a:cxnLst>
              <a:rect l="l" t="t" r="r" b="b"/>
              <a:pathLst>
                <a:path w="45058" h="260694">
                  <a:moveTo>
                    <a:pt x="40231" y="4828"/>
                  </a:moveTo>
                  <a:lnTo>
                    <a:pt x="40231" y="255866"/>
                  </a:lnTo>
                  <a:lnTo>
                    <a:pt x="4828" y="255866"/>
                  </a:lnTo>
                  <a:lnTo>
                    <a:pt x="4828" y="224004"/>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38" name="Freeform: Shape 1271">
              <a:extLst>
                <a:ext uri="{FF2B5EF4-FFF2-40B4-BE49-F238E27FC236}">
                  <a16:creationId xmlns:a16="http://schemas.microsoft.com/office/drawing/2014/main" id="{D10BAE43-64C9-1749-8165-8BEB17A171E6}"/>
                </a:ext>
              </a:extLst>
            </p:cNvPr>
            <p:cNvSpPr/>
            <p:nvPr/>
          </p:nvSpPr>
          <p:spPr>
            <a:xfrm>
              <a:off x="4965851" y="3315794"/>
              <a:ext cx="128015" cy="969264"/>
            </a:xfrm>
            <a:custGeom>
              <a:avLst/>
              <a:gdLst>
                <a:gd name="connsiteX0" fmla="*/ 30575 w 45058"/>
                <a:gd name="connsiteY0" fmla="*/ 4828 h 341155"/>
                <a:gd name="connsiteX1" fmla="*/ 40231 w 45058"/>
                <a:gd name="connsiteY1" fmla="*/ 4828 h 341155"/>
                <a:gd name="connsiteX2" fmla="*/ 40231 w 45058"/>
                <a:gd name="connsiteY2" fmla="*/ 338580 h 341155"/>
                <a:gd name="connsiteX3" fmla="*/ 4828 w 45058"/>
                <a:gd name="connsiteY3" fmla="*/ 338580 h 341155"/>
                <a:gd name="connsiteX4" fmla="*/ 4828 w 45058"/>
                <a:gd name="connsiteY4" fmla="*/ 73702 h 341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58" h="341155">
                  <a:moveTo>
                    <a:pt x="30575" y="4828"/>
                  </a:moveTo>
                  <a:lnTo>
                    <a:pt x="40231" y="4828"/>
                  </a:lnTo>
                  <a:lnTo>
                    <a:pt x="40231" y="338580"/>
                  </a:lnTo>
                  <a:lnTo>
                    <a:pt x="4828" y="338580"/>
                  </a:lnTo>
                  <a:lnTo>
                    <a:pt x="4828" y="73702"/>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39" name="Freeform: Shape 1272">
              <a:extLst>
                <a:ext uri="{FF2B5EF4-FFF2-40B4-BE49-F238E27FC236}">
                  <a16:creationId xmlns:a16="http://schemas.microsoft.com/office/drawing/2014/main" id="{5FD0D8F3-3718-A442-A7A5-9B6E0AFD3C6F}"/>
                </a:ext>
              </a:extLst>
            </p:cNvPr>
            <p:cNvSpPr/>
            <p:nvPr/>
          </p:nvSpPr>
          <p:spPr>
            <a:xfrm>
              <a:off x="4812231" y="4222877"/>
              <a:ext cx="137161" cy="27431"/>
            </a:xfrm>
            <a:custGeom>
              <a:avLst/>
              <a:gdLst>
                <a:gd name="connsiteX0" fmla="*/ 4828 w 48276"/>
                <a:gd name="connsiteY0" fmla="*/ 4828 h 9655"/>
                <a:gd name="connsiteX1" fmla="*/ 44736 w 48276"/>
                <a:gd name="connsiteY1" fmla="*/ 4828 h 9655"/>
              </a:gdLst>
              <a:ahLst/>
              <a:cxnLst>
                <a:cxn ang="0">
                  <a:pos x="connsiteX0" y="connsiteY0"/>
                </a:cxn>
                <a:cxn ang="0">
                  <a:pos x="connsiteX1" y="connsiteY1"/>
                </a:cxn>
              </a:cxnLst>
              <a:rect l="l" t="t" r="r" b="b"/>
              <a:pathLst>
                <a:path w="48276" h="9655">
                  <a:moveTo>
                    <a:pt x="4828" y="4828"/>
                  </a:moveTo>
                  <a:lnTo>
                    <a:pt x="44736"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40" name="Freeform: Shape 1273">
              <a:extLst>
                <a:ext uri="{FF2B5EF4-FFF2-40B4-BE49-F238E27FC236}">
                  <a16:creationId xmlns:a16="http://schemas.microsoft.com/office/drawing/2014/main" id="{E50DFC21-AE31-FF4F-8E8C-C4390174485B}"/>
                </a:ext>
              </a:extLst>
            </p:cNvPr>
            <p:cNvSpPr/>
            <p:nvPr/>
          </p:nvSpPr>
          <p:spPr>
            <a:xfrm>
              <a:off x="4641238" y="4222877"/>
              <a:ext cx="137161" cy="27431"/>
            </a:xfrm>
            <a:custGeom>
              <a:avLst/>
              <a:gdLst>
                <a:gd name="connsiteX0" fmla="*/ 4828 w 48276"/>
                <a:gd name="connsiteY0" fmla="*/ 4828 h 9655"/>
                <a:gd name="connsiteX1" fmla="*/ 45380 w 48276"/>
                <a:gd name="connsiteY1" fmla="*/ 4828 h 9655"/>
              </a:gdLst>
              <a:ahLst/>
              <a:cxnLst>
                <a:cxn ang="0">
                  <a:pos x="connsiteX0" y="connsiteY0"/>
                </a:cxn>
                <a:cxn ang="0">
                  <a:pos x="connsiteX1" y="connsiteY1"/>
                </a:cxn>
              </a:cxnLst>
              <a:rect l="l" t="t" r="r" b="b"/>
              <a:pathLst>
                <a:path w="48276" h="9655">
                  <a:moveTo>
                    <a:pt x="4828" y="4828"/>
                  </a:moveTo>
                  <a:lnTo>
                    <a:pt x="45380"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41" name="Freeform: Shape 1274">
              <a:extLst>
                <a:ext uri="{FF2B5EF4-FFF2-40B4-BE49-F238E27FC236}">
                  <a16:creationId xmlns:a16="http://schemas.microsoft.com/office/drawing/2014/main" id="{EC67CAE5-2056-394A-964E-EE5B58629A93}"/>
                </a:ext>
              </a:extLst>
            </p:cNvPr>
            <p:cNvSpPr/>
            <p:nvPr/>
          </p:nvSpPr>
          <p:spPr>
            <a:xfrm>
              <a:off x="3994757" y="4222877"/>
              <a:ext cx="630937" cy="27431"/>
            </a:xfrm>
            <a:custGeom>
              <a:avLst/>
              <a:gdLst>
                <a:gd name="connsiteX0" fmla="*/ 4828 w 222072"/>
                <a:gd name="connsiteY0" fmla="*/ 4828 h 9655"/>
                <a:gd name="connsiteX1" fmla="*/ 219176 w 222072"/>
                <a:gd name="connsiteY1" fmla="*/ 4828 h 9655"/>
              </a:gdLst>
              <a:ahLst/>
              <a:cxnLst>
                <a:cxn ang="0">
                  <a:pos x="connsiteX0" y="connsiteY0"/>
                </a:cxn>
                <a:cxn ang="0">
                  <a:pos x="connsiteX1" y="connsiteY1"/>
                </a:cxn>
              </a:cxnLst>
              <a:rect l="l" t="t" r="r" b="b"/>
              <a:pathLst>
                <a:path w="222072" h="9655">
                  <a:moveTo>
                    <a:pt x="4828" y="4828"/>
                  </a:moveTo>
                  <a:lnTo>
                    <a:pt x="219176"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76" name="Freeform: Shape 1275">
              <a:extLst>
                <a:ext uri="{FF2B5EF4-FFF2-40B4-BE49-F238E27FC236}">
                  <a16:creationId xmlns:a16="http://schemas.microsoft.com/office/drawing/2014/main" id="{66FACF87-1E1B-0746-8B1E-A5D9AA2C5DDF}"/>
                </a:ext>
              </a:extLst>
            </p:cNvPr>
            <p:cNvSpPr/>
            <p:nvPr/>
          </p:nvSpPr>
          <p:spPr>
            <a:xfrm>
              <a:off x="4658612" y="3383458"/>
              <a:ext cx="201169" cy="27431"/>
            </a:xfrm>
            <a:custGeom>
              <a:avLst/>
              <a:gdLst>
                <a:gd name="connsiteX0" fmla="*/ 4828 w 70805"/>
                <a:gd name="connsiteY0" fmla="*/ 4828 h 9655"/>
                <a:gd name="connsiteX1" fmla="*/ 68875 w 70805"/>
                <a:gd name="connsiteY1" fmla="*/ 4828 h 9655"/>
              </a:gdLst>
              <a:ahLst/>
              <a:cxnLst>
                <a:cxn ang="0">
                  <a:pos x="connsiteX0" y="connsiteY0"/>
                </a:cxn>
                <a:cxn ang="0">
                  <a:pos x="connsiteX1" y="connsiteY1"/>
                </a:cxn>
              </a:cxnLst>
              <a:rect l="l" t="t" r="r" b="b"/>
              <a:pathLst>
                <a:path w="70805" h="9655">
                  <a:moveTo>
                    <a:pt x="4828" y="4828"/>
                  </a:moveTo>
                  <a:lnTo>
                    <a:pt x="68875"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77" name="Freeform: Shape 1276">
              <a:extLst>
                <a:ext uri="{FF2B5EF4-FFF2-40B4-BE49-F238E27FC236}">
                  <a16:creationId xmlns:a16="http://schemas.microsoft.com/office/drawing/2014/main" id="{3F94C4B6-B1BD-3A4C-8C56-43AB1DFEA12F}"/>
                </a:ext>
              </a:extLst>
            </p:cNvPr>
            <p:cNvSpPr/>
            <p:nvPr/>
          </p:nvSpPr>
          <p:spPr>
            <a:xfrm>
              <a:off x="4172152" y="3383458"/>
              <a:ext cx="146304" cy="27431"/>
            </a:xfrm>
            <a:custGeom>
              <a:avLst/>
              <a:gdLst>
                <a:gd name="connsiteX0" fmla="*/ 4828 w 51495"/>
                <a:gd name="connsiteY0" fmla="*/ 4828 h 9655"/>
                <a:gd name="connsiteX1" fmla="*/ 47311 w 51495"/>
                <a:gd name="connsiteY1" fmla="*/ 4828 h 9655"/>
              </a:gdLst>
              <a:ahLst/>
              <a:cxnLst>
                <a:cxn ang="0">
                  <a:pos x="connsiteX0" y="connsiteY0"/>
                </a:cxn>
                <a:cxn ang="0">
                  <a:pos x="connsiteX1" y="connsiteY1"/>
                </a:cxn>
              </a:cxnLst>
              <a:rect l="l" t="t" r="r" b="b"/>
              <a:pathLst>
                <a:path w="51495" h="9655">
                  <a:moveTo>
                    <a:pt x="4828" y="4828"/>
                  </a:moveTo>
                  <a:lnTo>
                    <a:pt x="47311"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78" name="Freeform: Shape 1277">
              <a:extLst>
                <a:ext uri="{FF2B5EF4-FFF2-40B4-BE49-F238E27FC236}">
                  <a16:creationId xmlns:a16="http://schemas.microsoft.com/office/drawing/2014/main" id="{6A12E9BF-6E3D-B244-BF4F-52A806FCF85C}"/>
                </a:ext>
              </a:extLst>
            </p:cNvPr>
            <p:cNvSpPr/>
            <p:nvPr/>
          </p:nvSpPr>
          <p:spPr>
            <a:xfrm>
              <a:off x="4666842" y="3463924"/>
              <a:ext cx="201169" cy="27431"/>
            </a:xfrm>
            <a:custGeom>
              <a:avLst/>
              <a:gdLst>
                <a:gd name="connsiteX0" fmla="*/ 4828 w 70805"/>
                <a:gd name="connsiteY0" fmla="*/ 4828 h 9655"/>
                <a:gd name="connsiteX1" fmla="*/ 68231 w 70805"/>
                <a:gd name="connsiteY1" fmla="*/ 4828 h 9655"/>
              </a:gdLst>
              <a:ahLst/>
              <a:cxnLst>
                <a:cxn ang="0">
                  <a:pos x="connsiteX0" y="connsiteY0"/>
                </a:cxn>
                <a:cxn ang="0">
                  <a:pos x="connsiteX1" y="connsiteY1"/>
                </a:cxn>
              </a:cxnLst>
              <a:rect l="l" t="t" r="r" b="b"/>
              <a:pathLst>
                <a:path w="70805" h="9655">
                  <a:moveTo>
                    <a:pt x="4828" y="4828"/>
                  </a:moveTo>
                  <a:lnTo>
                    <a:pt x="68231"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79" name="Freeform: Shape 1278">
              <a:extLst>
                <a:ext uri="{FF2B5EF4-FFF2-40B4-BE49-F238E27FC236}">
                  <a16:creationId xmlns:a16="http://schemas.microsoft.com/office/drawing/2014/main" id="{7B2FD604-4B7B-3D43-9228-1A7FD2607A04}"/>
                </a:ext>
              </a:extLst>
            </p:cNvPr>
            <p:cNvSpPr/>
            <p:nvPr/>
          </p:nvSpPr>
          <p:spPr>
            <a:xfrm>
              <a:off x="4441899" y="3463924"/>
              <a:ext cx="54865" cy="27431"/>
            </a:xfrm>
            <a:custGeom>
              <a:avLst/>
              <a:gdLst>
                <a:gd name="connsiteX0" fmla="*/ 4828 w 19310"/>
                <a:gd name="connsiteY0" fmla="*/ 4828 h 9655"/>
                <a:gd name="connsiteX1" fmla="*/ 17058 w 19310"/>
                <a:gd name="connsiteY1" fmla="*/ 4828 h 9655"/>
              </a:gdLst>
              <a:ahLst/>
              <a:cxnLst>
                <a:cxn ang="0">
                  <a:pos x="connsiteX0" y="connsiteY0"/>
                </a:cxn>
                <a:cxn ang="0">
                  <a:pos x="connsiteX1" y="connsiteY1"/>
                </a:cxn>
              </a:cxnLst>
              <a:rect l="l" t="t" r="r" b="b"/>
              <a:pathLst>
                <a:path w="19310" h="9655">
                  <a:moveTo>
                    <a:pt x="4828" y="4828"/>
                  </a:moveTo>
                  <a:lnTo>
                    <a:pt x="1705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80" name="Freeform: Shape 1279">
              <a:extLst>
                <a:ext uri="{FF2B5EF4-FFF2-40B4-BE49-F238E27FC236}">
                  <a16:creationId xmlns:a16="http://schemas.microsoft.com/office/drawing/2014/main" id="{C87C00C9-D7DD-0449-B635-D038AF85E590}"/>
                </a:ext>
              </a:extLst>
            </p:cNvPr>
            <p:cNvSpPr/>
            <p:nvPr/>
          </p:nvSpPr>
          <p:spPr>
            <a:xfrm>
              <a:off x="4161179" y="3463924"/>
              <a:ext cx="146304" cy="27431"/>
            </a:xfrm>
            <a:custGeom>
              <a:avLst/>
              <a:gdLst>
                <a:gd name="connsiteX0" fmla="*/ 4828 w 51495"/>
                <a:gd name="connsiteY0" fmla="*/ 4828 h 9655"/>
                <a:gd name="connsiteX1" fmla="*/ 46667 w 51495"/>
                <a:gd name="connsiteY1" fmla="*/ 4828 h 9655"/>
              </a:gdLst>
              <a:ahLst/>
              <a:cxnLst>
                <a:cxn ang="0">
                  <a:pos x="connsiteX0" y="connsiteY0"/>
                </a:cxn>
                <a:cxn ang="0">
                  <a:pos x="connsiteX1" y="connsiteY1"/>
                </a:cxn>
              </a:cxnLst>
              <a:rect l="l" t="t" r="r" b="b"/>
              <a:pathLst>
                <a:path w="51495" h="9655">
                  <a:moveTo>
                    <a:pt x="4828" y="4828"/>
                  </a:moveTo>
                  <a:lnTo>
                    <a:pt x="46667"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81" name="Freeform: Shape 1280">
              <a:extLst>
                <a:ext uri="{FF2B5EF4-FFF2-40B4-BE49-F238E27FC236}">
                  <a16:creationId xmlns:a16="http://schemas.microsoft.com/office/drawing/2014/main" id="{9AE199B9-43EA-A540-9C97-CCA89385E605}"/>
                </a:ext>
              </a:extLst>
            </p:cNvPr>
            <p:cNvSpPr/>
            <p:nvPr/>
          </p:nvSpPr>
          <p:spPr>
            <a:xfrm>
              <a:off x="4509563" y="3473070"/>
              <a:ext cx="73153" cy="27431"/>
            </a:xfrm>
            <a:custGeom>
              <a:avLst/>
              <a:gdLst>
                <a:gd name="connsiteX0" fmla="*/ 23495 w 25747"/>
                <a:gd name="connsiteY0" fmla="*/ 4828 h 9655"/>
                <a:gd name="connsiteX1" fmla="*/ 4828 w 25747"/>
                <a:gd name="connsiteY1" fmla="*/ 6759 h 9655"/>
              </a:gdLst>
              <a:ahLst/>
              <a:cxnLst>
                <a:cxn ang="0">
                  <a:pos x="connsiteX0" y="connsiteY0"/>
                </a:cxn>
                <a:cxn ang="0">
                  <a:pos x="connsiteX1" y="connsiteY1"/>
                </a:cxn>
              </a:cxnLst>
              <a:rect l="l" t="t" r="r" b="b"/>
              <a:pathLst>
                <a:path w="25747" h="9655">
                  <a:moveTo>
                    <a:pt x="23495" y="4828"/>
                  </a:moveTo>
                  <a:lnTo>
                    <a:pt x="4828" y="6759"/>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82" name="Freeform: Shape 1281">
              <a:extLst>
                <a:ext uri="{FF2B5EF4-FFF2-40B4-BE49-F238E27FC236}">
                  <a16:creationId xmlns:a16="http://schemas.microsoft.com/office/drawing/2014/main" id="{7FE9A2B5-8D9D-7C4B-B2E7-545956A52407}"/>
                </a:ext>
              </a:extLst>
            </p:cNvPr>
            <p:cNvSpPr/>
            <p:nvPr/>
          </p:nvSpPr>
          <p:spPr>
            <a:xfrm>
              <a:off x="4518709" y="3559023"/>
              <a:ext cx="73153" cy="27431"/>
            </a:xfrm>
            <a:custGeom>
              <a:avLst/>
              <a:gdLst>
                <a:gd name="connsiteX0" fmla="*/ 23817 w 25747"/>
                <a:gd name="connsiteY0" fmla="*/ 4828 h 9655"/>
                <a:gd name="connsiteX1" fmla="*/ 4828 w 25747"/>
                <a:gd name="connsiteY1" fmla="*/ 7081 h 9655"/>
              </a:gdLst>
              <a:ahLst/>
              <a:cxnLst>
                <a:cxn ang="0">
                  <a:pos x="connsiteX0" y="connsiteY0"/>
                </a:cxn>
                <a:cxn ang="0">
                  <a:pos x="connsiteX1" y="connsiteY1"/>
                </a:cxn>
              </a:cxnLst>
              <a:rect l="l" t="t" r="r" b="b"/>
              <a:pathLst>
                <a:path w="25747" h="9655">
                  <a:moveTo>
                    <a:pt x="23817" y="4828"/>
                  </a:moveTo>
                  <a:lnTo>
                    <a:pt x="4828" y="7081"/>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83" name="Freeform: Shape 1282">
              <a:extLst>
                <a:ext uri="{FF2B5EF4-FFF2-40B4-BE49-F238E27FC236}">
                  <a16:creationId xmlns:a16="http://schemas.microsoft.com/office/drawing/2014/main" id="{AA4D9B05-9504-464D-8ED2-69C1E477658E}"/>
                </a:ext>
              </a:extLst>
            </p:cNvPr>
            <p:cNvSpPr/>
            <p:nvPr/>
          </p:nvSpPr>
          <p:spPr>
            <a:xfrm>
              <a:off x="4527852" y="3645890"/>
              <a:ext cx="73153" cy="27431"/>
            </a:xfrm>
            <a:custGeom>
              <a:avLst/>
              <a:gdLst>
                <a:gd name="connsiteX0" fmla="*/ 23817 w 25747"/>
                <a:gd name="connsiteY0" fmla="*/ 4828 h 9655"/>
                <a:gd name="connsiteX1" fmla="*/ 4828 w 25747"/>
                <a:gd name="connsiteY1" fmla="*/ 6759 h 9655"/>
              </a:gdLst>
              <a:ahLst/>
              <a:cxnLst>
                <a:cxn ang="0">
                  <a:pos x="connsiteX0" y="connsiteY0"/>
                </a:cxn>
                <a:cxn ang="0">
                  <a:pos x="connsiteX1" y="connsiteY1"/>
                </a:cxn>
              </a:cxnLst>
              <a:rect l="l" t="t" r="r" b="b"/>
              <a:pathLst>
                <a:path w="25747" h="9655">
                  <a:moveTo>
                    <a:pt x="23817" y="4828"/>
                  </a:moveTo>
                  <a:lnTo>
                    <a:pt x="4828" y="6759"/>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84" name="Freeform: Shape 1283">
              <a:extLst>
                <a:ext uri="{FF2B5EF4-FFF2-40B4-BE49-F238E27FC236}">
                  <a16:creationId xmlns:a16="http://schemas.microsoft.com/office/drawing/2014/main" id="{C9F9952B-1B82-EE47-A5CB-78581AAE1B3D}"/>
                </a:ext>
              </a:extLst>
            </p:cNvPr>
            <p:cNvSpPr/>
            <p:nvPr/>
          </p:nvSpPr>
          <p:spPr>
            <a:xfrm>
              <a:off x="4536997" y="3732760"/>
              <a:ext cx="73153" cy="27431"/>
            </a:xfrm>
            <a:custGeom>
              <a:avLst/>
              <a:gdLst>
                <a:gd name="connsiteX0" fmla="*/ 23817 w 25747"/>
                <a:gd name="connsiteY0" fmla="*/ 4828 h 9655"/>
                <a:gd name="connsiteX1" fmla="*/ 4828 w 25747"/>
                <a:gd name="connsiteY1" fmla="*/ 6759 h 9655"/>
              </a:gdLst>
              <a:ahLst/>
              <a:cxnLst>
                <a:cxn ang="0">
                  <a:pos x="connsiteX0" y="connsiteY0"/>
                </a:cxn>
                <a:cxn ang="0">
                  <a:pos x="connsiteX1" y="connsiteY1"/>
                </a:cxn>
              </a:cxnLst>
              <a:rect l="l" t="t" r="r" b="b"/>
              <a:pathLst>
                <a:path w="25747" h="9655">
                  <a:moveTo>
                    <a:pt x="23817" y="4828"/>
                  </a:moveTo>
                  <a:lnTo>
                    <a:pt x="4828" y="6759"/>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85" name="Freeform: Shape 1284">
              <a:extLst>
                <a:ext uri="{FF2B5EF4-FFF2-40B4-BE49-F238E27FC236}">
                  <a16:creationId xmlns:a16="http://schemas.microsoft.com/office/drawing/2014/main" id="{73735CFA-AC7E-E74A-9A86-6EB5158A707C}"/>
                </a:ext>
              </a:extLst>
            </p:cNvPr>
            <p:cNvSpPr/>
            <p:nvPr/>
          </p:nvSpPr>
          <p:spPr>
            <a:xfrm>
              <a:off x="4494934" y="3356027"/>
              <a:ext cx="210311" cy="457199"/>
            </a:xfrm>
            <a:custGeom>
              <a:avLst/>
              <a:gdLst>
                <a:gd name="connsiteX0" fmla="*/ 20598 w 74024"/>
                <a:gd name="connsiteY0" fmla="*/ 157382 h 160922"/>
                <a:gd name="connsiteX1" fmla="*/ 4828 w 74024"/>
                <a:gd name="connsiteY1" fmla="*/ 9977 h 160922"/>
                <a:gd name="connsiteX2" fmla="*/ 53104 w 74024"/>
                <a:gd name="connsiteY2" fmla="*/ 4828 h 160922"/>
                <a:gd name="connsiteX3" fmla="*/ 69197 w 74024"/>
                <a:gd name="connsiteY3" fmla="*/ 155773 h 160922"/>
              </a:gdLst>
              <a:ahLst/>
              <a:cxnLst>
                <a:cxn ang="0">
                  <a:pos x="connsiteX0" y="connsiteY0"/>
                </a:cxn>
                <a:cxn ang="0">
                  <a:pos x="connsiteX1" y="connsiteY1"/>
                </a:cxn>
                <a:cxn ang="0">
                  <a:pos x="connsiteX2" y="connsiteY2"/>
                </a:cxn>
                <a:cxn ang="0">
                  <a:pos x="connsiteX3" y="connsiteY3"/>
                </a:cxn>
              </a:cxnLst>
              <a:rect l="l" t="t" r="r" b="b"/>
              <a:pathLst>
                <a:path w="74024" h="160922">
                  <a:moveTo>
                    <a:pt x="20598" y="157382"/>
                  </a:moveTo>
                  <a:lnTo>
                    <a:pt x="4828" y="9977"/>
                  </a:lnTo>
                  <a:lnTo>
                    <a:pt x="53104" y="4828"/>
                  </a:lnTo>
                  <a:lnTo>
                    <a:pt x="69197" y="155773"/>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86" name="Freeform: Shape 1285">
              <a:extLst>
                <a:ext uri="{FF2B5EF4-FFF2-40B4-BE49-F238E27FC236}">
                  <a16:creationId xmlns:a16="http://schemas.microsoft.com/office/drawing/2014/main" id="{75C2013B-CCEF-104E-AEDA-1586D8141B73}"/>
                </a:ext>
              </a:extLst>
            </p:cNvPr>
            <p:cNvSpPr/>
            <p:nvPr/>
          </p:nvSpPr>
          <p:spPr>
            <a:xfrm>
              <a:off x="4349546" y="3267330"/>
              <a:ext cx="137161" cy="548641"/>
            </a:xfrm>
            <a:custGeom>
              <a:avLst/>
              <a:gdLst>
                <a:gd name="connsiteX0" fmla="*/ 4828 w 48276"/>
                <a:gd name="connsiteY0" fmla="*/ 190854 h 193106"/>
                <a:gd name="connsiteX1" fmla="*/ 45058 w 48276"/>
                <a:gd name="connsiteY1" fmla="*/ 4828 h 193106"/>
              </a:gdLst>
              <a:ahLst/>
              <a:cxnLst>
                <a:cxn ang="0">
                  <a:pos x="connsiteX0" y="connsiteY0"/>
                </a:cxn>
                <a:cxn ang="0">
                  <a:pos x="connsiteX1" y="connsiteY1"/>
                </a:cxn>
              </a:cxnLst>
              <a:rect l="l" t="t" r="r" b="b"/>
              <a:pathLst>
                <a:path w="48276" h="193106">
                  <a:moveTo>
                    <a:pt x="4828" y="190854"/>
                  </a:moveTo>
                  <a:lnTo>
                    <a:pt x="45058" y="4828"/>
                  </a:lnTo>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687" name="Freeform: Shape 1286">
              <a:extLst>
                <a:ext uri="{FF2B5EF4-FFF2-40B4-BE49-F238E27FC236}">
                  <a16:creationId xmlns:a16="http://schemas.microsoft.com/office/drawing/2014/main" id="{843A1C5A-F3A7-C844-BF19-0BE9FF1433B8}"/>
                </a:ext>
              </a:extLst>
            </p:cNvPr>
            <p:cNvSpPr/>
            <p:nvPr/>
          </p:nvSpPr>
          <p:spPr>
            <a:xfrm>
              <a:off x="4236159" y="3246297"/>
              <a:ext cx="137161" cy="566929"/>
            </a:xfrm>
            <a:custGeom>
              <a:avLst/>
              <a:gdLst>
                <a:gd name="connsiteX0" fmla="*/ 46346 w 48276"/>
                <a:gd name="connsiteY0" fmla="*/ 4828 h 199543"/>
                <a:gd name="connsiteX1" fmla="*/ 4828 w 48276"/>
                <a:gd name="connsiteY1" fmla="*/ 196003 h 199543"/>
              </a:gdLst>
              <a:ahLst/>
              <a:cxnLst>
                <a:cxn ang="0">
                  <a:pos x="connsiteX0" y="connsiteY0"/>
                </a:cxn>
                <a:cxn ang="0">
                  <a:pos x="connsiteX1" y="connsiteY1"/>
                </a:cxn>
              </a:cxnLst>
              <a:rect l="l" t="t" r="r" b="b"/>
              <a:pathLst>
                <a:path w="48276" h="199543">
                  <a:moveTo>
                    <a:pt x="46346" y="4828"/>
                  </a:moveTo>
                  <a:lnTo>
                    <a:pt x="4828" y="196003"/>
                  </a:lnTo>
                </a:path>
              </a:pathLst>
            </a:custGeom>
            <a:ln w="12700" cap="flat">
              <a:solidFill>
                <a:srgbClr val="FDC500"/>
              </a:solidFill>
              <a:prstDash val="solid"/>
              <a:round/>
            </a:ln>
          </p:spPr>
          <p:txBody>
            <a:bodyPr rtlCol="0" anchor="ctr"/>
            <a:lstStyle/>
            <a:p>
              <a:pPr defTabSz="731504">
                <a:defRPr/>
              </a:pPr>
              <a:endParaRPr lang="en-US" sz="1800" dirty="0">
                <a:solidFill>
                  <a:srgbClr val="FFFFFF"/>
                </a:solidFill>
              </a:endParaRPr>
            </a:p>
          </p:txBody>
        </p:sp>
        <p:sp>
          <p:nvSpPr>
            <p:cNvPr id="688" name="Freeform: Shape 1287">
              <a:extLst>
                <a:ext uri="{FF2B5EF4-FFF2-40B4-BE49-F238E27FC236}">
                  <a16:creationId xmlns:a16="http://schemas.microsoft.com/office/drawing/2014/main" id="{3E6C4FEE-CD8A-5B49-BF27-6AD5E1118C06}"/>
                </a:ext>
              </a:extLst>
            </p:cNvPr>
            <p:cNvSpPr/>
            <p:nvPr/>
          </p:nvSpPr>
          <p:spPr>
            <a:xfrm>
              <a:off x="4537912" y="3090851"/>
              <a:ext cx="118873" cy="54865"/>
            </a:xfrm>
            <a:custGeom>
              <a:avLst/>
              <a:gdLst>
                <a:gd name="connsiteX0" fmla="*/ 4828 w 41839"/>
                <a:gd name="connsiteY0" fmla="*/ 4828 h 19310"/>
                <a:gd name="connsiteX1" fmla="*/ 19954 w 41839"/>
                <a:gd name="connsiteY1" fmla="*/ 13839 h 19310"/>
                <a:gd name="connsiteX2" fmla="*/ 37656 w 41839"/>
                <a:gd name="connsiteY2" fmla="*/ 11908 h 19310"/>
              </a:gdLst>
              <a:ahLst/>
              <a:cxnLst>
                <a:cxn ang="0">
                  <a:pos x="connsiteX0" y="connsiteY0"/>
                </a:cxn>
                <a:cxn ang="0">
                  <a:pos x="connsiteX1" y="connsiteY1"/>
                </a:cxn>
                <a:cxn ang="0">
                  <a:pos x="connsiteX2" y="connsiteY2"/>
                </a:cxn>
              </a:cxnLst>
              <a:rect l="l" t="t" r="r" b="b"/>
              <a:pathLst>
                <a:path w="41839" h="19310">
                  <a:moveTo>
                    <a:pt x="4828" y="4828"/>
                  </a:moveTo>
                  <a:cubicBezTo>
                    <a:pt x="8368" y="9012"/>
                    <a:pt x="13839" y="12552"/>
                    <a:pt x="19954" y="13839"/>
                  </a:cubicBezTo>
                  <a:cubicBezTo>
                    <a:pt x="26069" y="15127"/>
                    <a:pt x="32506" y="14483"/>
                    <a:pt x="37656" y="11908"/>
                  </a:cubicBezTo>
                </a:path>
              </a:pathLst>
            </a:custGeom>
            <a:ln w="12700" cap="flat">
              <a:solidFill>
                <a:srgbClr val="FDC500"/>
              </a:solidFill>
              <a:prstDash val="solid"/>
              <a:round/>
            </a:ln>
          </p:spPr>
          <p:txBody>
            <a:bodyPr rtlCol="0" anchor="ctr"/>
            <a:lstStyle/>
            <a:p>
              <a:pPr defTabSz="731504">
                <a:defRPr/>
              </a:pPr>
              <a:endParaRPr lang="en-US" sz="1800" dirty="0">
                <a:solidFill>
                  <a:srgbClr val="FFFFFF"/>
                </a:solidFill>
              </a:endParaRPr>
            </a:p>
          </p:txBody>
        </p:sp>
        <p:sp>
          <p:nvSpPr>
            <p:cNvPr id="689" name="Freeform: Shape 1288">
              <a:extLst>
                <a:ext uri="{FF2B5EF4-FFF2-40B4-BE49-F238E27FC236}">
                  <a16:creationId xmlns:a16="http://schemas.microsoft.com/office/drawing/2014/main" id="{A2DCF3DB-E67F-2440-B0E7-702F7F30AC35}"/>
                </a:ext>
              </a:extLst>
            </p:cNvPr>
            <p:cNvSpPr/>
            <p:nvPr/>
          </p:nvSpPr>
          <p:spPr>
            <a:xfrm>
              <a:off x="4517794" y="3181591"/>
              <a:ext cx="109727" cy="45719"/>
            </a:xfrm>
            <a:custGeom>
              <a:avLst/>
              <a:gdLst>
                <a:gd name="connsiteX0" fmla="*/ 35081 w 38621"/>
                <a:gd name="connsiteY0" fmla="*/ 14085 h 16092"/>
                <a:gd name="connsiteX1" fmla="*/ 21242 w 38621"/>
                <a:gd name="connsiteY1" fmla="*/ 5395 h 16092"/>
                <a:gd name="connsiteX2" fmla="*/ 4828 w 38621"/>
                <a:gd name="connsiteY2" fmla="*/ 7648 h 16092"/>
              </a:gdLst>
              <a:ahLst/>
              <a:cxnLst>
                <a:cxn ang="0">
                  <a:pos x="connsiteX0" y="connsiteY0"/>
                </a:cxn>
                <a:cxn ang="0">
                  <a:pos x="connsiteX1" y="connsiteY1"/>
                </a:cxn>
                <a:cxn ang="0">
                  <a:pos x="connsiteX2" y="connsiteY2"/>
                </a:cxn>
              </a:cxnLst>
              <a:rect l="l" t="t" r="r" b="b"/>
              <a:pathLst>
                <a:path w="38621" h="16092">
                  <a:moveTo>
                    <a:pt x="35081" y="14085"/>
                  </a:moveTo>
                  <a:cubicBezTo>
                    <a:pt x="31863" y="9901"/>
                    <a:pt x="27035" y="6683"/>
                    <a:pt x="21242" y="5395"/>
                  </a:cubicBezTo>
                  <a:cubicBezTo>
                    <a:pt x="15449" y="4108"/>
                    <a:pt x="9655" y="5074"/>
                    <a:pt x="4828" y="7648"/>
                  </a:cubicBezTo>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690" name="Freeform: Shape 1289">
              <a:extLst>
                <a:ext uri="{FF2B5EF4-FFF2-40B4-BE49-F238E27FC236}">
                  <a16:creationId xmlns:a16="http://schemas.microsoft.com/office/drawing/2014/main" id="{7931B43C-5DD4-B740-9CF0-646F4A34B01F}"/>
                </a:ext>
              </a:extLst>
            </p:cNvPr>
            <p:cNvSpPr/>
            <p:nvPr/>
          </p:nvSpPr>
          <p:spPr>
            <a:xfrm>
              <a:off x="4124597" y="3046180"/>
              <a:ext cx="438911" cy="246888"/>
            </a:xfrm>
            <a:custGeom>
              <a:avLst/>
              <a:gdLst>
                <a:gd name="connsiteX0" fmla="*/ 96555 w 154485"/>
                <a:gd name="connsiteY0" fmla="*/ 5745 h 86898"/>
                <a:gd name="connsiteX1" fmla="*/ 149659 w 154485"/>
                <a:gd name="connsiteY1" fmla="*/ 17332 h 86898"/>
                <a:gd name="connsiteX2" fmla="*/ 140970 w 154485"/>
                <a:gd name="connsiteY2" fmla="*/ 58206 h 86898"/>
                <a:gd name="connsiteX3" fmla="*/ 124234 w 154485"/>
                <a:gd name="connsiteY3" fmla="*/ 85241 h 86898"/>
                <a:gd name="connsiteX4" fmla="*/ 85612 w 154485"/>
                <a:gd name="connsiteY4" fmla="*/ 76873 h 86898"/>
                <a:gd name="connsiteX5" fmla="*/ 79497 w 154485"/>
                <a:gd name="connsiteY5" fmla="*/ 38895 h 86898"/>
                <a:gd name="connsiteX6" fmla="*/ 11266 w 154485"/>
                <a:gd name="connsiteY6" fmla="*/ 76873 h 86898"/>
                <a:gd name="connsiteX7" fmla="*/ 4829 w 154485"/>
                <a:gd name="connsiteY7" fmla="*/ 70758 h 86898"/>
                <a:gd name="connsiteX8" fmla="*/ 96555 w 154485"/>
                <a:gd name="connsiteY8" fmla="*/ 5745 h 8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485" h="86898">
                  <a:moveTo>
                    <a:pt x="96555" y="5745"/>
                  </a:moveTo>
                  <a:lnTo>
                    <a:pt x="149659" y="17332"/>
                  </a:lnTo>
                  <a:lnTo>
                    <a:pt x="140970" y="58206"/>
                  </a:lnTo>
                  <a:lnTo>
                    <a:pt x="124234" y="85241"/>
                  </a:lnTo>
                  <a:lnTo>
                    <a:pt x="85612" y="76873"/>
                  </a:lnTo>
                  <a:cubicBezTo>
                    <a:pt x="85612" y="76873"/>
                    <a:pt x="90118" y="45010"/>
                    <a:pt x="79497" y="38895"/>
                  </a:cubicBezTo>
                  <a:cubicBezTo>
                    <a:pt x="65658" y="31171"/>
                    <a:pt x="36048" y="49516"/>
                    <a:pt x="11266" y="76873"/>
                  </a:cubicBezTo>
                  <a:lnTo>
                    <a:pt x="4829" y="70758"/>
                  </a:lnTo>
                  <a:cubicBezTo>
                    <a:pt x="4507" y="70436"/>
                    <a:pt x="50853" y="-4232"/>
                    <a:pt x="96555" y="5745"/>
                  </a:cubicBezTo>
                  <a:close/>
                </a:path>
              </a:pathLst>
            </a:custGeom>
            <a:ln w="12700" cap="flat">
              <a:solidFill>
                <a:srgbClr val="FDC500"/>
              </a:solidFill>
              <a:prstDash val="solid"/>
              <a:round/>
            </a:ln>
          </p:spPr>
          <p:txBody>
            <a:bodyPr rtlCol="0" anchor="ctr"/>
            <a:lstStyle/>
            <a:p>
              <a:pPr defTabSz="731504">
                <a:defRPr/>
              </a:pPr>
              <a:endParaRPr lang="en-US" sz="1800" dirty="0">
                <a:solidFill>
                  <a:srgbClr val="FFFFFF"/>
                </a:solidFill>
              </a:endParaRPr>
            </a:p>
          </p:txBody>
        </p:sp>
        <p:sp>
          <p:nvSpPr>
            <p:cNvPr id="691" name="Freeform: Shape 1290">
              <a:extLst>
                <a:ext uri="{FF2B5EF4-FFF2-40B4-BE49-F238E27FC236}">
                  <a16:creationId xmlns:a16="http://schemas.microsoft.com/office/drawing/2014/main" id="{928BFCD3-C2ED-254A-8876-CA0DF031B623}"/>
                </a:ext>
              </a:extLst>
            </p:cNvPr>
            <p:cNvSpPr/>
            <p:nvPr/>
          </p:nvSpPr>
          <p:spPr>
            <a:xfrm>
              <a:off x="4965851" y="3859861"/>
              <a:ext cx="128015" cy="27431"/>
            </a:xfrm>
            <a:custGeom>
              <a:avLst/>
              <a:gdLst>
                <a:gd name="connsiteX0" fmla="*/ 4828 w 45058"/>
                <a:gd name="connsiteY0" fmla="*/ 4828 h 9655"/>
                <a:gd name="connsiteX1" fmla="*/ 40231 w 45058"/>
                <a:gd name="connsiteY1" fmla="*/ 4828 h 9655"/>
              </a:gdLst>
              <a:ahLst/>
              <a:cxnLst>
                <a:cxn ang="0">
                  <a:pos x="connsiteX0" y="connsiteY0"/>
                </a:cxn>
                <a:cxn ang="0">
                  <a:pos x="connsiteX1" y="connsiteY1"/>
                </a:cxn>
              </a:cxnLst>
              <a:rect l="l" t="t" r="r" b="b"/>
              <a:pathLst>
                <a:path w="45058" h="9655">
                  <a:moveTo>
                    <a:pt x="4828" y="4828"/>
                  </a:moveTo>
                  <a:lnTo>
                    <a:pt x="40231"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92" name="Freeform: Shape 1291">
              <a:extLst>
                <a:ext uri="{FF2B5EF4-FFF2-40B4-BE49-F238E27FC236}">
                  <a16:creationId xmlns:a16="http://schemas.microsoft.com/office/drawing/2014/main" id="{A89BBD0F-D0A3-9E40-942C-5C2B21EDECB9}"/>
                </a:ext>
              </a:extLst>
            </p:cNvPr>
            <p:cNvSpPr/>
            <p:nvPr/>
          </p:nvSpPr>
          <p:spPr>
            <a:xfrm>
              <a:off x="4686043" y="3859861"/>
              <a:ext cx="246888" cy="27431"/>
            </a:xfrm>
            <a:custGeom>
              <a:avLst/>
              <a:gdLst>
                <a:gd name="connsiteX0" fmla="*/ 4828 w 86898"/>
                <a:gd name="connsiteY0" fmla="*/ 4828 h 9655"/>
                <a:gd name="connsiteX1" fmla="*/ 83680 w 86898"/>
                <a:gd name="connsiteY1" fmla="*/ 4828 h 9655"/>
              </a:gdLst>
              <a:ahLst/>
              <a:cxnLst>
                <a:cxn ang="0">
                  <a:pos x="connsiteX0" y="connsiteY0"/>
                </a:cxn>
                <a:cxn ang="0">
                  <a:pos x="connsiteX1" y="connsiteY1"/>
                </a:cxn>
              </a:cxnLst>
              <a:rect l="l" t="t" r="r" b="b"/>
              <a:pathLst>
                <a:path w="86898" h="9655">
                  <a:moveTo>
                    <a:pt x="4828" y="4828"/>
                  </a:moveTo>
                  <a:lnTo>
                    <a:pt x="83680"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93" name="Freeform: Shape 1292">
              <a:extLst>
                <a:ext uri="{FF2B5EF4-FFF2-40B4-BE49-F238E27FC236}">
                  <a16:creationId xmlns:a16="http://schemas.microsoft.com/office/drawing/2014/main" id="{9D82729F-6259-B641-A197-682813DC1E91}"/>
                </a:ext>
              </a:extLst>
            </p:cNvPr>
            <p:cNvSpPr/>
            <p:nvPr/>
          </p:nvSpPr>
          <p:spPr>
            <a:xfrm>
              <a:off x="3996587" y="3859861"/>
              <a:ext cx="713233" cy="27431"/>
            </a:xfrm>
            <a:custGeom>
              <a:avLst/>
              <a:gdLst>
                <a:gd name="connsiteX0" fmla="*/ 4828 w 251038"/>
                <a:gd name="connsiteY0" fmla="*/ 4828 h 9655"/>
                <a:gd name="connsiteX1" fmla="*/ 247498 w 251038"/>
                <a:gd name="connsiteY1" fmla="*/ 4828 h 9655"/>
              </a:gdLst>
              <a:ahLst/>
              <a:cxnLst>
                <a:cxn ang="0">
                  <a:pos x="connsiteX0" y="connsiteY0"/>
                </a:cxn>
                <a:cxn ang="0">
                  <a:pos x="connsiteX1" y="connsiteY1"/>
                </a:cxn>
              </a:cxnLst>
              <a:rect l="l" t="t" r="r" b="b"/>
              <a:pathLst>
                <a:path w="251038" h="9655">
                  <a:moveTo>
                    <a:pt x="4828" y="4828"/>
                  </a:moveTo>
                  <a:lnTo>
                    <a:pt x="247498"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94" name="Freeform: Shape 1293">
              <a:extLst>
                <a:ext uri="{FF2B5EF4-FFF2-40B4-BE49-F238E27FC236}">
                  <a16:creationId xmlns:a16="http://schemas.microsoft.com/office/drawing/2014/main" id="{BF51F48B-FD9C-7D48-8C94-3DF6CF4C4040}"/>
                </a:ext>
              </a:extLst>
            </p:cNvPr>
            <p:cNvSpPr/>
            <p:nvPr/>
          </p:nvSpPr>
          <p:spPr>
            <a:xfrm>
              <a:off x="3853940" y="3859861"/>
              <a:ext cx="128015" cy="27431"/>
            </a:xfrm>
            <a:custGeom>
              <a:avLst/>
              <a:gdLst>
                <a:gd name="connsiteX0" fmla="*/ 4828 w 45058"/>
                <a:gd name="connsiteY0" fmla="*/ 4828 h 9655"/>
                <a:gd name="connsiteX1" fmla="*/ 40231 w 45058"/>
                <a:gd name="connsiteY1" fmla="*/ 4828 h 9655"/>
              </a:gdLst>
              <a:ahLst/>
              <a:cxnLst>
                <a:cxn ang="0">
                  <a:pos x="connsiteX0" y="connsiteY0"/>
                </a:cxn>
                <a:cxn ang="0">
                  <a:pos x="connsiteX1" y="connsiteY1"/>
                </a:cxn>
              </a:cxnLst>
              <a:rect l="l" t="t" r="r" b="b"/>
              <a:pathLst>
                <a:path w="45058" h="9655">
                  <a:moveTo>
                    <a:pt x="4828" y="4828"/>
                  </a:moveTo>
                  <a:lnTo>
                    <a:pt x="40231" y="4828"/>
                  </a:lnTo>
                </a:path>
              </a:pathLst>
            </a:custGeom>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95" name="Freeform: Shape 1294">
              <a:extLst>
                <a:ext uri="{FF2B5EF4-FFF2-40B4-BE49-F238E27FC236}">
                  <a16:creationId xmlns:a16="http://schemas.microsoft.com/office/drawing/2014/main" id="{6168E68A-3AE5-0844-A0ED-D01136026A6D}"/>
                </a:ext>
              </a:extLst>
            </p:cNvPr>
            <p:cNvSpPr/>
            <p:nvPr/>
          </p:nvSpPr>
          <p:spPr>
            <a:xfrm>
              <a:off x="3916118" y="3450210"/>
              <a:ext cx="265176" cy="365761"/>
            </a:xfrm>
            <a:custGeom>
              <a:avLst/>
              <a:gdLst>
                <a:gd name="connsiteX0" fmla="*/ 89795 w 93334"/>
                <a:gd name="connsiteY0" fmla="*/ 126485 h 128737"/>
                <a:gd name="connsiteX1" fmla="*/ 43127 w 93334"/>
                <a:gd name="connsiteY1" fmla="*/ 29288 h 128737"/>
                <a:gd name="connsiteX2" fmla="*/ 4828 w 93334"/>
                <a:gd name="connsiteY2" fmla="*/ 4828 h 128737"/>
              </a:gdLst>
              <a:ahLst/>
              <a:cxnLst>
                <a:cxn ang="0">
                  <a:pos x="connsiteX0" y="connsiteY0"/>
                </a:cxn>
                <a:cxn ang="0">
                  <a:pos x="connsiteX1" y="connsiteY1"/>
                </a:cxn>
                <a:cxn ang="0">
                  <a:pos x="connsiteX2" y="connsiteY2"/>
                </a:cxn>
              </a:cxnLst>
              <a:rect l="l" t="t" r="r" b="b"/>
              <a:pathLst>
                <a:path w="93334" h="128737">
                  <a:moveTo>
                    <a:pt x="89795" y="126485"/>
                  </a:moveTo>
                  <a:lnTo>
                    <a:pt x="43127" y="29288"/>
                  </a:lnTo>
                  <a:cubicBezTo>
                    <a:pt x="27357" y="29288"/>
                    <a:pt x="12230" y="20276"/>
                    <a:pt x="4828" y="4828"/>
                  </a:cubicBez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96" name="Freeform: Shape 1295">
              <a:extLst>
                <a:ext uri="{FF2B5EF4-FFF2-40B4-BE49-F238E27FC236}">
                  <a16:creationId xmlns:a16="http://schemas.microsoft.com/office/drawing/2014/main" id="{3018A346-D422-F34E-B6AB-624F3F1FCEC4}"/>
                </a:ext>
              </a:extLst>
            </p:cNvPr>
            <p:cNvSpPr/>
            <p:nvPr/>
          </p:nvSpPr>
          <p:spPr>
            <a:xfrm>
              <a:off x="3904197" y="3276444"/>
              <a:ext cx="338327" cy="429768"/>
            </a:xfrm>
            <a:custGeom>
              <a:avLst/>
              <a:gdLst>
                <a:gd name="connsiteX0" fmla="*/ 9024 w 119082"/>
                <a:gd name="connsiteY0" fmla="*/ 66310 h 151266"/>
                <a:gd name="connsiteX1" fmla="*/ 17714 w 119082"/>
                <a:gd name="connsiteY1" fmla="*/ 17068 h 151266"/>
                <a:gd name="connsiteX2" fmla="*/ 32841 w 119082"/>
                <a:gd name="connsiteY2" fmla="*/ 48609 h 151266"/>
                <a:gd name="connsiteX3" fmla="*/ 57945 w 119082"/>
                <a:gd name="connsiteY3" fmla="*/ 36701 h 151266"/>
                <a:gd name="connsiteX4" fmla="*/ 42818 w 119082"/>
                <a:gd name="connsiteY4" fmla="*/ 5160 h 151266"/>
                <a:gd name="connsiteX5" fmla="*/ 86589 w 119082"/>
                <a:gd name="connsiteY5" fmla="*/ 29298 h 151266"/>
                <a:gd name="connsiteX6" fmla="*/ 81761 w 119082"/>
                <a:gd name="connsiteY6" fmla="*/ 74356 h 151266"/>
                <a:gd name="connsiteX7" fmla="*/ 116520 w 119082"/>
                <a:gd name="connsiteY7" fmla="*/ 146771 h 151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082" h="151266">
                  <a:moveTo>
                    <a:pt x="9024" y="66310"/>
                  </a:moveTo>
                  <a:cubicBezTo>
                    <a:pt x="978" y="49253"/>
                    <a:pt x="4840" y="29620"/>
                    <a:pt x="17714" y="17068"/>
                  </a:cubicBezTo>
                  <a:lnTo>
                    <a:pt x="32841" y="48609"/>
                  </a:lnTo>
                  <a:lnTo>
                    <a:pt x="57945" y="36701"/>
                  </a:lnTo>
                  <a:lnTo>
                    <a:pt x="42818" y="5160"/>
                  </a:lnTo>
                  <a:cubicBezTo>
                    <a:pt x="60519" y="2907"/>
                    <a:pt x="78543" y="12240"/>
                    <a:pt x="86589" y="29298"/>
                  </a:cubicBezTo>
                  <a:cubicBezTo>
                    <a:pt x="93991" y="44425"/>
                    <a:pt x="91416" y="62126"/>
                    <a:pt x="81761" y="74356"/>
                  </a:cubicBezTo>
                  <a:lnTo>
                    <a:pt x="116520" y="146771"/>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697" name="Freeform: Shape 1296">
              <a:extLst>
                <a:ext uri="{FF2B5EF4-FFF2-40B4-BE49-F238E27FC236}">
                  <a16:creationId xmlns:a16="http://schemas.microsoft.com/office/drawing/2014/main" id="{428FB295-BD0D-9247-8BDD-2F6914C6309C}"/>
                </a:ext>
              </a:extLst>
            </p:cNvPr>
            <p:cNvSpPr/>
            <p:nvPr/>
          </p:nvSpPr>
          <p:spPr>
            <a:xfrm>
              <a:off x="4812231" y="3246655"/>
              <a:ext cx="210311" cy="438911"/>
            </a:xfrm>
            <a:custGeom>
              <a:avLst/>
              <a:gdLst>
                <a:gd name="connsiteX0" fmla="*/ 25104 w 74024"/>
                <a:gd name="connsiteY0" fmla="*/ 54266 h 154485"/>
                <a:gd name="connsiteX1" fmla="*/ 24138 w 74024"/>
                <a:gd name="connsiteY1" fmla="*/ 48794 h 154485"/>
                <a:gd name="connsiteX2" fmla="*/ 53426 w 74024"/>
                <a:gd name="connsiteY2" fmla="*/ 7598 h 154485"/>
                <a:gd name="connsiteX3" fmla="*/ 58898 w 74024"/>
                <a:gd name="connsiteY3" fmla="*/ 5023 h 154485"/>
                <a:gd name="connsiteX4" fmla="*/ 67265 w 74024"/>
                <a:gd name="connsiteY4" fmla="*/ 7920 h 154485"/>
                <a:gd name="connsiteX5" fmla="*/ 70162 w 74024"/>
                <a:gd name="connsiteY5" fmla="*/ 13391 h 154485"/>
                <a:gd name="connsiteX6" fmla="*/ 68231 w 74024"/>
                <a:gd name="connsiteY6" fmla="*/ 63599 h 154485"/>
                <a:gd name="connsiteX7" fmla="*/ 64047 w 74024"/>
                <a:gd name="connsiteY7" fmla="*/ 67461 h 154485"/>
                <a:gd name="connsiteX8" fmla="*/ 53426 w 74024"/>
                <a:gd name="connsiteY8" fmla="*/ 68749 h 154485"/>
                <a:gd name="connsiteX9" fmla="*/ 25426 w 74024"/>
                <a:gd name="connsiteY9" fmla="*/ 150497 h 154485"/>
                <a:gd name="connsiteX10" fmla="*/ 4828 w 74024"/>
                <a:gd name="connsiteY10" fmla="*/ 143417 h 154485"/>
                <a:gd name="connsiteX11" fmla="*/ 32828 w 74024"/>
                <a:gd name="connsiteY11" fmla="*/ 61668 h 154485"/>
                <a:gd name="connsiteX12" fmla="*/ 25104 w 74024"/>
                <a:gd name="connsiteY12" fmla="*/ 54266 h 15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024" h="154485">
                  <a:moveTo>
                    <a:pt x="25104" y="54266"/>
                  </a:moveTo>
                  <a:cubicBezTo>
                    <a:pt x="24138" y="53300"/>
                    <a:pt x="23173" y="51047"/>
                    <a:pt x="24138" y="48794"/>
                  </a:cubicBezTo>
                  <a:lnTo>
                    <a:pt x="53426" y="7598"/>
                  </a:lnTo>
                  <a:cubicBezTo>
                    <a:pt x="54392" y="5345"/>
                    <a:pt x="56645" y="4380"/>
                    <a:pt x="58898" y="5023"/>
                  </a:cubicBezTo>
                  <a:lnTo>
                    <a:pt x="67265" y="7920"/>
                  </a:lnTo>
                  <a:cubicBezTo>
                    <a:pt x="69518" y="8564"/>
                    <a:pt x="70806" y="11138"/>
                    <a:pt x="70162" y="13391"/>
                  </a:cubicBezTo>
                  <a:lnTo>
                    <a:pt x="68231" y="63599"/>
                  </a:lnTo>
                  <a:cubicBezTo>
                    <a:pt x="67587" y="66174"/>
                    <a:pt x="65334" y="67461"/>
                    <a:pt x="64047" y="67461"/>
                  </a:cubicBezTo>
                  <a:cubicBezTo>
                    <a:pt x="61472" y="67461"/>
                    <a:pt x="54070" y="66174"/>
                    <a:pt x="53426" y="68749"/>
                  </a:cubicBezTo>
                  <a:lnTo>
                    <a:pt x="25426" y="150497"/>
                  </a:lnTo>
                  <a:lnTo>
                    <a:pt x="4828" y="143417"/>
                  </a:lnTo>
                  <a:lnTo>
                    <a:pt x="32828" y="61668"/>
                  </a:lnTo>
                  <a:cubicBezTo>
                    <a:pt x="33794" y="59093"/>
                    <a:pt x="27035" y="55553"/>
                    <a:pt x="25104" y="54266"/>
                  </a:cubicBezTo>
                  <a:close/>
                </a:path>
              </a:pathLst>
            </a:custGeom>
            <a:ln w="12700" cap="flat">
              <a:solidFill>
                <a:srgbClr val="FDC500"/>
              </a:solidFill>
              <a:prstDash val="solid"/>
              <a:round/>
            </a:ln>
          </p:spPr>
          <p:txBody>
            <a:bodyPr rtlCol="0" anchor="ctr"/>
            <a:lstStyle/>
            <a:p>
              <a:pPr defTabSz="731504">
                <a:defRPr/>
              </a:pPr>
              <a:endParaRPr lang="en-US" sz="1800" dirty="0">
                <a:solidFill>
                  <a:srgbClr val="FFFFFF"/>
                </a:solidFill>
              </a:endParaRPr>
            </a:p>
          </p:txBody>
        </p:sp>
        <p:sp>
          <p:nvSpPr>
            <p:cNvPr id="698" name="Freeform: Shape 1297">
              <a:extLst>
                <a:ext uri="{FF2B5EF4-FFF2-40B4-BE49-F238E27FC236}">
                  <a16:creationId xmlns:a16="http://schemas.microsoft.com/office/drawing/2014/main" id="{3E9855C7-BAD0-C64D-9F7C-C6A603A8B9DF}"/>
                </a:ext>
              </a:extLst>
            </p:cNvPr>
            <p:cNvSpPr/>
            <p:nvPr/>
          </p:nvSpPr>
          <p:spPr>
            <a:xfrm>
              <a:off x="4714391" y="3630713"/>
              <a:ext cx="219457" cy="182880"/>
            </a:xfrm>
            <a:custGeom>
              <a:avLst/>
              <a:gdLst>
                <a:gd name="connsiteX0" fmla="*/ 61472 w 77242"/>
                <a:gd name="connsiteY0" fmla="*/ 60700 h 64368"/>
                <a:gd name="connsiteX1" fmla="*/ 73702 w 77242"/>
                <a:gd name="connsiteY1" fmla="*/ 24975 h 64368"/>
                <a:gd name="connsiteX2" fmla="*/ 70806 w 77242"/>
                <a:gd name="connsiteY2" fmla="*/ 19182 h 64368"/>
                <a:gd name="connsiteX3" fmla="*/ 28644 w 77242"/>
                <a:gd name="connsiteY3" fmla="*/ 5021 h 64368"/>
                <a:gd name="connsiteX4" fmla="*/ 22851 w 77242"/>
                <a:gd name="connsiteY4" fmla="*/ 7917 h 64368"/>
                <a:gd name="connsiteX5" fmla="*/ 4828 w 77242"/>
                <a:gd name="connsiteY5" fmla="*/ 61022 h 64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242" h="64368">
                  <a:moveTo>
                    <a:pt x="61472" y="60700"/>
                  </a:moveTo>
                  <a:lnTo>
                    <a:pt x="73702" y="24975"/>
                  </a:lnTo>
                  <a:cubicBezTo>
                    <a:pt x="74668" y="22722"/>
                    <a:pt x="73381" y="20147"/>
                    <a:pt x="70806" y="19182"/>
                  </a:cubicBezTo>
                  <a:lnTo>
                    <a:pt x="28644" y="5021"/>
                  </a:lnTo>
                  <a:cubicBezTo>
                    <a:pt x="26391" y="4377"/>
                    <a:pt x="23816" y="5343"/>
                    <a:pt x="22851" y="7917"/>
                  </a:cubicBezTo>
                  <a:lnTo>
                    <a:pt x="4828" y="61022"/>
                  </a:lnTo>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699" name="Freeform: Shape 1298">
              <a:extLst>
                <a:ext uri="{FF2B5EF4-FFF2-40B4-BE49-F238E27FC236}">
                  <a16:creationId xmlns:a16="http://schemas.microsoft.com/office/drawing/2014/main" id="{92B5E4F2-59F0-2E45-9B27-ADFDD6EF2801}"/>
                </a:ext>
              </a:extLst>
            </p:cNvPr>
            <p:cNvSpPr/>
            <p:nvPr/>
          </p:nvSpPr>
          <p:spPr>
            <a:xfrm>
              <a:off x="4592984" y="3105690"/>
              <a:ext cx="128015" cy="155449"/>
            </a:xfrm>
            <a:custGeom>
              <a:avLst/>
              <a:gdLst>
                <a:gd name="connsiteX0" fmla="*/ 13444 w 45058"/>
                <a:gd name="connsiteY0" fmla="*/ 46916 h 54713"/>
                <a:gd name="connsiteX1" fmla="*/ 31467 w 45058"/>
                <a:gd name="connsiteY1" fmla="*/ 50778 h 54713"/>
                <a:gd name="connsiteX2" fmla="*/ 40479 w 45058"/>
                <a:gd name="connsiteY2" fmla="*/ 8938 h 54713"/>
                <a:gd name="connsiteX3" fmla="*/ 22455 w 45058"/>
                <a:gd name="connsiteY3" fmla="*/ 5076 h 54713"/>
                <a:gd name="connsiteX4" fmla="*/ 9582 w 45058"/>
                <a:gd name="connsiteY4" fmla="*/ 13444 h 54713"/>
                <a:gd name="connsiteX5" fmla="*/ 5076 w 45058"/>
                <a:gd name="connsiteY5" fmla="*/ 34042 h 54713"/>
                <a:gd name="connsiteX6" fmla="*/ 13444 w 45058"/>
                <a:gd name="connsiteY6" fmla="*/ 46916 h 5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58" h="54713">
                  <a:moveTo>
                    <a:pt x="13444" y="46916"/>
                  </a:moveTo>
                  <a:lnTo>
                    <a:pt x="31467" y="50778"/>
                  </a:lnTo>
                  <a:lnTo>
                    <a:pt x="40479" y="8938"/>
                  </a:lnTo>
                  <a:lnTo>
                    <a:pt x="22455" y="5076"/>
                  </a:lnTo>
                  <a:cubicBezTo>
                    <a:pt x="16662" y="3788"/>
                    <a:pt x="10869" y="7650"/>
                    <a:pt x="9582" y="13444"/>
                  </a:cubicBezTo>
                  <a:lnTo>
                    <a:pt x="5076" y="34042"/>
                  </a:lnTo>
                  <a:cubicBezTo>
                    <a:pt x="3788" y="39835"/>
                    <a:pt x="7651" y="45628"/>
                    <a:pt x="13444" y="46916"/>
                  </a:cubicBezTo>
                  <a:close/>
                </a:path>
              </a:pathLst>
            </a:custGeom>
            <a:ln w="12700" cap="flat">
              <a:solidFill>
                <a:srgbClr val="FDC500"/>
              </a:solidFill>
              <a:prstDash val="solid"/>
              <a:round/>
            </a:ln>
          </p:spPr>
          <p:txBody>
            <a:bodyPr rtlCol="0" anchor="ctr"/>
            <a:lstStyle/>
            <a:p>
              <a:pPr defTabSz="731504">
                <a:defRPr/>
              </a:pPr>
              <a:endParaRPr lang="en-US" sz="1800" dirty="0">
                <a:solidFill>
                  <a:srgbClr val="FFFFFF"/>
                </a:solidFill>
              </a:endParaRPr>
            </a:p>
          </p:txBody>
        </p:sp>
      </p:grpSp>
      <p:grpSp>
        <p:nvGrpSpPr>
          <p:cNvPr id="700" name="Group 699">
            <a:extLst>
              <a:ext uri="{FF2B5EF4-FFF2-40B4-BE49-F238E27FC236}">
                <a16:creationId xmlns:a16="http://schemas.microsoft.com/office/drawing/2014/main" id="{BB016566-A0AF-CF4F-86ED-7CFE7642D3A3}"/>
              </a:ext>
            </a:extLst>
          </p:cNvPr>
          <p:cNvGrpSpPr/>
          <p:nvPr/>
        </p:nvGrpSpPr>
        <p:grpSpPr>
          <a:xfrm>
            <a:off x="12545128" y="2788338"/>
            <a:ext cx="404028" cy="322423"/>
            <a:chOff x="6630539" y="5287514"/>
            <a:chExt cx="1865762" cy="1488919"/>
          </a:xfrm>
        </p:grpSpPr>
        <p:sp>
          <p:nvSpPr>
            <p:cNvPr id="701" name="Freeform: Shape 1339">
              <a:extLst>
                <a:ext uri="{FF2B5EF4-FFF2-40B4-BE49-F238E27FC236}">
                  <a16:creationId xmlns:a16="http://schemas.microsoft.com/office/drawing/2014/main" id="{E5B2A1C5-E05E-C848-BD08-BE4D2F04428F}"/>
                </a:ext>
              </a:extLst>
            </p:cNvPr>
            <p:cNvSpPr/>
            <p:nvPr/>
          </p:nvSpPr>
          <p:spPr>
            <a:xfrm>
              <a:off x="7750331" y="6186674"/>
              <a:ext cx="589759" cy="589759"/>
            </a:xfrm>
            <a:custGeom>
              <a:avLst/>
              <a:gdLst>
                <a:gd name="connsiteX0" fmla="*/ 22529 w 196325"/>
                <a:gd name="connsiteY0" fmla="*/ 154807 h 196325"/>
                <a:gd name="connsiteX1" fmla="*/ 26391 w 196325"/>
                <a:gd name="connsiteY1" fmla="*/ 159313 h 196325"/>
                <a:gd name="connsiteX2" fmla="*/ 30253 w 196325"/>
                <a:gd name="connsiteY2" fmla="*/ 163819 h 196325"/>
                <a:gd name="connsiteX3" fmla="*/ 34116 w 196325"/>
                <a:gd name="connsiteY3" fmla="*/ 168325 h 196325"/>
                <a:gd name="connsiteX4" fmla="*/ 60185 w 196325"/>
                <a:gd name="connsiteY4" fmla="*/ 154807 h 196325"/>
                <a:gd name="connsiteX5" fmla="*/ 78852 w 196325"/>
                <a:gd name="connsiteY5" fmla="*/ 164141 h 196325"/>
                <a:gd name="connsiteX6" fmla="*/ 84001 w 196325"/>
                <a:gd name="connsiteY6" fmla="*/ 193107 h 196325"/>
                <a:gd name="connsiteX7" fmla="*/ 89795 w 196325"/>
                <a:gd name="connsiteY7" fmla="*/ 193429 h 196325"/>
                <a:gd name="connsiteX8" fmla="*/ 95588 w 196325"/>
                <a:gd name="connsiteY8" fmla="*/ 193429 h 196325"/>
                <a:gd name="connsiteX9" fmla="*/ 101381 w 196325"/>
                <a:gd name="connsiteY9" fmla="*/ 193750 h 196325"/>
                <a:gd name="connsiteX10" fmla="*/ 110393 w 196325"/>
                <a:gd name="connsiteY10" fmla="*/ 165750 h 196325"/>
                <a:gd name="connsiteX11" fmla="*/ 130025 w 196325"/>
                <a:gd name="connsiteY11" fmla="*/ 158991 h 196325"/>
                <a:gd name="connsiteX12" fmla="*/ 154164 w 196325"/>
                <a:gd name="connsiteY12" fmla="*/ 175727 h 196325"/>
                <a:gd name="connsiteX13" fmla="*/ 158669 w 196325"/>
                <a:gd name="connsiteY13" fmla="*/ 171865 h 196325"/>
                <a:gd name="connsiteX14" fmla="*/ 163175 w 196325"/>
                <a:gd name="connsiteY14" fmla="*/ 168003 h 196325"/>
                <a:gd name="connsiteX15" fmla="*/ 167681 w 196325"/>
                <a:gd name="connsiteY15" fmla="*/ 164141 h 196325"/>
                <a:gd name="connsiteX16" fmla="*/ 154164 w 196325"/>
                <a:gd name="connsiteY16" fmla="*/ 138071 h 196325"/>
                <a:gd name="connsiteX17" fmla="*/ 163497 w 196325"/>
                <a:gd name="connsiteY17" fmla="*/ 119404 h 196325"/>
                <a:gd name="connsiteX18" fmla="*/ 192463 w 196325"/>
                <a:gd name="connsiteY18" fmla="*/ 114255 h 196325"/>
                <a:gd name="connsiteX19" fmla="*/ 192785 w 196325"/>
                <a:gd name="connsiteY19" fmla="*/ 108462 h 196325"/>
                <a:gd name="connsiteX20" fmla="*/ 193107 w 196325"/>
                <a:gd name="connsiteY20" fmla="*/ 102668 h 196325"/>
                <a:gd name="connsiteX21" fmla="*/ 193429 w 196325"/>
                <a:gd name="connsiteY21" fmla="*/ 96875 h 196325"/>
                <a:gd name="connsiteX22" fmla="*/ 165428 w 196325"/>
                <a:gd name="connsiteY22" fmla="*/ 87864 h 196325"/>
                <a:gd name="connsiteX23" fmla="*/ 158669 w 196325"/>
                <a:gd name="connsiteY23" fmla="*/ 68231 h 196325"/>
                <a:gd name="connsiteX24" fmla="*/ 175405 w 196325"/>
                <a:gd name="connsiteY24" fmla="*/ 44093 h 196325"/>
                <a:gd name="connsiteX25" fmla="*/ 171543 w 196325"/>
                <a:gd name="connsiteY25" fmla="*/ 39587 h 196325"/>
                <a:gd name="connsiteX26" fmla="*/ 167681 w 196325"/>
                <a:gd name="connsiteY26" fmla="*/ 35081 h 196325"/>
                <a:gd name="connsiteX27" fmla="*/ 163819 w 196325"/>
                <a:gd name="connsiteY27" fmla="*/ 30575 h 196325"/>
                <a:gd name="connsiteX28" fmla="*/ 137749 w 196325"/>
                <a:gd name="connsiteY28" fmla="*/ 43771 h 196325"/>
                <a:gd name="connsiteX29" fmla="*/ 119082 w 196325"/>
                <a:gd name="connsiteY29" fmla="*/ 34437 h 196325"/>
                <a:gd name="connsiteX30" fmla="*/ 113933 w 196325"/>
                <a:gd name="connsiteY30" fmla="*/ 5793 h 196325"/>
                <a:gd name="connsiteX31" fmla="*/ 108140 w 196325"/>
                <a:gd name="connsiteY31" fmla="*/ 5471 h 196325"/>
                <a:gd name="connsiteX32" fmla="*/ 102347 w 196325"/>
                <a:gd name="connsiteY32" fmla="*/ 5150 h 196325"/>
                <a:gd name="connsiteX33" fmla="*/ 96553 w 196325"/>
                <a:gd name="connsiteY33" fmla="*/ 4828 h 196325"/>
                <a:gd name="connsiteX34" fmla="*/ 87542 w 196325"/>
                <a:gd name="connsiteY34" fmla="*/ 32506 h 196325"/>
                <a:gd name="connsiteX35" fmla="*/ 67587 w 196325"/>
                <a:gd name="connsiteY35" fmla="*/ 39265 h 196325"/>
                <a:gd name="connsiteX36" fmla="*/ 43771 w 196325"/>
                <a:gd name="connsiteY36" fmla="*/ 22529 h 196325"/>
                <a:gd name="connsiteX37" fmla="*/ 39265 w 196325"/>
                <a:gd name="connsiteY37" fmla="*/ 26391 h 196325"/>
                <a:gd name="connsiteX38" fmla="*/ 34759 w 196325"/>
                <a:gd name="connsiteY38" fmla="*/ 30253 h 196325"/>
                <a:gd name="connsiteX39" fmla="*/ 30253 w 196325"/>
                <a:gd name="connsiteY39" fmla="*/ 34116 h 196325"/>
                <a:gd name="connsiteX40" fmla="*/ 43449 w 196325"/>
                <a:gd name="connsiteY40" fmla="*/ 60185 h 196325"/>
                <a:gd name="connsiteX41" fmla="*/ 34116 w 196325"/>
                <a:gd name="connsiteY41" fmla="*/ 78852 h 196325"/>
                <a:gd name="connsiteX42" fmla="*/ 5471 w 196325"/>
                <a:gd name="connsiteY42" fmla="*/ 84001 h 196325"/>
                <a:gd name="connsiteX43" fmla="*/ 5471 w 196325"/>
                <a:gd name="connsiteY43" fmla="*/ 90438 h 196325"/>
                <a:gd name="connsiteX44" fmla="*/ 5150 w 196325"/>
                <a:gd name="connsiteY44" fmla="*/ 96232 h 196325"/>
                <a:gd name="connsiteX45" fmla="*/ 4828 w 196325"/>
                <a:gd name="connsiteY45" fmla="*/ 102025 h 196325"/>
                <a:gd name="connsiteX46" fmla="*/ 32506 w 196325"/>
                <a:gd name="connsiteY46" fmla="*/ 111036 h 196325"/>
                <a:gd name="connsiteX47" fmla="*/ 39265 w 196325"/>
                <a:gd name="connsiteY47" fmla="*/ 130669 h 196325"/>
                <a:gd name="connsiteX48" fmla="*/ 22529 w 196325"/>
                <a:gd name="connsiteY48" fmla="*/ 154807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2529" y="154807"/>
                  </a:moveTo>
                  <a:lnTo>
                    <a:pt x="26391" y="159313"/>
                  </a:lnTo>
                  <a:lnTo>
                    <a:pt x="30253" y="163819"/>
                  </a:lnTo>
                  <a:lnTo>
                    <a:pt x="34116" y="168325"/>
                  </a:lnTo>
                  <a:lnTo>
                    <a:pt x="60185" y="154807"/>
                  </a:lnTo>
                  <a:cubicBezTo>
                    <a:pt x="65978" y="158991"/>
                    <a:pt x="72415" y="161888"/>
                    <a:pt x="78852" y="164141"/>
                  </a:cubicBezTo>
                  <a:lnTo>
                    <a:pt x="84001" y="193107"/>
                  </a:lnTo>
                  <a:lnTo>
                    <a:pt x="89795" y="193429"/>
                  </a:lnTo>
                  <a:lnTo>
                    <a:pt x="95588" y="193429"/>
                  </a:lnTo>
                  <a:lnTo>
                    <a:pt x="101381" y="193750"/>
                  </a:lnTo>
                  <a:lnTo>
                    <a:pt x="110393" y="165750"/>
                  </a:lnTo>
                  <a:cubicBezTo>
                    <a:pt x="117151" y="164463"/>
                    <a:pt x="123910" y="162210"/>
                    <a:pt x="130025" y="158991"/>
                  </a:cubicBezTo>
                  <a:lnTo>
                    <a:pt x="154164" y="175727"/>
                  </a:lnTo>
                  <a:lnTo>
                    <a:pt x="158669" y="171865"/>
                  </a:lnTo>
                  <a:lnTo>
                    <a:pt x="163175" y="168003"/>
                  </a:lnTo>
                  <a:lnTo>
                    <a:pt x="167681" y="164141"/>
                  </a:lnTo>
                  <a:lnTo>
                    <a:pt x="154164" y="138071"/>
                  </a:lnTo>
                  <a:cubicBezTo>
                    <a:pt x="158347" y="132278"/>
                    <a:pt x="161244" y="126163"/>
                    <a:pt x="163497" y="119404"/>
                  </a:cubicBezTo>
                  <a:lnTo>
                    <a:pt x="192463" y="114255"/>
                  </a:lnTo>
                  <a:lnTo>
                    <a:pt x="192785" y="108462"/>
                  </a:lnTo>
                  <a:lnTo>
                    <a:pt x="193107" y="102668"/>
                  </a:lnTo>
                  <a:lnTo>
                    <a:pt x="193429" y="96875"/>
                  </a:lnTo>
                  <a:lnTo>
                    <a:pt x="165428" y="87864"/>
                  </a:lnTo>
                  <a:cubicBezTo>
                    <a:pt x="164141" y="81105"/>
                    <a:pt x="162210" y="74346"/>
                    <a:pt x="158669" y="68231"/>
                  </a:cubicBezTo>
                  <a:lnTo>
                    <a:pt x="175405" y="44093"/>
                  </a:lnTo>
                  <a:lnTo>
                    <a:pt x="171543" y="39587"/>
                  </a:lnTo>
                  <a:lnTo>
                    <a:pt x="167681" y="35081"/>
                  </a:lnTo>
                  <a:lnTo>
                    <a:pt x="163819" y="30575"/>
                  </a:lnTo>
                  <a:lnTo>
                    <a:pt x="137749" y="43771"/>
                  </a:lnTo>
                  <a:cubicBezTo>
                    <a:pt x="131956" y="39587"/>
                    <a:pt x="125519" y="36690"/>
                    <a:pt x="119082" y="34437"/>
                  </a:cubicBezTo>
                  <a:lnTo>
                    <a:pt x="113933" y="5793"/>
                  </a:lnTo>
                  <a:lnTo>
                    <a:pt x="108140" y="5471"/>
                  </a:lnTo>
                  <a:lnTo>
                    <a:pt x="102347" y="5150"/>
                  </a:lnTo>
                  <a:lnTo>
                    <a:pt x="96553" y="4828"/>
                  </a:lnTo>
                  <a:lnTo>
                    <a:pt x="87542" y="32506"/>
                  </a:lnTo>
                  <a:cubicBezTo>
                    <a:pt x="80783" y="33794"/>
                    <a:pt x="74024" y="36047"/>
                    <a:pt x="67587" y="39265"/>
                  </a:cubicBezTo>
                  <a:lnTo>
                    <a:pt x="43771" y="22529"/>
                  </a:lnTo>
                  <a:lnTo>
                    <a:pt x="39265" y="26391"/>
                  </a:lnTo>
                  <a:lnTo>
                    <a:pt x="34759" y="30253"/>
                  </a:lnTo>
                  <a:lnTo>
                    <a:pt x="30253" y="34116"/>
                  </a:lnTo>
                  <a:lnTo>
                    <a:pt x="43449" y="60185"/>
                  </a:lnTo>
                  <a:cubicBezTo>
                    <a:pt x="39265" y="65978"/>
                    <a:pt x="36368" y="72415"/>
                    <a:pt x="34116" y="78852"/>
                  </a:cubicBezTo>
                  <a:lnTo>
                    <a:pt x="5471" y="84001"/>
                  </a:lnTo>
                  <a:lnTo>
                    <a:pt x="5471" y="90438"/>
                  </a:lnTo>
                  <a:lnTo>
                    <a:pt x="5150" y="96232"/>
                  </a:lnTo>
                  <a:lnTo>
                    <a:pt x="4828" y="102025"/>
                  </a:lnTo>
                  <a:lnTo>
                    <a:pt x="32506" y="111036"/>
                  </a:lnTo>
                  <a:cubicBezTo>
                    <a:pt x="33794" y="117795"/>
                    <a:pt x="36047" y="124554"/>
                    <a:pt x="39265" y="130669"/>
                  </a:cubicBezTo>
                  <a:lnTo>
                    <a:pt x="22529" y="154807"/>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702" name="Freeform: Shape 1340">
              <a:extLst>
                <a:ext uri="{FF2B5EF4-FFF2-40B4-BE49-F238E27FC236}">
                  <a16:creationId xmlns:a16="http://schemas.microsoft.com/office/drawing/2014/main" id="{1553C22C-3112-F649-8345-0A6DCA453297}"/>
                </a:ext>
              </a:extLst>
            </p:cNvPr>
            <p:cNvSpPr/>
            <p:nvPr/>
          </p:nvSpPr>
          <p:spPr>
            <a:xfrm>
              <a:off x="7919525" y="6357802"/>
              <a:ext cx="251374" cy="251374"/>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703" name="Freeform: Shape 1341">
              <a:extLst>
                <a:ext uri="{FF2B5EF4-FFF2-40B4-BE49-F238E27FC236}">
                  <a16:creationId xmlns:a16="http://schemas.microsoft.com/office/drawing/2014/main" id="{C3C39E09-F1F0-E64B-A6CF-B1B0EF4EA163}"/>
                </a:ext>
              </a:extLst>
            </p:cNvPr>
            <p:cNvSpPr/>
            <p:nvPr/>
          </p:nvSpPr>
          <p:spPr>
            <a:xfrm>
              <a:off x="7997836" y="6436114"/>
              <a:ext cx="96681" cy="96681"/>
            </a:xfrm>
            <a:custGeom>
              <a:avLst/>
              <a:gdLst>
                <a:gd name="connsiteX0" fmla="*/ 28000 w 32184"/>
                <a:gd name="connsiteY0" fmla="*/ 16414 h 32184"/>
                <a:gd name="connsiteX1" fmla="*/ 16414 w 32184"/>
                <a:gd name="connsiteY1" fmla="*/ 28000 h 32184"/>
                <a:gd name="connsiteX2" fmla="*/ 4828 w 32184"/>
                <a:gd name="connsiteY2" fmla="*/ 16414 h 32184"/>
                <a:gd name="connsiteX3" fmla="*/ 16414 w 32184"/>
                <a:gd name="connsiteY3" fmla="*/ 4828 h 32184"/>
                <a:gd name="connsiteX4" fmla="*/ 28000 w 32184"/>
                <a:gd name="connsiteY4" fmla="*/ 16414 h 3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4" h="32184">
                  <a:moveTo>
                    <a:pt x="28000" y="16414"/>
                  </a:moveTo>
                  <a:cubicBezTo>
                    <a:pt x="28000" y="22813"/>
                    <a:pt x="22813" y="28000"/>
                    <a:pt x="16414" y="28000"/>
                  </a:cubicBezTo>
                  <a:cubicBezTo>
                    <a:pt x="10015" y="28000"/>
                    <a:pt x="4828" y="22813"/>
                    <a:pt x="4828" y="16414"/>
                  </a:cubicBezTo>
                  <a:cubicBezTo>
                    <a:pt x="4828" y="10015"/>
                    <a:pt x="10015" y="4828"/>
                    <a:pt x="16414" y="4828"/>
                  </a:cubicBezTo>
                  <a:cubicBezTo>
                    <a:pt x="22813" y="4828"/>
                    <a:pt x="28000" y="10015"/>
                    <a:pt x="28000" y="16414"/>
                  </a:cubicBez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704" name="Freeform: Shape 1342">
              <a:extLst>
                <a:ext uri="{FF2B5EF4-FFF2-40B4-BE49-F238E27FC236}">
                  <a16:creationId xmlns:a16="http://schemas.microsoft.com/office/drawing/2014/main" id="{6E5CB30B-D4C2-EB42-9D67-6B933C7EC118}"/>
                </a:ext>
              </a:extLst>
            </p:cNvPr>
            <p:cNvSpPr/>
            <p:nvPr/>
          </p:nvSpPr>
          <p:spPr>
            <a:xfrm>
              <a:off x="6630539" y="5548499"/>
              <a:ext cx="1119001" cy="1119001"/>
            </a:xfrm>
            <a:custGeom>
              <a:avLst/>
              <a:gdLst>
                <a:gd name="connsiteX0" fmla="*/ 22529 w 196325"/>
                <a:gd name="connsiteY0" fmla="*/ 154807 h 196325"/>
                <a:gd name="connsiteX1" fmla="*/ 26391 w 196325"/>
                <a:gd name="connsiteY1" fmla="*/ 159313 h 196325"/>
                <a:gd name="connsiteX2" fmla="*/ 30253 w 196325"/>
                <a:gd name="connsiteY2" fmla="*/ 163819 h 196325"/>
                <a:gd name="connsiteX3" fmla="*/ 34116 w 196325"/>
                <a:gd name="connsiteY3" fmla="*/ 168325 h 196325"/>
                <a:gd name="connsiteX4" fmla="*/ 60185 w 196325"/>
                <a:gd name="connsiteY4" fmla="*/ 154807 h 196325"/>
                <a:gd name="connsiteX5" fmla="*/ 78852 w 196325"/>
                <a:gd name="connsiteY5" fmla="*/ 164141 h 196325"/>
                <a:gd name="connsiteX6" fmla="*/ 84001 w 196325"/>
                <a:gd name="connsiteY6" fmla="*/ 193107 h 196325"/>
                <a:gd name="connsiteX7" fmla="*/ 89795 w 196325"/>
                <a:gd name="connsiteY7" fmla="*/ 193429 h 196325"/>
                <a:gd name="connsiteX8" fmla="*/ 95588 w 196325"/>
                <a:gd name="connsiteY8" fmla="*/ 193429 h 196325"/>
                <a:gd name="connsiteX9" fmla="*/ 101381 w 196325"/>
                <a:gd name="connsiteY9" fmla="*/ 193750 h 196325"/>
                <a:gd name="connsiteX10" fmla="*/ 110393 w 196325"/>
                <a:gd name="connsiteY10" fmla="*/ 165750 h 196325"/>
                <a:gd name="connsiteX11" fmla="*/ 130025 w 196325"/>
                <a:gd name="connsiteY11" fmla="*/ 158991 h 196325"/>
                <a:gd name="connsiteX12" fmla="*/ 154164 w 196325"/>
                <a:gd name="connsiteY12" fmla="*/ 175727 h 196325"/>
                <a:gd name="connsiteX13" fmla="*/ 158669 w 196325"/>
                <a:gd name="connsiteY13" fmla="*/ 171865 h 196325"/>
                <a:gd name="connsiteX14" fmla="*/ 163175 w 196325"/>
                <a:gd name="connsiteY14" fmla="*/ 168003 h 196325"/>
                <a:gd name="connsiteX15" fmla="*/ 167681 w 196325"/>
                <a:gd name="connsiteY15" fmla="*/ 164141 h 196325"/>
                <a:gd name="connsiteX16" fmla="*/ 154164 w 196325"/>
                <a:gd name="connsiteY16" fmla="*/ 138071 h 196325"/>
                <a:gd name="connsiteX17" fmla="*/ 163497 w 196325"/>
                <a:gd name="connsiteY17" fmla="*/ 119404 h 196325"/>
                <a:gd name="connsiteX18" fmla="*/ 192463 w 196325"/>
                <a:gd name="connsiteY18" fmla="*/ 114255 h 196325"/>
                <a:gd name="connsiteX19" fmla="*/ 192785 w 196325"/>
                <a:gd name="connsiteY19" fmla="*/ 108462 h 196325"/>
                <a:gd name="connsiteX20" fmla="*/ 193107 w 196325"/>
                <a:gd name="connsiteY20" fmla="*/ 102668 h 196325"/>
                <a:gd name="connsiteX21" fmla="*/ 193429 w 196325"/>
                <a:gd name="connsiteY21" fmla="*/ 96875 h 196325"/>
                <a:gd name="connsiteX22" fmla="*/ 165428 w 196325"/>
                <a:gd name="connsiteY22" fmla="*/ 87864 h 196325"/>
                <a:gd name="connsiteX23" fmla="*/ 158669 w 196325"/>
                <a:gd name="connsiteY23" fmla="*/ 68231 h 196325"/>
                <a:gd name="connsiteX24" fmla="*/ 175405 w 196325"/>
                <a:gd name="connsiteY24" fmla="*/ 44093 h 196325"/>
                <a:gd name="connsiteX25" fmla="*/ 171543 w 196325"/>
                <a:gd name="connsiteY25" fmla="*/ 39587 h 196325"/>
                <a:gd name="connsiteX26" fmla="*/ 167681 w 196325"/>
                <a:gd name="connsiteY26" fmla="*/ 35081 h 196325"/>
                <a:gd name="connsiteX27" fmla="*/ 163819 w 196325"/>
                <a:gd name="connsiteY27" fmla="*/ 30575 h 196325"/>
                <a:gd name="connsiteX28" fmla="*/ 137749 w 196325"/>
                <a:gd name="connsiteY28" fmla="*/ 43771 h 196325"/>
                <a:gd name="connsiteX29" fmla="*/ 119082 w 196325"/>
                <a:gd name="connsiteY29" fmla="*/ 34437 h 196325"/>
                <a:gd name="connsiteX30" fmla="*/ 113933 w 196325"/>
                <a:gd name="connsiteY30" fmla="*/ 5793 h 196325"/>
                <a:gd name="connsiteX31" fmla="*/ 108140 w 196325"/>
                <a:gd name="connsiteY31" fmla="*/ 5471 h 196325"/>
                <a:gd name="connsiteX32" fmla="*/ 102347 w 196325"/>
                <a:gd name="connsiteY32" fmla="*/ 5150 h 196325"/>
                <a:gd name="connsiteX33" fmla="*/ 96553 w 196325"/>
                <a:gd name="connsiteY33" fmla="*/ 4828 h 196325"/>
                <a:gd name="connsiteX34" fmla="*/ 87542 w 196325"/>
                <a:gd name="connsiteY34" fmla="*/ 32506 h 196325"/>
                <a:gd name="connsiteX35" fmla="*/ 67587 w 196325"/>
                <a:gd name="connsiteY35" fmla="*/ 39265 h 196325"/>
                <a:gd name="connsiteX36" fmla="*/ 43771 w 196325"/>
                <a:gd name="connsiteY36" fmla="*/ 22529 h 196325"/>
                <a:gd name="connsiteX37" fmla="*/ 39265 w 196325"/>
                <a:gd name="connsiteY37" fmla="*/ 26391 h 196325"/>
                <a:gd name="connsiteX38" fmla="*/ 34759 w 196325"/>
                <a:gd name="connsiteY38" fmla="*/ 30253 h 196325"/>
                <a:gd name="connsiteX39" fmla="*/ 30253 w 196325"/>
                <a:gd name="connsiteY39" fmla="*/ 34116 h 196325"/>
                <a:gd name="connsiteX40" fmla="*/ 43449 w 196325"/>
                <a:gd name="connsiteY40" fmla="*/ 60185 h 196325"/>
                <a:gd name="connsiteX41" fmla="*/ 34116 w 196325"/>
                <a:gd name="connsiteY41" fmla="*/ 78852 h 196325"/>
                <a:gd name="connsiteX42" fmla="*/ 5471 w 196325"/>
                <a:gd name="connsiteY42" fmla="*/ 84001 h 196325"/>
                <a:gd name="connsiteX43" fmla="*/ 5471 w 196325"/>
                <a:gd name="connsiteY43" fmla="*/ 90438 h 196325"/>
                <a:gd name="connsiteX44" fmla="*/ 5150 w 196325"/>
                <a:gd name="connsiteY44" fmla="*/ 96232 h 196325"/>
                <a:gd name="connsiteX45" fmla="*/ 4828 w 196325"/>
                <a:gd name="connsiteY45" fmla="*/ 102025 h 196325"/>
                <a:gd name="connsiteX46" fmla="*/ 32506 w 196325"/>
                <a:gd name="connsiteY46" fmla="*/ 111036 h 196325"/>
                <a:gd name="connsiteX47" fmla="*/ 39265 w 196325"/>
                <a:gd name="connsiteY47" fmla="*/ 130669 h 196325"/>
                <a:gd name="connsiteX48" fmla="*/ 22529 w 196325"/>
                <a:gd name="connsiteY48" fmla="*/ 154807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2529" y="154807"/>
                  </a:moveTo>
                  <a:lnTo>
                    <a:pt x="26391" y="159313"/>
                  </a:lnTo>
                  <a:lnTo>
                    <a:pt x="30253" y="163819"/>
                  </a:lnTo>
                  <a:lnTo>
                    <a:pt x="34116" y="168325"/>
                  </a:lnTo>
                  <a:lnTo>
                    <a:pt x="60185" y="154807"/>
                  </a:lnTo>
                  <a:cubicBezTo>
                    <a:pt x="65978" y="158991"/>
                    <a:pt x="72415" y="161888"/>
                    <a:pt x="78852" y="164141"/>
                  </a:cubicBezTo>
                  <a:lnTo>
                    <a:pt x="84001" y="193107"/>
                  </a:lnTo>
                  <a:lnTo>
                    <a:pt x="89795" y="193429"/>
                  </a:lnTo>
                  <a:lnTo>
                    <a:pt x="95588" y="193429"/>
                  </a:lnTo>
                  <a:lnTo>
                    <a:pt x="101381" y="193750"/>
                  </a:lnTo>
                  <a:lnTo>
                    <a:pt x="110393" y="165750"/>
                  </a:lnTo>
                  <a:cubicBezTo>
                    <a:pt x="117151" y="164463"/>
                    <a:pt x="123910" y="162210"/>
                    <a:pt x="130025" y="158991"/>
                  </a:cubicBezTo>
                  <a:lnTo>
                    <a:pt x="154164" y="175727"/>
                  </a:lnTo>
                  <a:lnTo>
                    <a:pt x="158669" y="171865"/>
                  </a:lnTo>
                  <a:lnTo>
                    <a:pt x="163175" y="168003"/>
                  </a:lnTo>
                  <a:lnTo>
                    <a:pt x="167681" y="164141"/>
                  </a:lnTo>
                  <a:lnTo>
                    <a:pt x="154164" y="138071"/>
                  </a:lnTo>
                  <a:cubicBezTo>
                    <a:pt x="158347" y="132278"/>
                    <a:pt x="161244" y="126163"/>
                    <a:pt x="163497" y="119404"/>
                  </a:cubicBezTo>
                  <a:lnTo>
                    <a:pt x="192463" y="114255"/>
                  </a:lnTo>
                  <a:lnTo>
                    <a:pt x="192785" y="108462"/>
                  </a:lnTo>
                  <a:lnTo>
                    <a:pt x="193107" y="102668"/>
                  </a:lnTo>
                  <a:lnTo>
                    <a:pt x="193429" y="96875"/>
                  </a:lnTo>
                  <a:lnTo>
                    <a:pt x="165428" y="87864"/>
                  </a:lnTo>
                  <a:cubicBezTo>
                    <a:pt x="164141" y="81105"/>
                    <a:pt x="162210" y="74346"/>
                    <a:pt x="158669" y="68231"/>
                  </a:cubicBezTo>
                  <a:lnTo>
                    <a:pt x="175405" y="44093"/>
                  </a:lnTo>
                  <a:lnTo>
                    <a:pt x="171543" y="39587"/>
                  </a:lnTo>
                  <a:lnTo>
                    <a:pt x="167681" y="35081"/>
                  </a:lnTo>
                  <a:lnTo>
                    <a:pt x="163819" y="30575"/>
                  </a:lnTo>
                  <a:lnTo>
                    <a:pt x="137749" y="43771"/>
                  </a:lnTo>
                  <a:cubicBezTo>
                    <a:pt x="131956" y="39587"/>
                    <a:pt x="125519" y="36690"/>
                    <a:pt x="119082" y="34437"/>
                  </a:cubicBezTo>
                  <a:lnTo>
                    <a:pt x="113933" y="5793"/>
                  </a:lnTo>
                  <a:lnTo>
                    <a:pt x="108140" y="5471"/>
                  </a:lnTo>
                  <a:lnTo>
                    <a:pt x="102347" y="5150"/>
                  </a:lnTo>
                  <a:lnTo>
                    <a:pt x="96553" y="4828"/>
                  </a:lnTo>
                  <a:lnTo>
                    <a:pt x="87542" y="32506"/>
                  </a:lnTo>
                  <a:cubicBezTo>
                    <a:pt x="80783" y="33794"/>
                    <a:pt x="74024" y="36047"/>
                    <a:pt x="67587" y="39265"/>
                  </a:cubicBezTo>
                  <a:lnTo>
                    <a:pt x="43771" y="22529"/>
                  </a:lnTo>
                  <a:lnTo>
                    <a:pt x="39265" y="26391"/>
                  </a:lnTo>
                  <a:lnTo>
                    <a:pt x="34759" y="30253"/>
                  </a:lnTo>
                  <a:lnTo>
                    <a:pt x="30253" y="34116"/>
                  </a:lnTo>
                  <a:lnTo>
                    <a:pt x="43449" y="60185"/>
                  </a:lnTo>
                  <a:cubicBezTo>
                    <a:pt x="39265" y="65978"/>
                    <a:pt x="36368" y="72415"/>
                    <a:pt x="34116" y="78852"/>
                  </a:cubicBezTo>
                  <a:lnTo>
                    <a:pt x="5471" y="84001"/>
                  </a:lnTo>
                  <a:lnTo>
                    <a:pt x="5471" y="90438"/>
                  </a:lnTo>
                  <a:lnTo>
                    <a:pt x="5150" y="96232"/>
                  </a:lnTo>
                  <a:lnTo>
                    <a:pt x="4828" y="102025"/>
                  </a:lnTo>
                  <a:lnTo>
                    <a:pt x="32506" y="111036"/>
                  </a:lnTo>
                  <a:cubicBezTo>
                    <a:pt x="33794" y="117795"/>
                    <a:pt x="36047" y="124554"/>
                    <a:pt x="39265" y="130669"/>
                  </a:cubicBezTo>
                  <a:lnTo>
                    <a:pt x="22529" y="154807"/>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705" name="Freeform: Shape 1343">
              <a:extLst>
                <a:ext uri="{FF2B5EF4-FFF2-40B4-BE49-F238E27FC236}">
                  <a16:creationId xmlns:a16="http://schemas.microsoft.com/office/drawing/2014/main" id="{AB455742-B0FF-8940-A0A2-CBB7DF7CEBDF}"/>
                </a:ext>
              </a:extLst>
            </p:cNvPr>
            <p:cNvSpPr/>
            <p:nvPr/>
          </p:nvSpPr>
          <p:spPr>
            <a:xfrm>
              <a:off x="6951565" y="5873196"/>
              <a:ext cx="476954" cy="476954"/>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706" name="Freeform: Shape 1344">
              <a:extLst>
                <a:ext uri="{FF2B5EF4-FFF2-40B4-BE49-F238E27FC236}">
                  <a16:creationId xmlns:a16="http://schemas.microsoft.com/office/drawing/2014/main" id="{E9509166-3423-C94C-9874-BA8B054F3BBD}"/>
                </a:ext>
              </a:extLst>
            </p:cNvPr>
            <p:cNvSpPr/>
            <p:nvPr/>
          </p:nvSpPr>
          <p:spPr>
            <a:xfrm>
              <a:off x="7100152" y="6021782"/>
              <a:ext cx="183440" cy="183440"/>
            </a:xfrm>
            <a:custGeom>
              <a:avLst/>
              <a:gdLst>
                <a:gd name="connsiteX0" fmla="*/ 28000 w 32184"/>
                <a:gd name="connsiteY0" fmla="*/ 16414 h 32184"/>
                <a:gd name="connsiteX1" fmla="*/ 16414 w 32184"/>
                <a:gd name="connsiteY1" fmla="*/ 28000 h 32184"/>
                <a:gd name="connsiteX2" fmla="*/ 4828 w 32184"/>
                <a:gd name="connsiteY2" fmla="*/ 16414 h 32184"/>
                <a:gd name="connsiteX3" fmla="*/ 16414 w 32184"/>
                <a:gd name="connsiteY3" fmla="*/ 4828 h 32184"/>
                <a:gd name="connsiteX4" fmla="*/ 28000 w 32184"/>
                <a:gd name="connsiteY4" fmla="*/ 16414 h 3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4" h="32184">
                  <a:moveTo>
                    <a:pt x="28000" y="16414"/>
                  </a:moveTo>
                  <a:cubicBezTo>
                    <a:pt x="28000" y="22813"/>
                    <a:pt x="22813" y="28000"/>
                    <a:pt x="16414" y="28000"/>
                  </a:cubicBezTo>
                  <a:cubicBezTo>
                    <a:pt x="10015" y="28000"/>
                    <a:pt x="4828" y="22813"/>
                    <a:pt x="4828" y="16414"/>
                  </a:cubicBezTo>
                  <a:cubicBezTo>
                    <a:pt x="4828" y="10015"/>
                    <a:pt x="10015" y="4828"/>
                    <a:pt x="16414" y="4828"/>
                  </a:cubicBezTo>
                  <a:cubicBezTo>
                    <a:pt x="22813" y="4828"/>
                    <a:pt x="28000" y="10015"/>
                    <a:pt x="28000" y="16414"/>
                  </a:cubicBez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707" name="Freeform: Shape 1345">
              <a:extLst>
                <a:ext uri="{FF2B5EF4-FFF2-40B4-BE49-F238E27FC236}">
                  <a16:creationId xmlns:a16="http://schemas.microsoft.com/office/drawing/2014/main" id="{A80EE555-A818-2447-AC4E-7B3868717C72}"/>
                </a:ext>
              </a:extLst>
            </p:cNvPr>
            <p:cNvSpPr/>
            <p:nvPr/>
          </p:nvSpPr>
          <p:spPr>
            <a:xfrm>
              <a:off x="7702707" y="5287514"/>
              <a:ext cx="793594" cy="793594"/>
            </a:xfrm>
            <a:custGeom>
              <a:avLst/>
              <a:gdLst>
                <a:gd name="connsiteX0" fmla="*/ 22529 w 196325"/>
                <a:gd name="connsiteY0" fmla="*/ 154807 h 196325"/>
                <a:gd name="connsiteX1" fmla="*/ 26391 w 196325"/>
                <a:gd name="connsiteY1" fmla="*/ 159313 h 196325"/>
                <a:gd name="connsiteX2" fmla="*/ 30253 w 196325"/>
                <a:gd name="connsiteY2" fmla="*/ 163819 h 196325"/>
                <a:gd name="connsiteX3" fmla="*/ 34116 w 196325"/>
                <a:gd name="connsiteY3" fmla="*/ 168325 h 196325"/>
                <a:gd name="connsiteX4" fmla="*/ 60185 w 196325"/>
                <a:gd name="connsiteY4" fmla="*/ 154807 h 196325"/>
                <a:gd name="connsiteX5" fmla="*/ 78852 w 196325"/>
                <a:gd name="connsiteY5" fmla="*/ 164141 h 196325"/>
                <a:gd name="connsiteX6" fmla="*/ 84001 w 196325"/>
                <a:gd name="connsiteY6" fmla="*/ 193107 h 196325"/>
                <a:gd name="connsiteX7" fmla="*/ 89795 w 196325"/>
                <a:gd name="connsiteY7" fmla="*/ 193429 h 196325"/>
                <a:gd name="connsiteX8" fmla="*/ 95588 w 196325"/>
                <a:gd name="connsiteY8" fmla="*/ 193429 h 196325"/>
                <a:gd name="connsiteX9" fmla="*/ 101381 w 196325"/>
                <a:gd name="connsiteY9" fmla="*/ 193750 h 196325"/>
                <a:gd name="connsiteX10" fmla="*/ 110393 w 196325"/>
                <a:gd name="connsiteY10" fmla="*/ 165750 h 196325"/>
                <a:gd name="connsiteX11" fmla="*/ 130025 w 196325"/>
                <a:gd name="connsiteY11" fmla="*/ 158991 h 196325"/>
                <a:gd name="connsiteX12" fmla="*/ 154164 w 196325"/>
                <a:gd name="connsiteY12" fmla="*/ 175727 h 196325"/>
                <a:gd name="connsiteX13" fmla="*/ 158669 w 196325"/>
                <a:gd name="connsiteY13" fmla="*/ 171865 h 196325"/>
                <a:gd name="connsiteX14" fmla="*/ 163175 w 196325"/>
                <a:gd name="connsiteY14" fmla="*/ 168003 h 196325"/>
                <a:gd name="connsiteX15" fmla="*/ 167681 w 196325"/>
                <a:gd name="connsiteY15" fmla="*/ 164141 h 196325"/>
                <a:gd name="connsiteX16" fmla="*/ 154164 w 196325"/>
                <a:gd name="connsiteY16" fmla="*/ 138071 h 196325"/>
                <a:gd name="connsiteX17" fmla="*/ 163497 w 196325"/>
                <a:gd name="connsiteY17" fmla="*/ 119404 h 196325"/>
                <a:gd name="connsiteX18" fmla="*/ 192463 w 196325"/>
                <a:gd name="connsiteY18" fmla="*/ 114255 h 196325"/>
                <a:gd name="connsiteX19" fmla="*/ 192785 w 196325"/>
                <a:gd name="connsiteY19" fmla="*/ 108462 h 196325"/>
                <a:gd name="connsiteX20" fmla="*/ 193107 w 196325"/>
                <a:gd name="connsiteY20" fmla="*/ 102668 h 196325"/>
                <a:gd name="connsiteX21" fmla="*/ 193429 w 196325"/>
                <a:gd name="connsiteY21" fmla="*/ 96875 h 196325"/>
                <a:gd name="connsiteX22" fmla="*/ 165428 w 196325"/>
                <a:gd name="connsiteY22" fmla="*/ 87864 h 196325"/>
                <a:gd name="connsiteX23" fmla="*/ 158669 w 196325"/>
                <a:gd name="connsiteY23" fmla="*/ 68231 h 196325"/>
                <a:gd name="connsiteX24" fmla="*/ 175405 w 196325"/>
                <a:gd name="connsiteY24" fmla="*/ 44093 h 196325"/>
                <a:gd name="connsiteX25" fmla="*/ 171543 w 196325"/>
                <a:gd name="connsiteY25" fmla="*/ 39587 h 196325"/>
                <a:gd name="connsiteX26" fmla="*/ 167681 w 196325"/>
                <a:gd name="connsiteY26" fmla="*/ 35081 h 196325"/>
                <a:gd name="connsiteX27" fmla="*/ 163819 w 196325"/>
                <a:gd name="connsiteY27" fmla="*/ 30575 h 196325"/>
                <a:gd name="connsiteX28" fmla="*/ 137749 w 196325"/>
                <a:gd name="connsiteY28" fmla="*/ 43771 h 196325"/>
                <a:gd name="connsiteX29" fmla="*/ 119082 w 196325"/>
                <a:gd name="connsiteY29" fmla="*/ 34437 h 196325"/>
                <a:gd name="connsiteX30" fmla="*/ 113933 w 196325"/>
                <a:gd name="connsiteY30" fmla="*/ 5793 h 196325"/>
                <a:gd name="connsiteX31" fmla="*/ 108140 w 196325"/>
                <a:gd name="connsiteY31" fmla="*/ 5471 h 196325"/>
                <a:gd name="connsiteX32" fmla="*/ 102347 w 196325"/>
                <a:gd name="connsiteY32" fmla="*/ 5150 h 196325"/>
                <a:gd name="connsiteX33" fmla="*/ 96553 w 196325"/>
                <a:gd name="connsiteY33" fmla="*/ 4828 h 196325"/>
                <a:gd name="connsiteX34" fmla="*/ 87542 w 196325"/>
                <a:gd name="connsiteY34" fmla="*/ 32506 h 196325"/>
                <a:gd name="connsiteX35" fmla="*/ 67587 w 196325"/>
                <a:gd name="connsiteY35" fmla="*/ 39265 h 196325"/>
                <a:gd name="connsiteX36" fmla="*/ 43771 w 196325"/>
                <a:gd name="connsiteY36" fmla="*/ 22529 h 196325"/>
                <a:gd name="connsiteX37" fmla="*/ 39265 w 196325"/>
                <a:gd name="connsiteY37" fmla="*/ 26391 h 196325"/>
                <a:gd name="connsiteX38" fmla="*/ 34759 w 196325"/>
                <a:gd name="connsiteY38" fmla="*/ 30253 h 196325"/>
                <a:gd name="connsiteX39" fmla="*/ 30253 w 196325"/>
                <a:gd name="connsiteY39" fmla="*/ 34116 h 196325"/>
                <a:gd name="connsiteX40" fmla="*/ 43449 w 196325"/>
                <a:gd name="connsiteY40" fmla="*/ 60185 h 196325"/>
                <a:gd name="connsiteX41" fmla="*/ 34116 w 196325"/>
                <a:gd name="connsiteY41" fmla="*/ 78852 h 196325"/>
                <a:gd name="connsiteX42" fmla="*/ 5471 w 196325"/>
                <a:gd name="connsiteY42" fmla="*/ 84001 h 196325"/>
                <a:gd name="connsiteX43" fmla="*/ 5471 w 196325"/>
                <a:gd name="connsiteY43" fmla="*/ 90438 h 196325"/>
                <a:gd name="connsiteX44" fmla="*/ 5150 w 196325"/>
                <a:gd name="connsiteY44" fmla="*/ 96232 h 196325"/>
                <a:gd name="connsiteX45" fmla="*/ 4828 w 196325"/>
                <a:gd name="connsiteY45" fmla="*/ 102025 h 196325"/>
                <a:gd name="connsiteX46" fmla="*/ 32506 w 196325"/>
                <a:gd name="connsiteY46" fmla="*/ 111036 h 196325"/>
                <a:gd name="connsiteX47" fmla="*/ 39265 w 196325"/>
                <a:gd name="connsiteY47" fmla="*/ 130669 h 196325"/>
                <a:gd name="connsiteX48" fmla="*/ 22529 w 196325"/>
                <a:gd name="connsiteY48" fmla="*/ 154807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2529" y="154807"/>
                  </a:moveTo>
                  <a:lnTo>
                    <a:pt x="26391" y="159313"/>
                  </a:lnTo>
                  <a:lnTo>
                    <a:pt x="30253" y="163819"/>
                  </a:lnTo>
                  <a:lnTo>
                    <a:pt x="34116" y="168325"/>
                  </a:lnTo>
                  <a:lnTo>
                    <a:pt x="60185" y="154807"/>
                  </a:lnTo>
                  <a:cubicBezTo>
                    <a:pt x="65978" y="158991"/>
                    <a:pt x="72415" y="161888"/>
                    <a:pt x="78852" y="164141"/>
                  </a:cubicBezTo>
                  <a:lnTo>
                    <a:pt x="84001" y="193107"/>
                  </a:lnTo>
                  <a:lnTo>
                    <a:pt x="89795" y="193429"/>
                  </a:lnTo>
                  <a:lnTo>
                    <a:pt x="95588" y="193429"/>
                  </a:lnTo>
                  <a:lnTo>
                    <a:pt x="101381" y="193750"/>
                  </a:lnTo>
                  <a:lnTo>
                    <a:pt x="110393" y="165750"/>
                  </a:lnTo>
                  <a:cubicBezTo>
                    <a:pt x="117151" y="164463"/>
                    <a:pt x="123910" y="162210"/>
                    <a:pt x="130025" y="158991"/>
                  </a:cubicBezTo>
                  <a:lnTo>
                    <a:pt x="154164" y="175727"/>
                  </a:lnTo>
                  <a:lnTo>
                    <a:pt x="158669" y="171865"/>
                  </a:lnTo>
                  <a:lnTo>
                    <a:pt x="163175" y="168003"/>
                  </a:lnTo>
                  <a:lnTo>
                    <a:pt x="167681" y="164141"/>
                  </a:lnTo>
                  <a:lnTo>
                    <a:pt x="154164" y="138071"/>
                  </a:lnTo>
                  <a:cubicBezTo>
                    <a:pt x="158347" y="132278"/>
                    <a:pt x="161244" y="126163"/>
                    <a:pt x="163497" y="119404"/>
                  </a:cubicBezTo>
                  <a:lnTo>
                    <a:pt x="192463" y="114255"/>
                  </a:lnTo>
                  <a:lnTo>
                    <a:pt x="192785" y="108462"/>
                  </a:lnTo>
                  <a:lnTo>
                    <a:pt x="193107" y="102668"/>
                  </a:lnTo>
                  <a:lnTo>
                    <a:pt x="193429" y="96875"/>
                  </a:lnTo>
                  <a:lnTo>
                    <a:pt x="165428" y="87864"/>
                  </a:lnTo>
                  <a:cubicBezTo>
                    <a:pt x="164141" y="81105"/>
                    <a:pt x="162210" y="74346"/>
                    <a:pt x="158669" y="68231"/>
                  </a:cubicBezTo>
                  <a:lnTo>
                    <a:pt x="175405" y="44093"/>
                  </a:lnTo>
                  <a:lnTo>
                    <a:pt x="171543" y="39587"/>
                  </a:lnTo>
                  <a:lnTo>
                    <a:pt x="167681" y="35081"/>
                  </a:lnTo>
                  <a:lnTo>
                    <a:pt x="163819" y="30575"/>
                  </a:lnTo>
                  <a:lnTo>
                    <a:pt x="137749" y="43771"/>
                  </a:lnTo>
                  <a:cubicBezTo>
                    <a:pt x="131956" y="39587"/>
                    <a:pt x="125519" y="36690"/>
                    <a:pt x="119082" y="34437"/>
                  </a:cubicBezTo>
                  <a:lnTo>
                    <a:pt x="113933" y="5793"/>
                  </a:lnTo>
                  <a:lnTo>
                    <a:pt x="108140" y="5471"/>
                  </a:lnTo>
                  <a:lnTo>
                    <a:pt x="102347" y="5150"/>
                  </a:lnTo>
                  <a:lnTo>
                    <a:pt x="96553" y="4828"/>
                  </a:lnTo>
                  <a:lnTo>
                    <a:pt x="87542" y="32506"/>
                  </a:lnTo>
                  <a:cubicBezTo>
                    <a:pt x="80783" y="33794"/>
                    <a:pt x="74024" y="36047"/>
                    <a:pt x="67587" y="39265"/>
                  </a:cubicBezTo>
                  <a:lnTo>
                    <a:pt x="43771" y="22529"/>
                  </a:lnTo>
                  <a:lnTo>
                    <a:pt x="39265" y="26391"/>
                  </a:lnTo>
                  <a:lnTo>
                    <a:pt x="34759" y="30253"/>
                  </a:lnTo>
                  <a:lnTo>
                    <a:pt x="30253" y="34116"/>
                  </a:lnTo>
                  <a:lnTo>
                    <a:pt x="43449" y="60185"/>
                  </a:lnTo>
                  <a:cubicBezTo>
                    <a:pt x="39265" y="65978"/>
                    <a:pt x="36368" y="72415"/>
                    <a:pt x="34116" y="78852"/>
                  </a:cubicBezTo>
                  <a:lnTo>
                    <a:pt x="5471" y="84001"/>
                  </a:lnTo>
                  <a:lnTo>
                    <a:pt x="5471" y="90438"/>
                  </a:lnTo>
                  <a:lnTo>
                    <a:pt x="5150" y="96232"/>
                  </a:lnTo>
                  <a:lnTo>
                    <a:pt x="4828" y="102025"/>
                  </a:lnTo>
                  <a:lnTo>
                    <a:pt x="32506" y="111036"/>
                  </a:lnTo>
                  <a:cubicBezTo>
                    <a:pt x="33794" y="117795"/>
                    <a:pt x="36047" y="124554"/>
                    <a:pt x="39265" y="130669"/>
                  </a:cubicBezTo>
                  <a:lnTo>
                    <a:pt x="22529" y="154807"/>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708" name="Freeform: Shape 1346">
              <a:extLst>
                <a:ext uri="{FF2B5EF4-FFF2-40B4-BE49-F238E27FC236}">
                  <a16:creationId xmlns:a16="http://schemas.microsoft.com/office/drawing/2014/main" id="{AD05B13A-E1FC-064D-A478-9908A157B6EA}"/>
                </a:ext>
              </a:extLst>
            </p:cNvPr>
            <p:cNvSpPr/>
            <p:nvPr/>
          </p:nvSpPr>
          <p:spPr>
            <a:xfrm>
              <a:off x="7930378" y="5517789"/>
              <a:ext cx="338255" cy="338255"/>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ln w="12700" cap="flat">
              <a:solidFill>
                <a:srgbClr val="FDC500"/>
              </a:solidFill>
              <a:prstDash val="solid"/>
              <a:round/>
            </a:ln>
          </p:spPr>
          <p:txBody>
            <a:bodyPr rtlCol="0" anchor="ctr"/>
            <a:lstStyle/>
            <a:p>
              <a:pPr defTabSz="731504">
                <a:defRPr/>
              </a:pPr>
              <a:endParaRPr lang="en-US" sz="1800" dirty="0">
                <a:solidFill>
                  <a:srgbClr val="FFFFFF"/>
                </a:solidFill>
              </a:endParaRPr>
            </a:p>
          </p:txBody>
        </p:sp>
        <p:sp>
          <p:nvSpPr>
            <p:cNvPr id="709" name="Freeform: Shape 1347">
              <a:extLst>
                <a:ext uri="{FF2B5EF4-FFF2-40B4-BE49-F238E27FC236}">
                  <a16:creationId xmlns:a16="http://schemas.microsoft.com/office/drawing/2014/main" id="{5D52A571-1D33-8B41-80A3-E1A49FE37631}"/>
                </a:ext>
              </a:extLst>
            </p:cNvPr>
            <p:cNvSpPr/>
            <p:nvPr/>
          </p:nvSpPr>
          <p:spPr>
            <a:xfrm>
              <a:off x="8035756" y="5623166"/>
              <a:ext cx="130096" cy="130096"/>
            </a:xfrm>
            <a:custGeom>
              <a:avLst/>
              <a:gdLst>
                <a:gd name="connsiteX0" fmla="*/ 28000 w 32184"/>
                <a:gd name="connsiteY0" fmla="*/ 16414 h 32184"/>
                <a:gd name="connsiteX1" fmla="*/ 16414 w 32184"/>
                <a:gd name="connsiteY1" fmla="*/ 28000 h 32184"/>
                <a:gd name="connsiteX2" fmla="*/ 4828 w 32184"/>
                <a:gd name="connsiteY2" fmla="*/ 16414 h 32184"/>
                <a:gd name="connsiteX3" fmla="*/ 16414 w 32184"/>
                <a:gd name="connsiteY3" fmla="*/ 4828 h 32184"/>
                <a:gd name="connsiteX4" fmla="*/ 28000 w 32184"/>
                <a:gd name="connsiteY4" fmla="*/ 16414 h 3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4" h="32184">
                  <a:moveTo>
                    <a:pt x="28000" y="16414"/>
                  </a:moveTo>
                  <a:cubicBezTo>
                    <a:pt x="28000" y="22813"/>
                    <a:pt x="22813" y="28000"/>
                    <a:pt x="16414" y="28000"/>
                  </a:cubicBezTo>
                  <a:cubicBezTo>
                    <a:pt x="10015" y="28000"/>
                    <a:pt x="4828" y="22813"/>
                    <a:pt x="4828" y="16414"/>
                  </a:cubicBezTo>
                  <a:cubicBezTo>
                    <a:pt x="4828" y="10015"/>
                    <a:pt x="10015" y="4828"/>
                    <a:pt x="16414" y="4828"/>
                  </a:cubicBezTo>
                  <a:cubicBezTo>
                    <a:pt x="22813" y="4828"/>
                    <a:pt x="28000" y="10015"/>
                    <a:pt x="28000" y="16414"/>
                  </a:cubicBez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grpSp>
      <p:grpSp>
        <p:nvGrpSpPr>
          <p:cNvPr id="710" name="Group 709">
            <a:extLst>
              <a:ext uri="{FF2B5EF4-FFF2-40B4-BE49-F238E27FC236}">
                <a16:creationId xmlns:a16="http://schemas.microsoft.com/office/drawing/2014/main" id="{552BA697-1866-554D-80B1-B0A9C5587CFB}"/>
              </a:ext>
            </a:extLst>
          </p:cNvPr>
          <p:cNvGrpSpPr/>
          <p:nvPr/>
        </p:nvGrpSpPr>
        <p:grpSpPr>
          <a:xfrm>
            <a:off x="12364625" y="3275781"/>
            <a:ext cx="404028" cy="322423"/>
            <a:chOff x="6630539" y="5287514"/>
            <a:chExt cx="1865762" cy="1488919"/>
          </a:xfrm>
        </p:grpSpPr>
        <p:sp>
          <p:nvSpPr>
            <p:cNvPr id="711" name="Freeform: Shape 1339">
              <a:extLst>
                <a:ext uri="{FF2B5EF4-FFF2-40B4-BE49-F238E27FC236}">
                  <a16:creationId xmlns:a16="http://schemas.microsoft.com/office/drawing/2014/main" id="{5C64262E-A49C-FA49-B684-2ACD4C2AB4C0}"/>
                </a:ext>
              </a:extLst>
            </p:cNvPr>
            <p:cNvSpPr/>
            <p:nvPr/>
          </p:nvSpPr>
          <p:spPr>
            <a:xfrm>
              <a:off x="7750331" y="6186674"/>
              <a:ext cx="589759" cy="589759"/>
            </a:xfrm>
            <a:custGeom>
              <a:avLst/>
              <a:gdLst>
                <a:gd name="connsiteX0" fmla="*/ 22529 w 196325"/>
                <a:gd name="connsiteY0" fmla="*/ 154807 h 196325"/>
                <a:gd name="connsiteX1" fmla="*/ 26391 w 196325"/>
                <a:gd name="connsiteY1" fmla="*/ 159313 h 196325"/>
                <a:gd name="connsiteX2" fmla="*/ 30253 w 196325"/>
                <a:gd name="connsiteY2" fmla="*/ 163819 h 196325"/>
                <a:gd name="connsiteX3" fmla="*/ 34116 w 196325"/>
                <a:gd name="connsiteY3" fmla="*/ 168325 h 196325"/>
                <a:gd name="connsiteX4" fmla="*/ 60185 w 196325"/>
                <a:gd name="connsiteY4" fmla="*/ 154807 h 196325"/>
                <a:gd name="connsiteX5" fmla="*/ 78852 w 196325"/>
                <a:gd name="connsiteY5" fmla="*/ 164141 h 196325"/>
                <a:gd name="connsiteX6" fmla="*/ 84001 w 196325"/>
                <a:gd name="connsiteY6" fmla="*/ 193107 h 196325"/>
                <a:gd name="connsiteX7" fmla="*/ 89795 w 196325"/>
                <a:gd name="connsiteY7" fmla="*/ 193429 h 196325"/>
                <a:gd name="connsiteX8" fmla="*/ 95588 w 196325"/>
                <a:gd name="connsiteY8" fmla="*/ 193429 h 196325"/>
                <a:gd name="connsiteX9" fmla="*/ 101381 w 196325"/>
                <a:gd name="connsiteY9" fmla="*/ 193750 h 196325"/>
                <a:gd name="connsiteX10" fmla="*/ 110393 w 196325"/>
                <a:gd name="connsiteY10" fmla="*/ 165750 h 196325"/>
                <a:gd name="connsiteX11" fmla="*/ 130025 w 196325"/>
                <a:gd name="connsiteY11" fmla="*/ 158991 h 196325"/>
                <a:gd name="connsiteX12" fmla="*/ 154164 w 196325"/>
                <a:gd name="connsiteY12" fmla="*/ 175727 h 196325"/>
                <a:gd name="connsiteX13" fmla="*/ 158669 w 196325"/>
                <a:gd name="connsiteY13" fmla="*/ 171865 h 196325"/>
                <a:gd name="connsiteX14" fmla="*/ 163175 w 196325"/>
                <a:gd name="connsiteY14" fmla="*/ 168003 h 196325"/>
                <a:gd name="connsiteX15" fmla="*/ 167681 w 196325"/>
                <a:gd name="connsiteY15" fmla="*/ 164141 h 196325"/>
                <a:gd name="connsiteX16" fmla="*/ 154164 w 196325"/>
                <a:gd name="connsiteY16" fmla="*/ 138071 h 196325"/>
                <a:gd name="connsiteX17" fmla="*/ 163497 w 196325"/>
                <a:gd name="connsiteY17" fmla="*/ 119404 h 196325"/>
                <a:gd name="connsiteX18" fmla="*/ 192463 w 196325"/>
                <a:gd name="connsiteY18" fmla="*/ 114255 h 196325"/>
                <a:gd name="connsiteX19" fmla="*/ 192785 w 196325"/>
                <a:gd name="connsiteY19" fmla="*/ 108462 h 196325"/>
                <a:gd name="connsiteX20" fmla="*/ 193107 w 196325"/>
                <a:gd name="connsiteY20" fmla="*/ 102668 h 196325"/>
                <a:gd name="connsiteX21" fmla="*/ 193429 w 196325"/>
                <a:gd name="connsiteY21" fmla="*/ 96875 h 196325"/>
                <a:gd name="connsiteX22" fmla="*/ 165428 w 196325"/>
                <a:gd name="connsiteY22" fmla="*/ 87864 h 196325"/>
                <a:gd name="connsiteX23" fmla="*/ 158669 w 196325"/>
                <a:gd name="connsiteY23" fmla="*/ 68231 h 196325"/>
                <a:gd name="connsiteX24" fmla="*/ 175405 w 196325"/>
                <a:gd name="connsiteY24" fmla="*/ 44093 h 196325"/>
                <a:gd name="connsiteX25" fmla="*/ 171543 w 196325"/>
                <a:gd name="connsiteY25" fmla="*/ 39587 h 196325"/>
                <a:gd name="connsiteX26" fmla="*/ 167681 w 196325"/>
                <a:gd name="connsiteY26" fmla="*/ 35081 h 196325"/>
                <a:gd name="connsiteX27" fmla="*/ 163819 w 196325"/>
                <a:gd name="connsiteY27" fmla="*/ 30575 h 196325"/>
                <a:gd name="connsiteX28" fmla="*/ 137749 w 196325"/>
                <a:gd name="connsiteY28" fmla="*/ 43771 h 196325"/>
                <a:gd name="connsiteX29" fmla="*/ 119082 w 196325"/>
                <a:gd name="connsiteY29" fmla="*/ 34437 h 196325"/>
                <a:gd name="connsiteX30" fmla="*/ 113933 w 196325"/>
                <a:gd name="connsiteY30" fmla="*/ 5793 h 196325"/>
                <a:gd name="connsiteX31" fmla="*/ 108140 w 196325"/>
                <a:gd name="connsiteY31" fmla="*/ 5471 h 196325"/>
                <a:gd name="connsiteX32" fmla="*/ 102347 w 196325"/>
                <a:gd name="connsiteY32" fmla="*/ 5150 h 196325"/>
                <a:gd name="connsiteX33" fmla="*/ 96553 w 196325"/>
                <a:gd name="connsiteY33" fmla="*/ 4828 h 196325"/>
                <a:gd name="connsiteX34" fmla="*/ 87542 w 196325"/>
                <a:gd name="connsiteY34" fmla="*/ 32506 h 196325"/>
                <a:gd name="connsiteX35" fmla="*/ 67587 w 196325"/>
                <a:gd name="connsiteY35" fmla="*/ 39265 h 196325"/>
                <a:gd name="connsiteX36" fmla="*/ 43771 w 196325"/>
                <a:gd name="connsiteY36" fmla="*/ 22529 h 196325"/>
                <a:gd name="connsiteX37" fmla="*/ 39265 w 196325"/>
                <a:gd name="connsiteY37" fmla="*/ 26391 h 196325"/>
                <a:gd name="connsiteX38" fmla="*/ 34759 w 196325"/>
                <a:gd name="connsiteY38" fmla="*/ 30253 h 196325"/>
                <a:gd name="connsiteX39" fmla="*/ 30253 w 196325"/>
                <a:gd name="connsiteY39" fmla="*/ 34116 h 196325"/>
                <a:gd name="connsiteX40" fmla="*/ 43449 w 196325"/>
                <a:gd name="connsiteY40" fmla="*/ 60185 h 196325"/>
                <a:gd name="connsiteX41" fmla="*/ 34116 w 196325"/>
                <a:gd name="connsiteY41" fmla="*/ 78852 h 196325"/>
                <a:gd name="connsiteX42" fmla="*/ 5471 w 196325"/>
                <a:gd name="connsiteY42" fmla="*/ 84001 h 196325"/>
                <a:gd name="connsiteX43" fmla="*/ 5471 w 196325"/>
                <a:gd name="connsiteY43" fmla="*/ 90438 h 196325"/>
                <a:gd name="connsiteX44" fmla="*/ 5150 w 196325"/>
                <a:gd name="connsiteY44" fmla="*/ 96232 h 196325"/>
                <a:gd name="connsiteX45" fmla="*/ 4828 w 196325"/>
                <a:gd name="connsiteY45" fmla="*/ 102025 h 196325"/>
                <a:gd name="connsiteX46" fmla="*/ 32506 w 196325"/>
                <a:gd name="connsiteY46" fmla="*/ 111036 h 196325"/>
                <a:gd name="connsiteX47" fmla="*/ 39265 w 196325"/>
                <a:gd name="connsiteY47" fmla="*/ 130669 h 196325"/>
                <a:gd name="connsiteX48" fmla="*/ 22529 w 196325"/>
                <a:gd name="connsiteY48" fmla="*/ 154807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2529" y="154807"/>
                  </a:moveTo>
                  <a:lnTo>
                    <a:pt x="26391" y="159313"/>
                  </a:lnTo>
                  <a:lnTo>
                    <a:pt x="30253" y="163819"/>
                  </a:lnTo>
                  <a:lnTo>
                    <a:pt x="34116" y="168325"/>
                  </a:lnTo>
                  <a:lnTo>
                    <a:pt x="60185" y="154807"/>
                  </a:lnTo>
                  <a:cubicBezTo>
                    <a:pt x="65978" y="158991"/>
                    <a:pt x="72415" y="161888"/>
                    <a:pt x="78852" y="164141"/>
                  </a:cubicBezTo>
                  <a:lnTo>
                    <a:pt x="84001" y="193107"/>
                  </a:lnTo>
                  <a:lnTo>
                    <a:pt x="89795" y="193429"/>
                  </a:lnTo>
                  <a:lnTo>
                    <a:pt x="95588" y="193429"/>
                  </a:lnTo>
                  <a:lnTo>
                    <a:pt x="101381" y="193750"/>
                  </a:lnTo>
                  <a:lnTo>
                    <a:pt x="110393" y="165750"/>
                  </a:lnTo>
                  <a:cubicBezTo>
                    <a:pt x="117151" y="164463"/>
                    <a:pt x="123910" y="162210"/>
                    <a:pt x="130025" y="158991"/>
                  </a:cubicBezTo>
                  <a:lnTo>
                    <a:pt x="154164" y="175727"/>
                  </a:lnTo>
                  <a:lnTo>
                    <a:pt x="158669" y="171865"/>
                  </a:lnTo>
                  <a:lnTo>
                    <a:pt x="163175" y="168003"/>
                  </a:lnTo>
                  <a:lnTo>
                    <a:pt x="167681" y="164141"/>
                  </a:lnTo>
                  <a:lnTo>
                    <a:pt x="154164" y="138071"/>
                  </a:lnTo>
                  <a:cubicBezTo>
                    <a:pt x="158347" y="132278"/>
                    <a:pt x="161244" y="126163"/>
                    <a:pt x="163497" y="119404"/>
                  </a:cubicBezTo>
                  <a:lnTo>
                    <a:pt x="192463" y="114255"/>
                  </a:lnTo>
                  <a:lnTo>
                    <a:pt x="192785" y="108462"/>
                  </a:lnTo>
                  <a:lnTo>
                    <a:pt x="193107" y="102668"/>
                  </a:lnTo>
                  <a:lnTo>
                    <a:pt x="193429" y="96875"/>
                  </a:lnTo>
                  <a:lnTo>
                    <a:pt x="165428" y="87864"/>
                  </a:lnTo>
                  <a:cubicBezTo>
                    <a:pt x="164141" y="81105"/>
                    <a:pt x="162210" y="74346"/>
                    <a:pt x="158669" y="68231"/>
                  </a:cubicBezTo>
                  <a:lnTo>
                    <a:pt x="175405" y="44093"/>
                  </a:lnTo>
                  <a:lnTo>
                    <a:pt x="171543" y="39587"/>
                  </a:lnTo>
                  <a:lnTo>
                    <a:pt x="167681" y="35081"/>
                  </a:lnTo>
                  <a:lnTo>
                    <a:pt x="163819" y="30575"/>
                  </a:lnTo>
                  <a:lnTo>
                    <a:pt x="137749" y="43771"/>
                  </a:lnTo>
                  <a:cubicBezTo>
                    <a:pt x="131956" y="39587"/>
                    <a:pt x="125519" y="36690"/>
                    <a:pt x="119082" y="34437"/>
                  </a:cubicBezTo>
                  <a:lnTo>
                    <a:pt x="113933" y="5793"/>
                  </a:lnTo>
                  <a:lnTo>
                    <a:pt x="108140" y="5471"/>
                  </a:lnTo>
                  <a:lnTo>
                    <a:pt x="102347" y="5150"/>
                  </a:lnTo>
                  <a:lnTo>
                    <a:pt x="96553" y="4828"/>
                  </a:lnTo>
                  <a:lnTo>
                    <a:pt x="87542" y="32506"/>
                  </a:lnTo>
                  <a:cubicBezTo>
                    <a:pt x="80783" y="33794"/>
                    <a:pt x="74024" y="36047"/>
                    <a:pt x="67587" y="39265"/>
                  </a:cubicBezTo>
                  <a:lnTo>
                    <a:pt x="43771" y="22529"/>
                  </a:lnTo>
                  <a:lnTo>
                    <a:pt x="39265" y="26391"/>
                  </a:lnTo>
                  <a:lnTo>
                    <a:pt x="34759" y="30253"/>
                  </a:lnTo>
                  <a:lnTo>
                    <a:pt x="30253" y="34116"/>
                  </a:lnTo>
                  <a:lnTo>
                    <a:pt x="43449" y="60185"/>
                  </a:lnTo>
                  <a:cubicBezTo>
                    <a:pt x="39265" y="65978"/>
                    <a:pt x="36368" y="72415"/>
                    <a:pt x="34116" y="78852"/>
                  </a:cubicBezTo>
                  <a:lnTo>
                    <a:pt x="5471" y="84001"/>
                  </a:lnTo>
                  <a:lnTo>
                    <a:pt x="5471" y="90438"/>
                  </a:lnTo>
                  <a:lnTo>
                    <a:pt x="5150" y="96232"/>
                  </a:lnTo>
                  <a:lnTo>
                    <a:pt x="4828" y="102025"/>
                  </a:lnTo>
                  <a:lnTo>
                    <a:pt x="32506" y="111036"/>
                  </a:lnTo>
                  <a:cubicBezTo>
                    <a:pt x="33794" y="117795"/>
                    <a:pt x="36047" y="124554"/>
                    <a:pt x="39265" y="130669"/>
                  </a:cubicBezTo>
                  <a:lnTo>
                    <a:pt x="22529" y="154807"/>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712" name="Freeform: Shape 1340">
              <a:extLst>
                <a:ext uri="{FF2B5EF4-FFF2-40B4-BE49-F238E27FC236}">
                  <a16:creationId xmlns:a16="http://schemas.microsoft.com/office/drawing/2014/main" id="{F8D395C5-A9D5-B44A-A18C-C3DDA4A85C1C}"/>
                </a:ext>
              </a:extLst>
            </p:cNvPr>
            <p:cNvSpPr/>
            <p:nvPr/>
          </p:nvSpPr>
          <p:spPr>
            <a:xfrm>
              <a:off x="7919525" y="6357802"/>
              <a:ext cx="251374" cy="251374"/>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713" name="Freeform: Shape 1341">
              <a:extLst>
                <a:ext uri="{FF2B5EF4-FFF2-40B4-BE49-F238E27FC236}">
                  <a16:creationId xmlns:a16="http://schemas.microsoft.com/office/drawing/2014/main" id="{E4740715-748D-7740-BE0B-C44FC8542950}"/>
                </a:ext>
              </a:extLst>
            </p:cNvPr>
            <p:cNvSpPr/>
            <p:nvPr/>
          </p:nvSpPr>
          <p:spPr>
            <a:xfrm>
              <a:off x="7997836" y="6436114"/>
              <a:ext cx="96681" cy="96681"/>
            </a:xfrm>
            <a:custGeom>
              <a:avLst/>
              <a:gdLst>
                <a:gd name="connsiteX0" fmla="*/ 28000 w 32184"/>
                <a:gd name="connsiteY0" fmla="*/ 16414 h 32184"/>
                <a:gd name="connsiteX1" fmla="*/ 16414 w 32184"/>
                <a:gd name="connsiteY1" fmla="*/ 28000 h 32184"/>
                <a:gd name="connsiteX2" fmla="*/ 4828 w 32184"/>
                <a:gd name="connsiteY2" fmla="*/ 16414 h 32184"/>
                <a:gd name="connsiteX3" fmla="*/ 16414 w 32184"/>
                <a:gd name="connsiteY3" fmla="*/ 4828 h 32184"/>
                <a:gd name="connsiteX4" fmla="*/ 28000 w 32184"/>
                <a:gd name="connsiteY4" fmla="*/ 16414 h 3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4" h="32184">
                  <a:moveTo>
                    <a:pt x="28000" y="16414"/>
                  </a:moveTo>
                  <a:cubicBezTo>
                    <a:pt x="28000" y="22813"/>
                    <a:pt x="22813" y="28000"/>
                    <a:pt x="16414" y="28000"/>
                  </a:cubicBezTo>
                  <a:cubicBezTo>
                    <a:pt x="10015" y="28000"/>
                    <a:pt x="4828" y="22813"/>
                    <a:pt x="4828" y="16414"/>
                  </a:cubicBezTo>
                  <a:cubicBezTo>
                    <a:pt x="4828" y="10015"/>
                    <a:pt x="10015" y="4828"/>
                    <a:pt x="16414" y="4828"/>
                  </a:cubicBezTo>
                  <a:cubicBezTo>
                    <a:pt x="22813" y="4828"/>
                    <a:pt x="28000" y="10015"/>
                    <a:pt x="28000" y="16414"/>
                  </a:cubicBez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714" name="Freeform: Shape 1342">
              <a:extLst>
                <a:ext uri="{FF2B5EF4-FFF2-40B4-BE49-F238E27FC236}">
                  <a16:creationId xmlns:a16="http://schemas.microsoft.com/office/drawing/2014/main" id="{0D8F925B-C847-0749-B9FA-D5EFD1B3753F}"/>
                </a:ext>
              </a:extLst>
            </p:cNvPr>
            <p:cNvSpPr/>
            <p:nvPr/>
          </p:nvSpPr>
          <p:spPr>
            <a:xfrm>
              <a:off x="6630539" y="5548499"/>
              <a:ext cx="1119001" cy="1119001"/>
            </a:xfrm>
            <a:custGeom>
              <a:avLst/>
              <a:gdLst>
                <a:gd name="connsiteX0" fmla="*/ 22529 w 196325"/>
                <a:gd name="connsiteY0" fmla="*/ 154807 h 196325"/>
                <a:gd name="connsiteX1" fmla="*/ 26391 w 196325"/>
                <a:gd name="connsiteY1" fmla="*/ 159313 h 196325"/>
                <a:gd name="connsiteX2" fmla="*/ 30253 w 196325"/>
                <a:gd name="connsiteY2" fmla="*/ 163819 h 196325"/>
                <a:gd name="connsiteX3" fmla="*/ 34116 w 196325"/>
                <a:gd name="connsiteY3" fmla="*/ 168325 h 196325"/>
                <a:gd name="connsiteX4" fmla="*/ 60185 w 196325"/>
                <a:gd name="connsiteY4" fmla="*/ 154807 h 196325"/>
                <a:gd name="connsiteX5" fmla="*/ 78852 w 196325"/>
                <a:gd name="connsiteY5" fmla="*/ 164141 h 196325"/>
                <a:gd name="connsiteX6" fmla="*/ 84001 w 196325"/>
                <a:gd name="connsiteY6" fmla="*/ 193107 h 196325"/>
                <a:gd name="connsiteX7" fmla="*/ 89795 w 196325"/>
                <a:gd name="connsiteY7" fmla="*/ 193429 h 196325"/>
                <a:gd name="connsiteX8" fmla="*/ 95588 w 196325"/>
                <a:gd name="connsiteY8" fmla="*/ 193429 h 196325"/>
                <a:gd name="connsiteX9" fmla="*/ 101381 w 196325"/>
                <a:gd name="connsiteY9" fmla="*/ 193750 h 196325"/>
                <a:gd name="connsiteX10" fmla="*/ 110393 w 196325"/>
                <a:gd name="connsiteY10" fmla="*/ 165750 h 196325"/>
                <a:gd name="connsiteX11" fmla="*/ 130025 w 196325"/>
                <a:gd name="connsiteY11" fmla="*/ 158991 h 196325"/>
                <a:gd name="connsiteX12" fmla="*/ 154164 w 196325"/>
                <a:gd name="connsiteY12" fmla="*/ 175727 h 196325"/>
                <a:gd name="connsiteX13" fmla="*/ 158669 w 196325"/>
                <a:gd name="connsiteY13" fmla="*/ 171865 h 196325"/>
                <a:gd name="connsiteX14" fmla="*/ 163175 w 196325"/>
                <a:gd name="connsiteY14" fmla="*/ 168003 h 196325"/>
                <a:gd name="connsiteX15" fmla="*/ 167681 w 196325"/>
                <a:gd name="connsiteY15" fmla="*/ 164141 h 196325"/>
                <a:gd name="connsiteX16" fmla="*/ 154164 w 196325"/>
                <a:gd name="connsiteY16" fmla="*/ 138071 h 196325"/>
                <a:gd name="connsiteX17" fmla="*/ 163497 w 196325"/>
                <a:gd name="connsiteY17" fmla="*/ 119404 h 196325"/>
                <a:gd name="connsiteX18" fmla="*/ 192463 w 196325"/>
                <a:gd name="connsiteY18" fmla="*/ 114255 h 196325"/>
                <a:gd name="connsiteX19" fmla="*/ 192785 w 196325"/>
                <a:gd name="connsiteY19" fmla="*/ 108462 h 196325"/>
                <a:gd name="connsiteX20" fmla="*/ 193107 w 196325"/>
                <a:gd name="connsiteY20" fmla="*/ 102668 h 196325"/>
                <a:gd name="connsiteX21" fmla="*/ 193429 w 196325"/>
                <a:gd name="connsiteY21" fmla="*/ 96875 h 196325"/>
                <a:gd name="connsiteX22" fmla="*/ 165428 w 196325"/>
                <a:gd name="connsiteY22" fmla="*/ 87864 h 196325"/>
                <a:gd name="connsiteX23" fmla="*/ 158669 w 196325"/>
                <a:gd name="connsiteY23" fmla="*/ 68231 h 196325"/>
                <a:gd name="connsiteX24" fmla="*/ 175405 w 196325"/>
                <a:gd name="connsiteY24" fmla="*/ 44093 h 196325"/>
                <a:gd name="connsiteX25" fmla="*/ 171543 w 196325"/>
                <a:gd name="connsiteY25" fmla="*/ 39587 h 196325"/>
                <a:gd name="connsiteX26" fmla="*/ 167681 w 196325"/>
                <a:gd name="connsiteY26" fmla="*/ 35081 h 196325"/>
                <a:gd name="connsiteX27" fmla="*/ 163819 w 196325"/>
                <a:gd name="connsiteY27" fmla="*/ 30575 h 196325"/>
                <a:gd name="connsiteX28" fmla="*/ 137749 w 196325"/>
                <a:gd name="connsiteY28" fmla="*/ 43771 h 196325"/>
                <a:gd name="connsiteX29" fmla="*/ 119082 w 196325"/>
                <a:gd name="connsiteY29" fmla="*/ 34437 h 196325"/>
                <a:gd name="connsiteX30" fmla="*/ 113933 w 196325"/>
                <a:gd name="connsiteY30" fmla="*/ 5793 h 196325"/>
                <a:gd name="connsiteX31" fmla="*/ 108140 w 196325"/>
                <a:gd name="connsiteY31" fmla="*/ 5471 h 196325"/>
                <a:gd name="connsiteX32" fmla="*/ 102347 w 196325"/>
                <a:gd name="connsiteY32" fmla="*/ 5150 h 196325"/>
                <a:gd name="connsiteX33" fmla="*/ 96553 w 196325"/>
                <a:gd name="connsiteY33" fmla="*/ 4828 h 196325"/>
                <a:gd name="connsiteX34" fmla="*/ 87542 w 196325"/>
                <a:gd name="connsiteY34" fmla="*/ 32506 h 196325"/>
                <a:gd name="connsiteX35" fmla="*/ 67587 w 196325"/>
                <a:gd name="connsiteY35" fmla="*/ 39265 h 196325"/>
                <a:gd name="connsiteX36" fmla="*/ 43771 w 196325"/>
                <a:gd name="connsiteY36" fmla="*/ 22529 h 196325"/>
                <a:gd name="connsiteX37" fmla="*/ 39265 w 196325"/>
                <a:gd name="connsiteY37" fmla="*/ 26391 h 196325"/>
                <a:gd name="connsiteX38" fmla="*/ 34759 w 196325"/>
                <a:gd name="connsiteY38" fmla="*/ 30253 h 196325"/>
                <a:gd name="connsiteX39" fmla="*/ 30253 w 196325"/>
                <a:gd name="connsiteY39" fmla="*/ 34116 h 196325"/>
                <a:gd name="connsiteX40" fmla="*/ 43449 w 196325"/>
                <a:gd name="connsiteY40" fmla="*/ 60185 h 196325"/>
                <a:gd name="connsiteX41" fmla="*/ 34116 w 196325"/>
                <a:gd name="connsiteY41" fmla="*/ 78852 h 196325"/>
                <a:gd name="connsiteX42" fmla="*/ 5471 w 196325"/>
                <a:gd name="connsiteY42" fmla="*/ 84001 h 196325"/>
                <a:gd name="connsiteX43" fmla="*/ 5471 w 196325"/>
                <a:gd name="connsiteY43" fmla="*/ 90438 h 196325"/>
                <a:gd name="connsiteX44" fmla="*/ 5150 w 196325"/>
                <a:gd name="connsiteY44" fmla="*/ 96232 h 196325"/>
                <a:gd name="connsiteX45" fmla="*/ 4828 w 196325"/>
                <a:gd name="connsiteY45" fmla="*/ 102025 h 196325"/>
                <a:gd name="connsiteX46" fmla="*/ 32506 w 196325"/>
                <a:gd name="connsiteY46" fmla="*/ 111036 h 196325"/>
                <a:gd name="connsiteX47" fmla="*/ 39265 w 196325"/>
                <a:gd name="connsiteY47" fmla="*/ 130669 h 196325"/>
                <a:gd name="connsiteX48" fmla="*/ 22529 w 196325"/>
                <a:gd name="connsiteY48" fmla="*/ 154807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2529" y="154807"/>
                  </a:moveTo>
                  <a:lnTo>
                    <a:pt x="26391" y="159313"/>
                  </a:lnTo>
                  <a:lnTo>
                    <a:pt x="30253" y="163819"/>
                  </a:lnTo>
                  <a:lnTo>
                    <a:pt x="34116" y="168325"/>
                  </a:lnTo>
                  <a:lnTo>
                    <a:pt x="60185" y="154807"/>
                  </a:lnTo>
                  <a:cubicBezTo>
                    <a:pt x="65978" y="158991"/>
                    <a:pt x="72415" y="161888"/>
                    <a:pt x="78852" y="164141"/>
                  </a:cubicBezTo>
                  <a:lnTo>
                    <a:pt x="84001" y="193107"/>
                  </a:lnTo>
                  <a:lnTo>
                    <a:pt x="89795" y="193429"/>
                  </a:lnTo>
                  <a:lnTo>
                    <a:pt x="95588" y="193429"/>
                  </a:lnTo>
                  <a:lnTo>
                    <a:pt x="101381" y="193750"/>
                  </a:lnTo>
                  <a:lnTo>
                    <a:pt x="110393" y="165750"/>
                  </a:lnTo>
                  <a:cubicBezTo>
                    <a:pt x="117151" y="164463"/>
                    <a:pt x="123910" y="162210"/>
                    <a:pt x="130025" y="158991"/>
                  </a:cubicBezTo>
                  <a:lnTo>
                    <a:pt x="154164" y="175727"/>
                  </a:lnTo>
                  <a:lnTo>
                    <a:pt x="158669" y="171865"/>
                  </a:lnTo>
                  <a:lnTo>
                    <a:pt x="163175" y="168003"/>
                  </a:lnTo>
                  <a:lnTo>
                    <a:pt x="167681" y="164141"/>
                  </a:lnTo>
                  <a:lnTo>
                    <a:pt x="154164" y="138071"/>
                  </a:lnTo>
                  <a:cubicBezTo>
                    <a:pt x="158347" y="132278"/>
                    <a:pt x="161244" y="126163"/>
                    <a:pt x="163497" y="119404"/>
                  </a:cubicBezTo>
                  <a:lnTo>
                    <a:pt x="192463" y="114255"/>
                  </a:lnTo>
                  <a:lnTo>
                    <a:pt x="192785" y="108462"/>
                  </a:lnTo>
                  <a:lnTo>
                    <a:pt x="193107" y="102668"/>
                  </a:lnTo>
                  <a:lnTo>
                    <a:pt x="193429" y="96875"/>
                  </a:lnTo>
                  <a:lnTo>
                    <a:pt x="165428" y="87864"/>
                  </a:lnTo>
                  <a:cubicBezTo>
                    <a:pt x="164141" y="81105"/>
                    <a:pt x="162210" y="74346"/>
                    <a:pt x="158669" y="68231"/>
                  </a:cubicBezTo>
                  <a:lnTo>
                    <a:pt x="175405" y="44093"/>
                  </a:lnTo>
                  <a:lnTo>
                    <a:pt x="171543" y="39587"/>
                  </a:lnTo>
                  <a:lnTo>
                    <a:pt x="167681" y="35081"/>
                  </a:lnTo>
                  <a:lnTo>
                    <a:pt x="163819" y="30575"/>
                  </a:lnTo>
                  <a:lnTo>
                    <a:pt x="137749" y="43771"/>
                  </a:lnTo>
                  <a:cubicBezTo>
                    <a:pt x="131956" y="39587"/>
                    <a:pt x="125519" y="36690"/>
                    <a:pt x="119082" y="34437"/>
                  </a:cubicBezTo>
                  <a:lnTo>
                    <a:pt x="113933" y="5793"/>
                  </a:lnTo>
                  <a:lnTo>
                    <a:pt x="108140" y="5471"/>
                  </a:lnTo>
                  <a:lnTo>
                    <a:pt x="102347" y="5150"/>
                  </a:lnTo>
                  <a:lnTo>
                    <a:pt x="96553" y="4828"/>
                  </a:lnTo>
                  <a:lnTo>
                    <a:pt x="87542" y="32506"/>
                  </a:lnTo>
                  <a:cubicBezTo>
                    <a:pt x="80783" y="33794"/>
                    <a:pt x="74024" y="36047"/>
                    <a:pt x="67587" y="39265"/>
                  </a:cubicBezTo>
                  <a:lnTo>
                    <a:pt x="43771" y="22529"/>
                  </a:lnTo>
                  <a:lnTo>
                    <a:pt x="39265" y="26391"/>
                  </a:lnTo>
                  <a:lnTo>
                    <a:pt x="34759" y="30253"/>
                  </a:lnTo>
                  <a:lnTo>
                    <a:pt x="30253" y="34116"/>
                  </a:lnTo>
                  <a:lnTo>
                    <a:pt x="43449" y="60185"/>
                  </a:lnTo>
                  <a:cubicBezTo>
                    <a:pt x="39265" y="65978"/>
                    <a:pt x="36368" y="72415"/>
                    <a:pt x="34116" y="78852"/>
                  </a:cubicBezTo>
                  <a:lnTo>
                    <a:pt x="5471" y="84001"/>
                  </a:lnTo>
                  <a:lnTo>
                    <a:pt x="5471" y="90438"/>
                  </a:lnTo>
                  <a:lnTo>
                    <a:pt x="5150" y="96232"/>
                  </a:lnTo>
                  <a:lnTo>
                    <a:pt x="4828" y="102025"/>
                  </a:lnTo>
                  <a:lnTo>
                    <a:pt x="32506" y="111036"/>
                  </a:lnTo>
                  <a:cubicBezTo>
                    <a:pt x="33794" y="117795"/>
                    <a:pt x="36047" y="124554"/>
                    <a:pt x="39265" y="130669"/>
                  </a:cubicBezTo>
                  <a:lnTo>
                    <a:pt x="22529" y="154807"/>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715" name="Freeform: Shape 1343">
              <a:extLst>
                <a:ext uri="{FF2B5EF4-FFF2-40B4-BE49-F238E27FC236}">
                  <a16:creationId xmlns:a16="http://schemas.microsoft.com/office/drawing/2014/main" id="{B071980C-9D4C-9E4B-91B5-059BF6B894E1}"/>
                </a:ext>
              </a:extLst>
            </p:cNvPr>
            <p:cNvSpPr/>
            <p:nvPr/>
          </p:nvSpPr>
          <p:spPr>
            <a:xfrm>
              <a:off x="6951565" y="5873196"/>
              <a:ext cx="476954" cy="476954"/>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716" name="Freeform: Shape 1344">
              <a:extLst>
                <a:ext uri="{FF2B5EF4-FFF2-40B4-BE49-F238E27FC236}">
                  <a16:creationId xmlns:a16="http://schemas.microsoft.com/office/drawing/2014/main" id="{EA9AB675-C772-D848-8F23-BD848220A1B8}"/>
                </a:ext>
              </a:extLst>
            </p:cNvPr>
            <p:cNvSpPr/>
            <p:nvPr/>
          </p:nvSpPr>
          <p:spPr>
            <a:xfrm>
              <a:off x="7100152" y="6021782"/>
              <a:ext cx="183440" cy="183440"/>
            </a:xfrm>
            <a:custGeom>
              <a:avLst/>
              <a:gdLst>
                <a:gd name="connsiteX0" fmla="*/ 28000 w 32184"/>
                <a:gd name="connsiteY0" fmla="*/ 16414 h 32184"/>
                <a:gd name="connsiteX1" fmla="*/ 16414 w 32184"/>
                <a:gd name="connsiteY1" fmla="*/ 28000 h 32184"/>
                <a:gd name="connsiteX2" fmla="*/ 4828 w 32184"/>
                <a:gd name="connsiteY2" fmla="*/ 16414 h 32184"/>
                <a:gd name="connsiteX3" fmla="*/ 16414 w 32184"/>
                <a:gd name="connsiteY3" fmla="*/ 4828 h 32184"/>
                <a:gd name="connsiteX4" fmla="*/ 28000 w 32184"/>
                <a:gd name="connsiteY4" fmla="*/ 16414 h 3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4" h="32184">
                  <a:moveTo>
                    <a:pt x="28000" y="16414"/>
                  </a:moveTo>
                  <a:cubicBezTo>
                    <a:pt x="28000" y="22813"/>
                    <a:pt x="22813" y="28000"/>
                    <a:pt x="16414" y="28000"/>
                  </a:cubicBezTo>
                  <a:cubicBezTo>
                    <a:pt x="10015" y="28000"/>
                    <a:pt x="4828" y="22813"/>
                    <a:pt x="4828" y="16414"/>
                  </a:cubicBezTo>
                  <a:cubicBezTo>
                    <a:pt x="4828" y="10015"/>
                    <a:pt x="10015" y="4828"/>
                    <a:pt x="16414" y="4828"/>
                  </a:cubicBezTo>
                  <a:cubicBezTo>
                    <a:pt x="22813" y="4828"/>
                    <a:pt x="28000" y="10015"/>
                    <a:pt x="28000" y="16414"/>
                  </a:cubicBez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717" name="Freeform: Shape 1345">
              <a:extLst>
                <a:ext uri="{FF2B5EF4-FFF2-40B4-BE49-F238E27FC236}">
                  <a16:creationId xmlns:a16="http://schemas.microsoft.com/office/drawing/2014/main" id="{B8252212-2909-8A4D-8B83-371233A3670D}"/>
                </a:ext>
              </a:extLst>
            </p:cNvPr>
            <p:cNvSpPr/>
            <p:nvPr/>
          </p:nvSpPr>
          <p:spPr>
            <a:xfrm>
              <a:off x="7702707" y="5287514"/>
              <a:ext cx="793594" cy="793594"/>
            </a:xfrm>
            <a:custGeom>
              <a:avLst/>
              <a:gdLst>
                <a:gd name="connsiteX0" fmla="*/ 22529 w 196325"/>
                <a:gd name="connsiteY0" fmla="*/ 154807 h 196325"/>
                <a:gd name="connsiteX1" fmla="*/ 26391 w 196325"/>
                <a:gd name="connsiteY1" fmla="*/ 159313 h 196325"/>
                <a:gd name="connsiteX2" fmla="*/ 30253 w 196325"/>
                <a:gd name="connsiteY2" fmla="*/ 163819 h 196325"/>
                <a:gd name="connsiteX3" fmla="*/ 34116 w 196325"/>
                <a:gd name="connsiteY3" fmla="*/ 168325 h 196325"/>
                <a:gd name="connsiteX4" fmla="*/ 60185 w 196325"/>
                <a:gd name="connsiteY4" fmla="*/ 154807 h 196325"/>
                <a:gd name="connsiteX5" fmla="*/ 78852 w 196325"/>
                <a:gd name="connsiteY5" fmla="*/ 164141 h 196325"/>
                <a:gd name="connsiteX6" fmla="*/ 84001 w 196325"/>
                <a:gd name="connsiteY6" fmla="*/ 193107 h 196325"/>
                <a:gd name="connsiteX7" fmla="*/ 89795 w 196325"/>
                <a:gd name="connsiteY7" fmla="*/ 193429 h 196325"/>
                <a:gd name="connsiteX8" fmla="*/ 95588 w 196325"/>
                <a:gd name="connsiteY8" fmla="*/ 193429 h 196325"/>
                <a:gd name="connsiteX9" fmla="*/ 101381 w 196325"/>
                <a:gd name="connsiteY9" fmla="*/ 193750 h 196325"/>
                <a:gd name="connsiteX10" fmla="*/ 110393 w 196325"/>
                <a:gd name="connsiteY10" fmla="*/ 165750 h 196325"/>
                <a:gd name="connsiteX11" fmla="*/ 130025 w 196325"/>
                <a:gd name="connsiteY11" fmla="*/ 158991 h 196325"/>
                <a:gd name="connsiteX12" fmla="*/ 154164 w 196325"/>
                <a:gd name="connsiteY12" fmla="*/ 175727 h 196325"/>
                <a:gd name="connsiteX13" fmla="*/ 158669 w 196325"/>
                <a:gd name="connsiteY13" fmla="*/ 171865 h 196325"/>
                <a:gd name="connsiteX14" fmla="*/ 163175 w 196325"/>
                <a:gd name="connsiteY14" fmla="*/ 168003 h 196325"/>
                <a:gd name="connsiteX15" fmla="*/ 167681 w 196325"/>
                <a:gd name="connsiteY15" fmla="*/ 164141 h 196325"/>
                <a:gd name="connsiteX16" fmla="*/ 154164 w 196325"/>
                <a:gd name="connsiteY16" fmla="*/ 138071 h 196325"/>
                <a:gd name="connsiteX17" fmla="*/ 163497 w 196325"/>
                <a:gd name="connsiteY17" fmla="*/ 119404 h 196325"/>
                <a:gd name="connsiteX18" fmla="*/ 192463 w 196325"/>
                <a:gd name="connsiteY18" fmla="*/ 114255 h 196325"/>
                <a:gd name="connsiteX19" fmla="*/ 192785 w 196325"/>
                <a:gd name="connsiteY19" fmla="*/ 108462 h 196325"/>
                <a:gd name="connsiteX20" fmla="*/ 193107 w 196325"/>
                <a:gd name="connsiteY20" fmla="*/ 102668 h 196325"/>
                <a:gd name="connsiteX21" fmla="*/ 193429 w 196325"/>
                <a:gd name="connsiteY21" fmla="*/ 96875 h 196325"/>
                <a:gd name="connsiteX22" fmla="*/ 165428 w 196325"/>
                <a:gd name="connsiteY22" fmla="*/ 87864 h 196325"/>
                <a:gd name="connsiteX23" fmla="*/ 158669 w 196325"/>
                <a:gd name="connsiteY23" fmla="*/ 68231 h 196325"/>
                <a:gd name="connsiteX24" fmla="*/ 175405 w 196325"/>
                <a:gd name="connsiteY24" fmla="*/ 44093 h 196325"/>
                <a:gd name="connsiteX25" fmla="*/ 171543 w 196325"/>
                <a:gd name="connsiteY25" fmla="*/ 39587 h 196325"/>
                <a:gd name="connsiteX26" fmla="*/ 167681 w 196325"/>
                <a:gd name="connsiteY26" fmla="*/ 35081 h 196325"/>
                <a:gd name="connsiteX27" fmla="*/ 163819 w 196325"/>
                <a:gd name="connsiteY27" fmla="*/ 30575 h 196325"/>
                <a:gd name="connsiteX28" fmla="*/ 137749 w 196325"/>
                <a:gd name="connsiteY28" fmla="*/ 43771 h 196325"/>
                <a:gd name="connsiteX29" fmla="*/ 119082 w 196325"/>
                <a:gd name="connsiteY29" fmla="*/ 34437 h 196325"/>
                <a:gd name="connsiteX30" fmla="*/ 113933 w 196325"/>
                <a:gd name="connsiteY30" fmla="*/ 5793 h 196325"/>
                <a:gd name="connsiteX31" fmla="*/ 108140 w 196325"/>
                <a:gd name="connsiteY31" fmla="*/ 5471 h 196325"/>
                <a:gd name="connsiteX32" fmla="*/ 102347 w 196325"/>
                <a:gd name="connsiteY32" fmla="*/ 5150 h 196325"/>
                <a:gd name="connsiteX33" fmla="*/ 96553 w 196325"/>
                <a:gd name="connsiteY33" fmla="*/ 4828 h 196325"/>
                <a:gd name="connsiteX34" fmla="*/ 87542 w 196325"/>
                <a:gd name="connsiteY34" fmla="*/ 32506 h 196325"/>
                <a:gd name="connsiteX35" fmla="*/ 67587 w 196325"/>
                <a:gd name="connsiteY35" fmla="*/ 39265 h 196325"/>
                <a:gd name="connsiteX36" fmla="*/ 43771 w 196325"/>
                <a:gd name="connsiteY36" fmla="*/ 22529 h 196325"/>
                <a:gd name="connsiteX37" fmla="*/ 39265 w 196325"/>
                <a:gd name="connsiteY37" fmla="*/ 26391 h 196325"/>
                <a:gd name="connsiteX38" fmla="*/ 34759 w 196325"/>
                <a:gd name="connsiteY38" fmla="*/ 30253 h 196325"/>
                <a:gd name="connsiteX39" fmla="*/ 30253 w 196325"/>
                <a:gd name="connsiteY39" fmla="*/ 34116 h 196325"/>
                <a:gd name="connsiteX40" fmla="*/ 43449 w 196325"/>
                <a:gd name="connsiteY40" fmla="*/ 60185 h 196325"/>
                <a:gd name="connsiteX41" fmla="*/ 34116 w 196325"/>
                <a:gd name="connsiteY41" fmla="*/ 78852 h 196325"/>
                <a:gd name="connsiteX42" fmla="*/ 5471 w 196325"/>
                <a:gd name="connsiteY42" fmla="*/ 84001 h 196325"/>
                <a:gd name="connsiteX43" fmla="*/ 5471 w 196325"/>
                <a:gd name="connsiteY43" fmla="*/ 90438 h 196325"/>
                <a:gd name="connsiteX44" fmla="*/ 5150 w 196325"/>
                <a:gd name="connsiteY44" fmla="*/ 96232 h 196325"/>
                <a:gd name="connsiteX45" fmla="*/ 4828 w 196325"/>
                <a:gd name="connsiteY45" fmla="*/ 102025 h 196325"/>
                <a:gd name="connsiteX46" fmla="*/ 32506 w 196325"/>
                <a:gd name="connsiteY46" fmla="*/ 111036 h 196325"/>
                <a:gd name="connsiteX47" fmla="*/ 39265 w 196325"/>
                <a:gd name="connsiteY47" fmla="*/ 130669 h 196325"/>
                <a:gd name="connsiteX48" fmla="*/ 22529 w 196325"/>
                <a:gd name="connsiteY48" fmla="*/ 154807 h 1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6325" h="196325">
                  <a:moveTo>
                    <a:pt x="22529" y="154807"/>
                  </a:moveTo>
                  <a:lnTo>
                    <a:pt x="26391" y="159313"/>
                  </a:lnTo>
                  <a:lnTo>
                    <a:pt x="30253" y="163819"/>
                  </a:lnTo>
                  <a:lnTo>
                    <a:pt x="34116" y="168325"/>
                  </a:lnTo>
                  <a:lnTo>
                    <a:pt x="60185" y="154807"/>
                  </a:lnTo>
                  <a:cubicBezTo>
                    <a:pt x="65978" y="158991"/>
                    <a:pt x="72415" y="161888"/>
                    <a:pt x="78852" y="164141"/>
                  </a:cubicBezTo>
                  <a:lnTo>
                    <a:pt x="84001" y="193107"/>
                  </a:lnTo>
                  <a:lnTo>
                    <a:pt x="89795" y="193429"/>
                  </a:lnTo>
                  <a:lnTo>
                    <a:pt x="95588" y="193429"/>
                  </a:lnTo>
                  <a:lnTo>
                    <a:pt x="101381" y="193750"/>
                  </a:lnTo>
                  <a:lnTo>
                    <a:pt x="110393" y="165750"/>
                  </a:lnTo>
                  <a:cubicBezTo>
                    <a:pt x="117151" y="164463"/>
                    <a:pt x="123910" y="162210"/>
                    <a:pt x="130025" y="158991"/>
                  </a:cubicBezTo>
                  <a:lnTo>
                    <a:pt x="154164" y="175727"/>
                  </a:lnTo>
                  <a:lnTo>
                    <a:pt x="158669" y="171865"/>
                  </a:lnTo>
                  <a:lnTo>
                    <a:pt x="163175" y="168003"/>
                  </a:lnTo>
                  <a:lnTo>
                    <a:pt x="167681" y="164141"/>
                  </a:lnTo>
                  <a:lnTo>
                    <a:pt x="154164" y="138071"/>
                  </a:lnTo>
                  <a:cubicBezTo>
                    <a:pt x="158347" y="132278"/>
                    <a:pt x="161244" y="126163"/>
                    <a:pt x="163497" y="119404"/>
                  </a:cubicBezTo>
                  <a:lnTo>
                    <a:pt x="192463" y="114255"/>
                  </a:lnTo>
                  <a:lnTo>
                    <a:pt x="192785" y="108462"/>
                  </a:lnTo>
                  <a:lnTo>
                    <a:pt x="193107" y="102668"/>
                  </a:lnTo>
                  <a:lnTo>
                    <a:pt x="193429" y="96875"/>
                  </a:lnTo>
                  <a:lnTo>
                    <a:pt x="165428" y="87864"/>
                  </a:lnTo>
                  <a:cubicBezTo>
                    <a:pt x="164141" y="81105"/>
                    <a:pt x="162210" y="74346"/>
                    <a:pt x="158669" y="68231"/>
                  </a:cubicBezTo>
                  <a:lnTo>
                    <a:pt x="175405" y="44093"/>
                  </a:lnTo>
                  <a:lnTo>
                    <a:pt x="171543" y="39587"/>
                  </a:lnTo>
                  <a:lnTo>
                    <a:pt x="167681" y="35081"/>
                  </a:lnTo>
                  <a:lnTo>
                    <a:pt x="163819" y="30575"/>
                  </a:lnTo>
                  <a:lnTo>
                    <a:pt x="137749" y="43771"/>
                  </a:lnTo>
                  <a:cubicBezTo>
                    <a:pt x="131956" y="39587"/>
                    <a:pt x="125519" y="36690"/>
                    <a:pt x="119082" y="34437"/>
                  </a:cubicBezTo>
                  <a:lnTo>
                    <a:pt x="113933" y="5793"/>
                  </a:lnTo>
                  <a:lnTo>
                    <a:pt x="108140" y="5471"/>
                  </a:lnTo>
                  <a:lnTo>
                    <a:pt x="102347" y="5150"/>
                  </a:lnTo>
                  <a:lnTo>
                    <a:pt x="96553" y="4828"/>
                  </a:lnTo>
                  <a:lnTo>
                    <a:pt x="87542" y="32506"/>
                  </a:lnTo>
                  <a:cubicBezTo>
                    <a:pt x="80783" y="33794"/>
                    <a:pt x="74024" y="36047"/>
                    <a:pt x="67587" y="39265"/>
                  </a:cubicBezTo>
                  <a:lnTo>
                    <a:pt x="43771" y="22529"/>
                  </a:lnTo>
                  <a:lnTo>
                    <a:pt x="39265" y="26391"/>
                  </a:lnTo>
                  <a:lnTo>
                    <a:pt x="34759" y="30253"/>
                  </a:lnTo>
                  <a:lnTo>
                    <a:pt x="30253" y="34116"/>
                  </a:lnTo>
                  <a:lnTo>
                    <a:pt x="43449" y="60185"/>
                  </a:lnTo>
                  <a:cubicBezTo>
                    <a:pt x="39265" y="65978"/>
                    <a:pt x="36368" y="72415"/>
                    <a:pt x="34116" y="78852"/>
                  </a:cubicBezTo>
                  <a:lnTo>
                    <a:pt x="5471" y="84001"/>
                  </a:lnTo>
                  <a:lnTo>
                    <a:pt x="5471" y="90438"/>
                  </a:lnTo>
                  <a:lnTo>
                    <a:pt x="5150" y="96232"/>
                  </a:lnTo>
                  <a:lnTo>
                    <a:pt x="4828" y="102025"/>
                  </a:lnTo>
                  <a:lnTo>
                    <a:pt x="32506" y="111036"/>
                  </a:lnTo>
                  <a:cubicBezTo>
                    <a:pt x="33794" y="117795"/>
                    <a:pt x="36047" y="124554"/>
                    <a:pt x="39265" y="130669"/>
                  </a:cubicBezTo>
                  <a:lnTo>
                    <a:pt x="22529" y="154807"/>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718" name="Freeform: Shape 1346">
              <a:extLst>
                <a:ext uri="{FF2B5EF4-FFF2-40B4-BE49-F238E27FC236}">
                  <a16:creationId xmlns:a16="http://schemas.microsoft.com/office/drawing/2014/main" id="{F32F7F3F-B4BB-B647-9A7D-E3ABBE4BDD38}"/>
                </a:ext>
              </a:extLst>
            </p:cNvPr>
            <p:cNvSpPr/>
            <p:nvPr/>
          </p:nvSpPr>
          <p:spPr>
            <a:xfrm>
              <a:off x="7930378" y="5517789"/>
              <a:ext cx="338255" cy="338255"/>
            </a:xfrm>
            <a:custGeom>
              <a:avLst/>
              <a:gdLst>
                <a:gd name="connsiteX0" fmla="*/ 80139 w 83679"/>
                <a:gd name="connsiteY0" fmla="*/ 42483 h 83679"/>
                <a:gd name="connsiteX1" fmla="*/ 42483 w 83679"/>
                <a:gd name="connsiteY1" fmla="*/ 80139 h 83679"/>
                <a:gd name="connsiteX2" fmla="*/ 4828 w 83679"/>
                <a:gd name="connsiteY2" fmla="*/ 42483 h 83679"/>
                <a:gd name="connsiteX3" fmla="*/ 42483 w 83679"/>
                <a:gd name="connsiteY3" fmla="*/ 4828 h 83679"/>
                <a:gd name="connsiteX4" fmla="*/ 80139 w 83679"/>
                <a:gd name="connsiteY4" fmla="*/ 42483 h 8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9" h="83679">
                  <a:moveTo>
                    <a:pt x="80139" y="42483"/>
                  </a:moveTo>
                  <a:cubicBezTo>
                    <a:pt x="80139" y="63280"/>
                    <a:pt x="63280" y="80139"/>
                    <a:pt x="42483" y="80139"/>
                  </a:cubicBezTo>
                  <a:cubicBezTo>
                    <a:pt x="21687" y="80139"/>
                    <a:pt x="4828" y="63280"/>
                    <a:pt x="4828" y="42483"/>
                  </a:cubicBezTo>
                  <a:cubicBezTo>
                    <a:pt x="4828" y="21687"/>
                    <a:pt x="21687" y="4828"/>
                    <a:pt x="42483" y="4828"/>
                  </a:cubicBezTo>
                  <a:cubicBezTo>
                    <a:pt x="63280" y="4828"/>
                    <a:pt x="80139" y="21687"/>
                    <a:pt x="80139" y="42483"/>
                  </a:cubicBezTo>
                  <a:close/>
                </a:path>
              </a:pathLst>
            </a:custGeom>
            <a:ln w="12700" cap="flat">
              <a:solidFill>
                <a:srgbClr val="FDC500"/>
              </a:solidFill>
              <a:prstDash val="solid"/>
              <a:round/>
            </a:ln>
          </p:spPr>
          <p:txBody>
            <a:bodyPr rtlCol="0" anchor="ctr"/>
            <a:lstStyle/>
            <a:p>
              <a:pPr defTabSz="731504">
                <a:defRPr/>
              </a:pPr>
              <a:endParaRPr lang="en-US" sz="1800" dirty="0">
                <a:solidFill>
                  <a:srgbClr val="FFFFFF"/>
                </a:solidFill>
              </a:endParaRPr>
            </a:p>
          </p:txBody>
        </p:sp>
        <p:sp>
          <p:nvSpPr>
            <p:cNvPr id="719" name="Freeform: Shape 1347">
              <a:extLst>
                <a:ext uri="{FF2B5EF4-FFF2-40B4-BE49-F238E27FC236}">
                  <a16:creationId xmlns:a16="http://schemas.microsoft.com/office/drawing/2014/main" id="{436BBC98-55E9-3946-B4BB-94AF2E9DD9F4}"/>
                </a:ext>
              </a:extLst>
            </p:cNvPr>
            <p:cNvSpPr/>
            <p:nvPr/>
          </p:nvSpPr>
          <p:spPr>
            <a:xfrm>
              <a:off x="8035756" y="5623166"/>
              <a:ext cx="130096" cy="130096"/>
            </a:xfrm>
            <a:custGeom>
              <a:avLst/>
              <a:gdLst>
                <a:gd name="connsiteX0" fmla="*/ 28000 w 32184"/>
                <a:gd name="connsiteY0" fmla="*/ 16414 h 32184"/>
                <a:gd name="connsiteX1" fmla="*/ 16414 w 32184"/>
                <a:gd name="connsiteY1" fmla="*/ 28000 h 32184"/>
                <a:gd name="connsiteX2" fmla="*/ 4828 w 32184"/>
                <a:gd name="connsiteY2" fmla="*/ 16414 h 32184"/>
                <a:gd name="connsiteX3" fmla="*/ 16414 w 32184"/>
                <a:gd name="connsiteY3" fmla="*/ 4828 h 32184"/>
                <a:gd name="connsiteX4" fmla="*/ 28000 w 32184"/>
                <a:gd name="connsiteY4" fmla="*/ 16414 h 32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4" h="32184">
                  <a:moveTo>
                    <a:pt x="28000" y="16414"/>
                  </a:moveTo>
                  <a:cubicBezTo>
                    <a:pt x="28000" y="22813"/>
                    <a:pt x="22813" y="28000"/>
                    <a:pt x="16414" y="28000"/>
                  </a:cubicBezTo>
                  <a:cubicBezTo>
                    <a:pt x="10015" y="28000"/>
                    <a:pt x="4828" y="22813"/>
                    <a:pt x="4828" y="16414"/>
                  </a:cubicBezTo>
                  <a:cubicBezTo>
                    <a:pt x="4828" y="10015"/>
                    <a:pt x="10015" y="4828"/>
                    <a:pt x="16414" y="4828"/>
                  </a:cubicBezTo>
                  <a:cubicBezTo>
                    <a:pt x="22813" y="4828"/>
                    <a:pt x="28000" y="10015"/>
                    <a:pt x="28000" y="16414"/>
                  </a:cubicBez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grpSp>
      <p:grpSp>
        <p:nvGrpSpPr>
          <p:cNvPr id="720" name="Group 719">
            <a:extLst>
              <a:ext uri="{FF2B5EF4-FFF2-40B4-BE49-F238E27FC236}">
                <a16:creationId xmlns:a16="http://schemas.microsoft.com/office/drawing/2014/main" id="{CA4A4C00-EC11-EE4E-8561-43164810DDA6}"/>
              </a:ext>
            </a:extLst>
          </p:cNvPr>
          <p:cNvGrpSpPr/>
          <p:nvPr/>
        </p:nvGrpSpPr>
        <p:grpSpPr>
          <a:xfrm>
            <a:off x="13054108" y="2766329"/>
            <a:ext cx="462784" cy="356616"/>
            <a:chOff x="13914391" y="3271480"/>
            <a:chExt cx="462784" cy="356616"/>
          </a:xfrm>
        </p:grpSpPr>
        <p:grpSp>
          <p:nvGrpSpPr>
            <p:cNvPr id="721" name="Group 720">
              <a:extLst>
                <a:ext uri="{FF2B5EF4-FFF2-40B4-BE49-F238E27FC236}">
                  <a16:creationId xmlns:a16="http://schemas.microsoft.com/office/drawing/2014/main" id="{BD8C2721-5281-1844-BBEF-77ED5C6D654F}"/>
                </a:ext>
              </a:extLst>
            </p:cNvPr>
            <p:cNvGrpSpPr/>
            <p:nvPr/>
          </p:nvGrpSpPr>
          <p:grpSpPr>
            <a:xfrm>
              <a:off x="13914391" y="3271480"/>
              <a:ext cx="334784" cy="292114"/>
              <a:chOff x="8648967" y="2983833"/>
              <a:chExt cx="1285975" cy="1122070"/>
            </a:xfrm>
          </p:grpSpPr>
          <p:sp>
            <p:nvSpPr>
              <p:cNvPr id="749" name="Freeform: Shape 1327">
                <a:extLst>
                  <a:ext uri="{FF2B5EF4-FFF2-40B4-BE49-F238E27FC236}">
                    <a16:creationId xmlns:a16="http://schemas.microsoft.com/office/drawing/2014/main" id="{B70E45B4-69DE-EC43-B3D2-0BEA7C11A969}"/>
                  </a:ext>
                </a:extLst>
              </p:cNvPr>
              <p:cNvSpPr/>
              <p:nvPr/>
            </p:nvSpPr>
            <p:spPr>
              <a:xfrm>
                <a:off x="9051631" y="3389926"/>
                <a:ext cx="822960" cy="576072"/>
              </a:xfrm>
              <a:custGeom>
                <a:avLst/>
                <a:gdLst>
                  <a:gd name="connsiteX0" fmla="*/ 288051 w 289660"/>
                  <a:gd name="connsiteY0" fmla="*/ 93657 h 202762"/>
                  <a:gd name="connsiteX1" fmla="*/ 288051 w 289660"/>
                  <a:gd name="connsiteY1" fmla="*/ 12552 h 202762"/>
                  <a:gd name="connsiteX2" fmla="*/ 280327 w 289660"/>
                  <a:gd name="connsiteY2" fmla="*/ 4828 h 202762"/>
                  <a:gd name="connsiteX3" fmla="*/ 12552 w 289660"/>
                  <a:gd name="connsiteY3" fmla="*/ 4828 h 202762"/>
                  <a:gd name="connsiteX4" fmla="*/ 4828 w 289660"/>
                  <a:gd name="connsiteY4" fmla="*/ 12552 h 202762"/>
                  <a:gd name="connsiteX5" fmla="*/ 4828 w 289660"/>
                  <a:gd name="connsiteY5" fmla="*/ 190854 h 202762"/>
                  <a:gd name="connsiteX6" fmla="*/ 12552 w 289660"/>
                  <a:gd name="connsiteY6" fmla="*/ 198578 h 202762"/>
                  <a:gd name="connsiteX7" fmla="*/ 225613 w 289660"/>
                  <a:gd name="connsiteY7" fmla="*/ 198578 h 20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660" h="202762">
                    <a:moveTo>
                      <a:pt x="288051" y="93657"/>
                    </a:moveTo>
                    <a:lnTo>
                      <a:pt x="288051" y="12552"/>
                    </a:lnTo>
                    <a:cubicBezTo>
                      <a:pt x="288051" y="8046"/>
                      <a:pt x="284511" y="4828"/>
                      <a:pt x="280327" y="4828"/>
                    </a:cubicBezTo>
                    <a:lnTo>
                      <a:pt x="12552" y="4828"/>
                    </a:lnTo>
                    <a:cubicBezTo>
                      <a:pt x="8046" y="4828"/>
                      <a:pt x="4828" y="8368"/>
                      <a:pt x="4828" y="12552"/>
                    </a:cubicBezTo>
                    <a:lnTo>
                      <a:pt x="4828" y="190854"/>
                    </a:lnTo>
                    <a:cubicBezTo>
                      <a:pt x="4828" y="195360"/>
                      <a:pt x="8368" y="198578"/>
                      <a:pt x="12552" y="198578"/>
                    </a:cubicBezTo>
                    <a:lnTo>
                      <a:pt x="225613" y="198578"/>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750" name="Freeform: Shape 1328">
                <a:extLst>
                  <a:ext uri="{FF2B5EF4-FFF2-40B4-BE49-F238E27FC236}">
                    <a16:creationId xmlns:a16="http://schemas.microsoft.com/office/drawing/2014/main" id="{15847ADD-6073-B54C-8629-333EF1EF322A}"/>
                  </a:ext>
                </a:extLst>
              </p:cNvPr>
              <p:cNvSpPr/>
              <p:nvPr/>
            </p:nvSpPr>
            <p:spPr>
              <a:xfrm>
                <a:off x="8896185" y="4005319"/>
                <a:ext cx="841248" cy="100584"/>
              </a:xfrm>
              <a:custGeom>
                <a:avLst/>
                <a:gdLst>
                  <a:gd name="connsiteX0" fmla="*/ 291913 w 296096"/>
                  <a:gd name="connsiteY0" fmla="*/ 33472 h 35402"/>
                  <a:gd name="connsiteX1" fmla="*/ 28000 w 296096"/>
                  <a:gd name="connsiteY1" fmla="*/ 33472 h 35402"/>
                  <a:gd name="connsiteX2" fmla="*/ 4828 w 296096"/>
                  <a:gd name="connsiteY2" fmla="*/ 23495 h 35402"/>
                  <a:gd name="connsiteX3" fmla="*/ 4828 w 296096"/>
                  <a:gd name="connsiteY3" fmla="*/ 4828 h 35402"/>
                  <a:gd name="connsiteX4" fmla="*/ 42483 w 296096"/>
                  <a:gd name="connsiteY4" fmla="*/ 4828 h 35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96" h="35402">
                    <a:moveTo>
                      <a:pt x="291913" y="33472"/>
                    </a:moveTo>
                    <a:lnTo>
                      <a:pt x="28000" y="33472"/>
                    </a:lnTo>
                    <a:cubicBezTo>
                      <a:pt x="28000" y="33472"/>
                      <a:pt x="11265" y="33472"/>
                      <a:pt x="4828" y="23495"/>
                    </a:cubicBezTo>
                    <a:lnTo>
                      <a:pt x="4828" y="4828"/>
                    </a:lnTo>
                    <a:lnTo>
                      <a:pt x="42483" y="4828"/>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751" name="Freeform: Shape 1329">
                <a:extLst>
                  <a:ext uri="{FF2B5EF4-FFF2-40B4-BE49-F238E27FC236}">
                    <a16:creationId xmlns:a16="http://schemas.microsoft.com/office/drawing/2014/main" id="{91427DD6-0AFB-EB48-BF72-87865E0A0117}"/>
                  </a:ext>
                </a:extLst>
              </p:cNvPr>
              <p:cNvSpPr/>
              <p:nvPr/>
            </p:nvSpPr>
            <p:spPr>
              <a:xfrm>
                <a:off x="8993109" y="3337806"/>
                <a:ext cx="941833" cy="685799"/>
              </a:xfrm>
              <a:custGeom>
                <a:avLst/>
                <a:gdLst>
                  <a:gd name="connsiteX0" fmla="*/ 327638 w 331499"/>
                  <a:gd name="connsiteY0" fmla="*/ 93335 h 241383"/>
                  <a:gd name="connsiteX1" fmla="*/ 327638 w 331499"/>
                  <a:gd name="connsiteY1" fmla="*/ 12552 h 241383"/>
                  <a:gd name="connsiteX2" fmla="*/ 319913 w 331499"/>
                  <a:gd name="connsiteY2" fmla="*/ 4828 h 241383"/>
                  <a:gd name="connsiteX3" fmla="*/ 12552 w 331499"/>
                  <a:gd name="connsiteY3" fmla="*/ 4828 h 241383"/>
                  <a:gd name="connsiteX4" fmla="*/ 4828 w 331499"/>
                  <a:gd name="connsiteY4" fmla="*/ 12552 h 241383"/>
                  <a:gd name="connsiteX5" fmla="*/ 4828 w 331499"/>
                  <a:gd name="connsiteY5" fmla="*/ 232050 h 241383"/>
                  <a:gd name="connsiteX6" fmla="*/ 12552 w 331499"/>
                  <a:gd name="connsiteY6" fmla="*/ 239774 h 241383"/>
                  <a:gd name="connsiteX7" fmla="*/ 255223 w 331499"/>
                  <a:gd name="connsiteY7" fmla="*/ 239774 h 241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1499" h="241383">
                    <a:moveTo>
                      <a:pt x="327638" y="93335"/>
                    </a:moveTo>
                    <a:lnTo>
                      <a:pt x="327638" y="12552"/>
                    </a:lnTo>
                    <a:cubicBezTo>
                      <a:pt x="327638" y="8046"/>
                      <a:pt x="324097" y="4828"/>
                      <a:pt x="319913" y="4828"/>
                    </a:cubicBezTo>
                    <a:lnTo>
                      <a:pt x="12552" y="4828"/>
                    </a:lnTo>
                    <a:cubicBezTo>
                      <a:pt x="8046" y="4828"/>
                      <a:pt x="4828" y="8368"/>
                      <a:pt x="4828" y="12552"/>
                    </a:cubicBezTo>
                    <a:lnTo>
                      <a:pt x="4828" y="232050"/>
                    </a:lnTo>
                    <a:cubicBezTo>
                      <a:pt x="4828" y="236556"/>
                      <a:pt x="8368" y="239774"/>
                      <a:pt x="12552" y="239774"/>
                    </a:cubicBezTo>
                    <a:lnTo>
                      <a:pt x="255223" y="239774"/>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752" name="Freeform: Shape 1330">
                <a:extLst>
                  <a:ext uri="{FF2B5EF4-FFF2-40B4-BE49-F238E27FC236}">
                    <a16:creationId xmlns:a16="http://schemas.microsoft.com/office/drawing/2014/main" id="{EA556FFF-AD00-434B-8068-0122DBE4195B}"/>
                  </a:ext>
                </a:extLst>
              </p:cNvPr>
              <p:cNvSpPr/>
              <p:nvPr/>
            </p:nvSpPr>
            <p:spPr>
              <a:xfrm>
                <a:off x="9042974" y="3275721"/>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753" name="Freeform: Shape 1331">
                <a:extLst>
                  <a:ext uri="{FF2B5EF4-FFF2-40B4-BE49-F238E27FC236}">
                    <a16:creationId xmlns:a16="http://schemas.microsoft.com/office/drawing/2014/main" id="{E5EB4DFB-A161-1A43-A178-E1623D03A169}"/>
                  </a:ext>
                </a:extLst>
              </p:cNvPr>
              <p:cNvSpPr/>
              <p:nvPr/>
            </p:nvSpPr>
            <p:spPr>
              <a:xfrm>
                <a:off x="8961937" y="3162673"/>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754" name="Freeform: Shape 1332">
                <a:extLst>
                  <a:ext uri="{FF2B5EF4-FFF2-40B4-BE49-F238E27FC236}">
                    <a16:creationId xmlns:a16="http://schemas.microsoft.com/office/drawing/2014/main" id="{02EF1140-2A78-1C40-8DD9-14388C153FE3}"/>
                  </a:ext>
                </a:extLst>
              </p:cNvPr>
              <p:cNvSpPr/>
              <p:nvPr/>
            </p:nvSpPr>
            <p:spPr>
              <a:xfrm>
                <a:off x="9074170" y="3039948"/>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755" name="Freeform: Shape 1333">
                <a:extLst>
                  <a:ext uri="{FF2B5EF4-FFF2-40B4-BE49-F238E27FC236}">
                    <a16:creationId xmlns:a16="http://schemas.microsoft.com/office/drawing/2014/main" id="{CE1ACF35-8559-574C-983C-9A836EE8ECC7}"/>
                  </a:ext>
                </a:extLst>
              </p:cNvPr>
              <p:cNvSpPr/>
              <p:nvPr/>
            </p:nvSpPr>
            <p:spPr>
              <a:xfrm>
                <a:off x="8648967" y="2983833"/>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756" name="Freeform: Shape 1334">
                <a:extLst>
                  <a:ext uri="{FF2B5EF4-FFF2-40B4-BE49-F238E27FC236}">
                    <a16:creationId xmlns:a16="http://schemas.microsoft.com/office/drawing/2014/main" id="{762B666B-4093-6044-A2C7-C06CFDCCDDFB}"/>
                  </a:ext>
                </a:extLst>
              </p:cNvPr>
              <p:cNvSpPr/>
              <p:nvPr/>
            </p:nvSpPr>
            <p:spPr>
              <a:xfrm>
                <a:off x="9164560" y="3227184"/>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757" name="Freeform: Shape 1335">
                <a:extLst>
                  <a:ext uri="{FF2B5EF4-FFF2-40B4-BE49-F238E27FC236}">
                    <a16:creationId xmlns:a16="http://schemas.microsoft.com/office/drawing/2014/main" id="{32A96B3A-C25B-3747-ABA6-80771F16A4F8}"/>
                  </a:ext>
                </a:extLst>
              </p:cNvPr>
              <p:cNvSpPr/>
              <p:nvPr/>
            </p:nvSpPr>
            <p:spPr>
              <a:xfrm>
                <a:off x="8885650" y="3287035"/>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758" name="Freeform: Shape 1336">
                <a:extLst>
                  <a:ext uri="{FF2B5EF4-FFF2-40B4-BE49-F238E27FC236}">
                    <a16:creationId xmlns:a16="http://schemas.microsoft.com/office/drawing/2014/main" id="{1360F71C-94C2-914A-A594-60D168981796}"/>
                  </a:ext>
                </a:extLst>
              </p:cNvPr>
              <p:cNvSpPr/>
              <p:nvPr/>
            </p:nvSpPr>
            <p:spPr>
              <a:xfrm>
                <a:off x="8867336" y="3474179"/>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759" name="Freeform: Shape 1337">
                <a:extLst>
                  <a:ext uri="{FF2B5EF4-FFF2-40B4-BE49-F238E27FC236}">
                    <a16:creationId xmlns:a16="http://schemas.microsoft.com/office/drawing/2014/main" id="{C4FA88ED-2B87-5D41-B797-3D7CB3377A91}"/>
                  </a:ext>
                </a:extLst>
              </p:cNvPr>
              <p:cNvSpPr/>
              <p:nvPr/>
            </p:nvSpPr>
            <p:spPr>
              <a:xfrm>
                <a:off x="8743699" y="3361947"/>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760" name="Freeform: Shape 1338">
                <a:extLst>
                  <a:ext uri="{FF2B5EF4-FFF2-40B4-BE49-F238E27FC236}">
                    <a16:creationId xmlns:a16="http://schemas.microsoft.com/office/drawing/2014/main" id="{FF281969-CE2A-5341-9377-FA980749987B}"/>
                  </a:ext>
                </a:extLst>
              </p:cNvPr>
              <p:cNvSpPr/>
              <p:nvPr/>
            </p:nvSpPr>
            <p:spPr>
              <a:xfrm>
                <a:off x="8809425" y="3151601"/>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grpSp>
        <p:grpSp>
          <p:nvGrpSpPr>
            <p:cNvPr id="722" name="Group 721">
              <a:extLst>
                <a:ext uri="{FF2B5EF4-FFF2-40B4-BE49-F238E27FC236}">
                  <a16:creationId xmlns:a16="http://schemas.microsoft.com/office/drawing/2014/main" id="{962F7140-E120-8D4B-A546-05E135FB07D0}"/>
                </a:ext>
              </a:extLst>
            </p:cNvPr>
            <p:cNvGrpSpPr/>
            <p:nvPr/>
          </p:nvGrpSpPr>
          <p:grpSpPr>
            <a:xfrm>
              <a:off x="14043618" y="3396602"/>
              <a:ext cx="167758" cy="108313"/>
              <a:chOff x="9145357" y="3464451"/>
              <a:chExt cx="644395" cy="416052"/>
            </a:xfrm>
          </p:grpSpPr>
          <p:sp>
            <p:nvSpPr>
              <p:cNvPr id="730" name="Freeform: Shape 1308">
                <a:extLst>
                  <a:ext uri="{FF2B5EF4-FFF2-40B4-BE49-F238E27FC236}">
                    <a16:creationId xmlns:a16="http://schemas.microsoft.com/office/drawing/2014/main" id="{E5F00873-914A-3948-A80E-F3BCE4179E29}"/>
                  </a:ext>
                </a:extLst>
              </p:cNvPr>
              <p:cNvSpPr/>
              <p:nvPr/>
            </p:nvSpPr>
            <p:spPr>
              <a:xfrm>
                <a:off x="9222167" y="3515657"/>
                <a:ext cx="228600" cy="27431"/>
              </a:xfrm>
              <a:custGeom>
                <a:avLst/>
                <a:gdLst>
                  <a:gd name="connsiteX0" fmla="*/ 2414 w 80461"/>
                  <a:gd name="connsiteY0" fmla="*/ 2414 h 9655"/>
                  <a:gd name="connsiteX1" fmla="*/ 78691 w 80461"/>
                  <a:gd name="connsiteY1" fmla="*/ 2414 h 9655"/>
                  <a:gd name="connsiteX2" fmla="*/ 78691 w 80461"/>
                  <a:gd name="connsiteY2" fmla="*/ 8207 h 9655"/>
                  <a:gd name="connsiteX3" fmla="*/ 2414 w 80461"/>
                  <a:gd name="connsiteY3" fmla="*/ 8207 h 9655"/>
                </a:gdLst>
                <a:ahLst/>
                <a:cxnLst>
                  <a:cxn ang="0">
                    <a:pos x="connsiteX0" y="connsiteY0"/>
                  </a:cxn>
                  <a:cxn ang="0">
                    <a:pos x="connsiteX1" y="connsiteY1"/>
                  </a:cxn>
                  <a:cxn ang="0">
                    <a:pos x="connsiteX2" y="connsiteY2"/>
                  </a:cxn>
                  <a:cxn ang="0">
                    <a:pos x="connsiteX3" y="connsiteY3"/>
                  </a:cxn>
                </a:cxnLst>
                <a:rect l="l" t="t" r="r" b="b"/>
                <a:pathLst>
                  <a:path w="80461" h="9655">
                    <a:moveTo>
                      <a:pt x="2414" y="2414"/>
                    </a:moveTo>
                    <a:lnTo>
                      <a:pt x="78691" y="2414"/>
                    </a:lnTo>
                    <a:lnTo>
                      <a:pt x="78691" y="8207"/>
                    </a:lnTo>
                    <a:lnTo>
                      <a:pt x="2414" y="8207"/>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31" name="Freeform: Shape 1309">
                <a:extLst>
                  <a:ext uri="{FF2B5EF4-FFF2-40B4-BE49-F238E27FC236}">
                    <a16:creationId xmlns:a16="http://schemas.microsoft.com/office/drawing/2014/main" id="{A3C601EC-FF0B-4947-92D6-4FD63EDF8982}"/>
                  </a:ext>
                </a:extLst>
              </p:cNvPr>
              <p:cNvSpPr/>
              <p:nvPr/>
            </p:nvSpPr>
            <p:spPr>
              <a:xfrm>
                <a:off x="9461847" y="3515086"/>
                <a:ext cx="164592" cy="27431"/>
              </a:xfrm>
              <a:custGeom>
                <a:avLst/>
                <a:gdLst>
                  <a:gd name="connsiteX0" fmla="*/ 57771 w 57932"/>
                  <a:gd name="connsiteY0" fmla="*/ 8207 h 9655"/>
                  <a:gd name="connsiteX1" fmla="*/ 2414 w 57932"/>
                  <a:gd name="connsiteY1" fmla="*/ 8207 h 9655"/>
                  <a:gd name="connsiteX2" fmla="*/ 2414 w 57932"/>
                  <a:gd name="connsiteY2" fmla="*/ 2414 h 9655"/>
                  <a:gd name="connsiteX3" fmla="*/ 57771 w 57932"/>
                  <a:gd name="connsiteY3" fmla="*/ 2414 h 9655"/>
                </a:gdLst>
                <a:ahLst/>
                <a:cxnLst>
                  <a:cxn ang="0">
                    <a:pos x="connsiteX0" y="connsiteY0"/>
                  </a:cxn>
                  <a:cxn ang="0">
                    <a:pos x="connsiteX1" y="connsiteY1"/>
                  </a:cxn>
                  <a:cxn ang="0">
                    <a:pos x="connsiteX2" y="connsiteY2"/>
                  </a:cxn>
                  <a:cxn ang="0">
                    <a:pos x="connsiteX3" y="connsiteY3"/>
                  </a:cxn>
                </a:cxnLst>
                <a:rect l="l" t="t" r="r" b="b"/>
                <a:pathLst>
                  <a:path w="57932" h="9655">
                    <a:moveTo>
                      <a:pt x="57771" y="8207"/>
                    </a:moveTo>
                    <a:lnTo>
                      <a:pt x="2414" y="8207"/>
                    </a:lnTo>
                    <a:lnTo>
                      <a:pt x="2414" y="2414"/>
                    </a:lnTo>
                    <a:lnTo>
                      <a:pt x="57771" y="2414"/>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32" name="Freeform: Shape 1310">
                <a:extLst>
                  <a:ext uri="{FF2B5EF4-FFF2-40B4-BE49-F238E27FC236}">
                    <a16:creationId xmlns:a16="http://schemas.microsoft.com/office/drawing/2014/main" id="{9923A4EC-EB36-3145-9C0A-EBC474912BE6}"/>
                  </a:ext>
                </a:extLst>
              </p:cNvPr>
              <p:cNvSpPr/>
              <p:nvPr/>
            </p:nvSpPr>
            <p:spPr>
              <a:xfrm>
                <a:off x="9278861" y="3589722"/>
                <a:ext cx="301753" cy="27431"/>
              </a:xfrm>
              <a:custGeom>
                <a:avLst/>
                <a:gdLst>
                  <a:gd name="connsiteX0" fmla="*/ 2414 w 106208"/>
                  <a:gd name="connsiteY0" fmla="*/ 2414 h 9655"/>
                  <a:gd name="connsiteX1" fmla="*/ 104760 w 106208"/>
                  <a:gd name="connsiteY1" fmla="*/ 2414 h 9655"/>
                  <a:gd name="connsiteX2" fmla="*/ 104760 w 106208"/>
                  <a:gd name="connsiteY2" fmla="*/ 8207 h 9655"/>
                  <a:gd name="connsiteX3" fmla="*/ 2414 w 106208"/>
                  <a:gd name="connsiteY3" fmla="*/ 8207 h 9655"/>
                </a:gdLst>
                <a:ahLst/>
                <a:cxnLst>
                  <a:cxn ang="0">
                    <a:pos x="connsiteX0" y="connsiteY0"/>
                  </a:cxn>
                  <a:cxn ang="0">
                    <a:pos x="connsiteX1" y="connsiteY1"/>
                  </a:cxn>
                  <a:cxn ang="0">
                    <a:pos x="connsiteX2" y="connsiteY2"/>
                  </a:cxn>
                  <a:cxn ang="0">
                    <a:pos x="connsiteX3" y="connsiteY3"/>
                  </a:cxn>
                </a:cxnLst>
                <a:rect l="l" t="t" r="r" b="b"/>
                <a:pathLst>
                  <a:path w="106208" h="9655">
                    <a:moveTo>
                      <a:pt x="2414" y="2414"/>
                    </a:moveTo>
                    <a:lnTo>
                      <a:pt x="104760" y="2414"/>
                    </a:lnTo>
                    <a:lnTo>
                      <a:pt x="104760" y="8207"/>
                    </a:lnTo>
                    <a:lnTo>
                      <a:pt x="2414" y="8207"/>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33" name="Freeform: Shape 1311">
                <a:extLst>
                  <a:ext uri="{FF2B5EF4-FFF2-40B4-BE49-F238E27FC236}">
                    <a16:creationId xmlns:a16="http://schemas.microsoft.com/office/drawing/2014/main" id="{0C68325A-F37C-0847-8C05-A9CA5BFC443A}"/>
                  </a:ext>
                </a:extLst>
              </p:cNvPr>
              <p:cNvSpPr/>
              <p:nvPr/>
            </p:nvSpPr>
            <p:spPr>
              <a:xfrm>
                <a:off x="9689168" y="3590484"/>
                <a:ext cx="100584" cy="27431"/>
              </a:xfrm>
              <a:custGeom>
                <a:avLst/>
                <a:gdLst>
                  <a:gd name="connsiteX0" fmla="*/ 33955 w 35402"/>
                  <a:gd name="connsiteY0" fmla="*/ 8207 h 9655"/>
                  <a:gd name="connsiteX1" fmla="*/ 2414 w 35402"/>
                  <a:gd name="connsiteY1" fmla="*/ 8207 h 9655"/>
                  <a:gd name="connsiteX2" fmla="*/ 2414 w 35402"/>
                  <a:gd name="connsiteY2" fmla="*/ 2414 h 9655"/>
                  <a:gd name="connsiteX3" fmla="*/ 33955 w 35402"/>
                  <a:gd name="connsiteY3" fmla="*/ 2414 h 9655"/>
                </a:gdLst>
                <a:ahLst/>
                <a:cxnLst>
                  <a:cxn ang="0">
                    <a:pos x="connsiteX0" y="connsiteY0"/>
                  </a:cxn>
                  <a:cxn ang="0">
                    <a:pos x="connsiteX1" y="connsiteY1"/>
                  </a:cxn>
                  <a:cxn ang="0">
                    <a:pos x="connsiteX2" y="connsiteY2"/>
                  </a:cxn>
                  <a:cxn ang="0">
                    <a:pos x="connsiteX3" y="connsiteY3"/>
                  </a:cxn>
                </a:cxnLst>
                <a:rect l="l" t="t" r="r" b="b"/>
                <a:pathLst>
                  <a:path w="35402" h="9655">
                    <a:moveTo>
                      <a:pt x="33955" y="8207"/>
                    </a:moveTo>
                    <a:lnTo>
                      <a:pt x="2414" y="8207"/>
                    </a:lnTo>
                    <a:lnTo>
                      <a:pt x="2414" y="2414"/>
                    </a:lnTo>
                    <a:lnTo>
                      <a:pt x="33955" y="2414"/>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34" name="Freeform: Shape 1312">
                <a:extLst>
                  <a:ext uri="{FF2B5EF4-FFF2-40B4-BE49-F238E27FC236}">
                    <a16:creationId xmlns:a16="http://schemas.microsoft.com/office/drawing/2014/main" id="{7C47BF71-349E-C747-807C-1F0B81FFA91D}"/>
                  </a:ext>
                </a:extLst>
              </p:cNvPr>
              <p:cNvSpPr/>
              <p:nvPr/>
            </p:nvSpPr>
            <p:spPr>
              <a:xfrm>
                <a:off x="9582441" y="3589722"/>
                <a:ext cx="100584" cy="27431"/>
              </a:xfrm>
              <a:custGeom>
                <a:avLst/>
                <a:gdLst>
                  <a:gd name="connsiteX0" fmla="*/ 2414 w 35402"/>
                  <a:gd name="connsiteY0" fmla="*/ 2414 h 9655"/>
                  <a:gd name="connsiteX1" fmla="*/ 34598 w 35402"/>
                  <a:gd name="connsiteY1" fmla="*/ 2414 h 9655"/>
                  <a:gd name="connsiteX2" fmla="*/ 34598 w 35402"/>
                  <a:gd name="connsiteY2" fmla="*/ 8207 h 9655"/>
                  <a:gd name="connsiteX3" fmla="*/ 2414 w 35402"/>
                  <a:gd name="connsiteY3" fmla="*/ 8207 h 9655"/>
                </a:gdLst>
                <a:ahLst/>
                <a:cxnLst>
                  <a:cxn ang="0">
                    <a:pos x="connsiteX0" y="connsiteY0"/>
                  </a:cxn>
                  <a:cxn ang="0">
                    <a:pos x="connsiteX1" y="connsiteY1"/>
                  </a:cxn>
                  <a:cxn ang="0">
                    <a:pos x="connsiteX2" y="connsiteY2"/>
                  </a:cxn>
                  <a:cxn ang="0">
                    <a:pos x="connsiteX3" y="connsiteY3"/>
                  </a:cxn>
                </a:cxnLst>
                <a:rect l="l" t="t" r="r" b="b"/>
                <a:pathLst>
                  <a:path w="35402" h="9655">
                    <a:moveTo>
                      <a:pt x="2414" y="2414"/>
                    </a:moveTo>
                    <a:lnTo>
                      <a:pt x="34598" y="2414"/>
                    </a:lnTo>
                    <a:lnTo>
                      <a:pt x="34598" y="8207"/>
                    </a:lnTo>
                    <a:lnTo>
                      <a:pt x="2414" y="8207"/>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35" name="Freeform: Shape 1313">
                <a:extLst>
                  <a:ext uri="{FF2B5EF4-FFF2-40B4-BE49-F238E27FC236}">
                    <a16:creationId xmlns:a16="http://schemas.microsoft.com/office/drawing/2014/main" id="{8E5039C0-CA6B-3B47-B74B-3D3EFCDAE9F5}"/>
                  </a:ext>
                </a:extLst>
              </p:cNvPr>
              <p:cNvSpPr/>
              <p:nvPr/>
            </p:nvSpPr>
            <p:spPr>
              <a:xfrm>
                <a:off x="9375786" y="3664702"/>
                <a:ext cx="265176" cy="27431"/>
              </a:xfrm>
              <a:custGeom>
                <a:avLst/>
                <a:gdLst>
                  <a:gd name="connsiteX0" fmla="*/ 2414 w 93334"/>
                  <a:gd name="connsiteY0" fmla="*/ 2414 h 9655"/>
                  <a:gd name="connsiteX1" fmla="*/ 92208 w 93334"/>
                  <a:gd name="connsiteY1" fmla="*/ 2414 h 9655"/>
                  <a:gd name="connsiteX2" fmla="*/ 92208 w 93334"/>
                  <a:gd name="connsiteY2" fmla="*/ 8207 h 9655"/>
                  <a:gd name="connsiteX3" fmla="*/ 2414 w 93334"/>
                  <a:gd name="connsiteY3" fmla="*/ 8207 h 9655"/>
                </a:gdLst>
                <a:ahLst/>
                <a:cxnLst>
                  <a:cxn ang="0">
                    <a:pos x="connsiteX0" y="connsiteY0"/>
                  </a:cxn>
                  <a:cxn ang="0">
                    <a:pos x="connsiteX1" y="connsiteY1"/>
                  </a:cxn>
                  <a:cxn ang="0">
                    <a:pos x="connsiteX2" y="connsiteY2"/>
                  </a:cxn>
                  <a:cxn ang="0">
                    <a:pos x="connsiteX3" y="connsiteY3"/>
                  </a:cxn>
                </a:cxnLst>
                <a:rect l="l" t="t" r="r" b="b"/>
                <a:pathLst>
                  <a:path w="93334" h="9655">
                    <a:moveTo>
                      <a:pt x="2414" y="2414"/>
                    </a:moveTo>
                    <a:lnTo>
                      <a:pt x="92208" y="2414"/>
                    </a:lnTo>
                    <a:lnTo>
                      <a:pt x="92208" y="8207"/>
                    </a:lnTo>
                    <a:lnTo>
                      <a:pt x="2414" y="8207"/>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36" name="Freeform: Shape 1314">
                <a:extLst>
                  <a:ext uri="{FF2B5EF4-FFF2-40B4-BE49-F238E27FC236}">
                    <a16:creationId xmlns:a16="http://schemas.microsoft.com/office/drawing/2014/main" id="{3EFFCF96-C587-A740-B8DB-6F1F14B2F3A9}"/>
                  </a:ext>
                </a:extLst>
              </p:cNvPr>
              <p:cNvSpPr/>
              <p:nvPr/>
            </p:nvSpPr>
            <p:spPr>
              <a:xfrm>
                <a:off x="9305727" y="3664961"/>
                <a:ext cx="64008" cy="27431"/>
              </a:xfrm>
              <a:custGeom>
                <a:avLst/>
                <a:gdLst>
                  <a:gd name="connsiteX0" fmla="*/ 21081 w 22529"/>
                  <a:gd name="connsiteY0" fmla="*/ 8207 h 9655"/>
                  <a:gd name="connsiteX1" fmla="*/ 2414 w 22529"/>
                  <a:gd name="connsiteY1" fmla="*/ 8207 h 9655"/>
                  <a:gd name="connsiteX2" fmla="*/ 2414 w 22529"/>
                  <a:gd name="connsiteY2" fmla="*/ 2414 h 9655"/>
                  <a:gd name="connsiteX3" fmla="*/ 21081 w 22529"/>
                  <a:gd name="connsiteY3" fmla="*/ 2414 h 9655"/>
                </a:gdLst>
                <a:ahLst/>
                <a:cxnLst>
                  <a:cxn ang="0">
                    <a:pos x="connsiteX0" y="connsiteY0"/>
                  </a:cxn>
                  <a:cxn ang="0">
                    <a:pos x="connsiteX1" y="connsiteY1"/>
                  </a:cxn>
                  <a:cxn ang="0">
                    <a:pos x="connsiteX2" y="connsiteY2"/>
                  </a:cxn>
                  <a:cxn ang="0">
                    <a:pos x="connsiteX3" y="connsiteY3"/>
                  </a:cxn>
                </a:cxnLst>
                <a:rect l="l" t="t" r="r" b="b"/>
                <a:pathLst>
                  <a:path w="22529" h="9655">
                    <a:moveTo>
                      <a:pt x="21081" y="8207"/>
                    </a:moveTo>
                    <a:lnTo>
                      <a:pt x="2414" y="8207"/>
                    </a:lnTo>
                    <a:lnTo>
                      <a:pt x="2414" y="2414"/>
                    </a:lnTo>
                    <a:lnTo>
                      <a:pt x="21081" y="2414"/>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37" name="Freeform: Shape 1315">
                <a:extLst>
                  <a:ext uri="{FF2B5EF4-FFF2-40B4-BE49-F238E27FC236}">
                    <a16:creationId xmlns:a16="http://schemas.microsoft.com/office/drawing/2014/main" id="{8D16E41B-EF2D-604A-8F72-58C69964049B}"/>
                  </a:ext>
                </a:extLst>
              </p:cNvPr>
              <p:cNvSpPr/>
              <p:nvPr/>
            </p:nvSpPr>
            <p:spPr>
              <a:xfrm>
                <a:off x="9222167" y="3722312"/>
                <a:ext cx="182880" cy="27431"/>
              </a:xfrm>
              <a:custGeom>
                <a:avLst/>
                <a:gdLst>
                  <a:gd name="connsiteX0" fmla="*/ 2414 w 64368"/>
                  <a:gd name="connsiteY0" fmla="*/ 2414 h 9655"/>
                  <a:gd name="connsiteX1" fmla="*/ 63564 w 64368"/>
                  <a:gd name="connsiteY1" fmla="*/ 2414 h 9655"/>
                  <a:gd name="connsiteX2" fmla="*/ 63564 w 64368"/>
                  <a:gd name="connsiteY2" fmla="*/ 8207 h 9655"/>
                  <a:gd name="connsiteX3" fmla="*/ 2414 w 64368"/>
                  <a:gd name="connsiteY3" fmla="*/ 8207 h 9655"/>
                </a:gdLst>
                <a:ahLst/>
                <a:cxnLst>
                  <a:cxn ang="0">
                    <a:pos x="connsiteX0" y="connsiteY0"/>
                  </a:cxn>
                  <a:cxn ang="0">
                    <a:pos x="connsiteX1" y="connsiteY1"/>
                  </a:cxn>
                  <a:cxn ang="0">
                    <a:pos x="connsiteX2" y="connsiteY2"/>
                  </a:cxn>
                  <a:cxn ang="0">
                    <a:pos x="connsiteX3" y="connsiteY3"/>
                  </a:cxn>
                </a:cxnLst>
                <a:rect l="l" t="t" r="r" b="b"/>
                <a:pathLst>
                  <a:path w="64368" h="9655">
                    <a:moveTo>
                      <a:pt x="2414" y="2414"/>
                    </a:moveTo>
                    <a:lnTo>
                      <a:pt x="63564" y="2414"/>
                    </a:lnTo>
                    <a:lnTo>
                      <a:pt x="63564" y="8207"/>
                    </a:lnTo>
                    <a:lnTo>
                      <a:pt x="2414" y="8207"/>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38" name="Freeform: Shape 1316">
                <a:extLst>
                  <a:ext uri="{FF2B5EF4-FFF2-40B4-BE49-F238E27FC236}">
                    <a16:creationId xmlns:a16="http://schemas.microsoft.com/office/drawing/2014/main" id="{5CC8916A-14CF-2747-8234-B02E8514E56D}"/>
                  </a:ext>
                </a:extLst>
              </p:cNvPr>
              <p:cNvSpPr/>
              <p:nvPr/>
            </p:nvSpPr>
            <p:spPr>
              <a:xfrm>
                <a:off x="9409621" y="3722312"/>
                <a:ext cx="73153" cy="27431"/>
              </a:xfrm>
              <a:custGeom>
                <a:avLst/>
                <a:gdLst>
                  <a:gd name="connsiteX0" fmla="*/ 2414 w 25747"/>
                  <a:gd name="connsiteY0" fmla="*/ 2414 h 9655"/>
                  <a:gd name="connsiteX1" fmla="*/ 23334 w 25747"/>
                  <a:gd name="connsiteY1" fmla="*/ 2414 h 9655"/>
                  <a:gd name="connsiteX2" fmla="*/ 23334 w 25747"/>
                  <a:gd name="connsiteY2" fmla="*/ 8207 h 9655"/>
                  <a:gd name="connsiteX3" fmla="*/ 2414 w 25747"/>
                  <a:gd name="connsiteY3" fmla="*/ 8207 h 9655"/>
                </a:gdLst>
                <a:ahLst/>
                <a:cxnLst>
                  <a:cxn ang="0">
                    <a:pos x="connsiteX0" y="connsiteY0"/>
                  </a:cxn>
                  <a:cxn ang="0">
                    <a:pos x="connsiteX1" y="connsiteY1"/>
                  </a:cxn>
                  <a:cxn ang="0">
                    <a:pos x="connsiteX2" y="connsiteY2"/>
                  </a:cxn>
                  <a:cxn ang="0">
                    <a:pos x="connsiteX3" y="connsiteY3"/>
                  </a:cxn>
                </a:cxnLst>
                <a:rect l="l" t="t" r="r" b="b"/>
                <a:pathLst>
                  <a:path w="25747" h="9655">
                    <a:moveTo>
                      <a:pt x="2414" y="2414"/>
                    </a:moveTo>
                    <a:lnTo>
                      <a:pt x="23334" y="2414"/>
                    </a:lnTo>
                    <a:lnTo>
                      <a:pt x="23334" y="8207"/>
                    </a:lnTo>
                    <a:lnTo>
                      <a:pt x="2414" y="8207"/>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39" name="Freeform: Shape 1317">
                <a:extLst>
                  <a:ext uri="{FF2B5EF4-FFF2-40B4-BE49-F238E27FC236}">
                    <a16:creationId xmlns:a16="http://schemas.microsoft.com/office/drawing/2014/main" id="{AD3482CC-22E1-EA4C-8103-D1A6CF70137A}"/>
                  </a:ext>
                </a:extLst>
              </p:cNvPr>
              <p:cNvSpPr/>
              <p:nvPr/>
            </p:nvSpPr>
            <p:spPr>
              <a:xfrm>
                <a:off x="9485516" y="3722312"/>
                <a:ext cx="246888" cy="27431"/>
              </a:xfrm>
              <a:custGeom>
                <a:avLst/>
                <a:gdLst>
                  <a:gd name="connsiteX0" fmla="*/ 2414 w 86898"/>
                  <a:gd name="connsiteY0" fmla="*/ 2414 h 9655"/>
                  <a:gd name="connsiteX1" fmla="*/ 86093 w 86898"/>
                  <a:gd name="connsiteY1" fmla="*/ 2414 h 9655"/>
                  <a:gd name="connsiteX2" fmla="*/ 86093 w 86898"/>
                  <a:gd name="connsiteY2" fmla="*/ 8207 h 9655"/>
                  <a:gd name="connsiteX3" fmla="*/ 2414 w 86898"/>
                  <a:gd name="connsiteY3" fmla="*/ 8207 h 9655"/>
                </a:gdLst>
                <a:ahLst/>
                <a:cxnLst>
                  <a:cxn ang="0">
                    <a:pos x="connsiteX0" y="connsiteY0"/>
                  </a:cxn>
                  <a:cxn ang="0">
                    <a:pos x="connsiteX1" y="connsiteY1"/>
                  </a:cxn>
                  <a:cxn ang="0">
                    <a:pos x="connsiteX2" y="connsiteY2"/>
                  </a:cxn>
                  <a:cxn ang="0">
                    <a:pos x="connsiteX3" y="connsiteY3"/>
                  </a:cxn>
                </a:cxnLst>
                <a:rect l="l" t="t" r="r" b="b"/>
                <a:pathLst>
                  <a:path w="86898" h="9655">
                    <a:moveTo>
                      <a:pt x="2414" y="2414"/>
                    </a:moveTo>
                    <a:lnTo>
                      <a:pt x="86093" y="2414"/>
                    </a:lnTo>
                    <a:lnTo>
                      <a:pt x="86093" y="8207"/>
                    </a:lnTo>
                    <a:lnTo>
                      <a:pt x="2414" y="8207"/>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40" name="Freeform: Shape 1318">
                <a:extLst>
                  <a:ext uri="{FF2B5EF4-FFF2-40B4-BE49-F238E27FC236}">
                    <a16:creationId xmlns:a16="http://schemas.microsoft.com/office/drawing/2014/main" id="{CA5F187C-A1EF-BE4A-B3A6-2597E7E66EC3}"/>
                  </a:ext>
                </a:extLst>
              </p:cNvPr>
              <p:cNvSpPr/>
              <p:nvPr/>
            </p:nvSpPr>
            <p:spPr>
              <a:xfrm>
                <a:off x="9278861" y="3797292"/>
                <a:ext cx="100584" cy="27431"/>
              </a:xfrm>
              <a:custGeom>
                <a:avLst/>
                <a:gdLst>
                  <a:gd name="connsiteX0" fmla="*/ 2414 w 35402"/>
                  <a:gd name="connsiteY0" fmla="*/ 2414 h 9655"/>
                  <a:gd name="connsiteX1" fmla="*/ 34276 w 35402"/>
                  <a:gd name="connsiteY1" fmla="*/ 2414 h 9655"/>
                  <a:gd name="connsiteX2" fmla="*/ 34276 w 35402"/>
                  <a:gd name="connsiteY2" fmla="*/ 8207 h 9655"/>
                  <a:gd name="connsiteX3" fmla="*/ 2414 w 35402"/>
                  <a:gd name="connsiteY3" fmla="*/ 8207 h 9655"/>
                </a:gdLst>
                <a:ahLst/>
                <a:cxnLst>
                  <a:cxn ang="0">
                    <a:pos x="connsiteX0" y="connsiteY0"/>
                  </a:cxn>
                  <a:cxn ang="0">
                    <a:pos x="connsiteX1" y="connsiteY1"/>
                  </a:cxn>
                  <a:cxn ang="0">
                    <a:pos x="connsiteX2" y="connsiteY2"/>
                  </a:cxn>
                  <a:cxn ang="0">
                    <a:pos x="connsiteX3" y="connsiteY3"/>
                  </a:cxn>
                </a:cxnLst>
                <a:rect l="l" t="t" r="r" b="b"/>
                <a:pathLst>
                  <a:path w="35402" h="9655">
                    <a:moveTo>
                      <a:pt x="2414" y="2414"/>
                    </a:moveTo>
                    <a:lnTo>
                      <a:pt x="34276" y="2414"/>
                    </a:lnTo>
                    <a:lnTo>
                      <a:pt x="34276" y="8207"/>
                    </a:lnTo>
                    <a:lnTo>
                      <a:pt x="2414" y="8207"/>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41" name="Freeform: Shape 1319">
                <a:extLst>
                  <a:ext uri="{FF2B5EF4-FFF2-40B4-BE49-F238E27FC236}">
                    <a16:creationId xmlns:a16="http://schemas.microsoft.com/office/drawing/2014/main" id="{A3CE8477-09DF-1E41-AD2B-26543189F216}"/>
                  </a:ext>
                </a:extLst>
              </p:cNvPr>
              <p:cNvSpPr/>
              <p:nvPr/>
            </p:nvSpPr>
            <p:spPr>
              <a:xfrm>
                <a:off x="9395935" y="3797553"/>
                <a:ext cx="219457" cy="27431"/>
              </a:xfrm>
              <a:custGeom>
                <a:avLst/>
                <a:gdLst>
                  <a:gd name="connsiteX0" fmla="*/ 77725 w 77242"/>
                  <a:gd name="connsiteY0" fmla="*/ 8207 h 9655"/>
                  <a:gd name="connsiteX1" fmla="*/ 2414 w 77242"/>
                  <a:gd name="connsiteY1" fmla="*/ 8207 h 9655"/>
                  <a:gd name="connsiteX2" fmla="*/ 2414 w 77242"/>
                  <a:gd name="connsiteY2" fmla="*/ 2414 h 9655"/>
                  <a:gd name="connsiteX3" fmla="*/ 77725 w 77242"/>
                  <a:gd name="connsiteY3" fmla="*/ 2414 h 9655"/>
                </a:gdLst>
                <a:ahLst/>
                <a:cxnLst>
                  <a:cxn ang="0">
                    <a:pos x="connsiteX0" y="connsiteY0"/>
                  </a:cxn>
                  <a:cxn ang="0">
                    <a:pos x="connsiteX1" y="connsiteY1"/>
                  </a:cxn>
                  <a:cxn ang="0">
                    <a:pos x="connsiteX2" y="connsiteY2"/>
                  </a:cxn>
                  <a:cxn ang="0">
                    <a:pos x="connsiteX3" y="connsiteY3"/>
                  </a:cxn>
                </a:cxnLst>
                <a:rect l="l" t="t" r="r" b="b"/>
                <a:pathLst>
                  <a:path w="77242" h="9655">
                    <a:moveTo>
                      <a:pt x="77725" y="8207"/>
                    </a:moveTo>
                    <a:lnTo>
                      <a:pt x="2414" y="8207"/>
                    </a:lnTo>
                    <a:lnTo>
                      <a:pt x="2414" y="2414"/>
                    </a:lnTo>
                    <a:lnTo>
                      <a:pt x="77725" y="2414"/>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42" name="Freeform: Shape 1320">
                <a:extLst>
                  <a:ext uri="{FF2B5EF4-FFF2-40B4-BE49-F238E27FC236}">
                    <a16:creationId xmlns:a16="http://schemas.microsoft.com/office/drawing/2014/main" id="{D208B838-1760-364C-AB58-1AC00F39E54A}"/>
                  </a:ext>
                </a:extLst>
              </p:cNvPr>
              <p:cNvSpPr/>
              <p:nvPr/>
            </p:nvSpPr>
            <p:spPr>
              <a:xfrm>
                <a:off x="9145357" y="3464451"/>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173"/>
                      <a:pt x="9173" y="10782"/>
                      <a:pt x="7563" y="10782"/>
                    </a:cubicBez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43" name="Freeform: Shape 1321">
                <a:extLst>
                  <a:ext uri="{FF2B5EF4-FFF2-40B4-BE49-F238E27FC236}">
                    <a16:creationId xmlns:a16="http://schemas.microsoft.com/office/drawing/2014/main" id="{3D2272DC-1B83-E74A-8BD4-82E95CD4E11C}"/>
                  </a:ext>
                </a:extLst>
              </p:cNvPr>
              <p:cNvSpPr/>
              <p:nvPr/>
            </p:nvSpPr>
            <p:spPr>
              <a:xfrm>
                <a:off x="9145357" y="3527544"/>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44" name="Freeform: Shape 1322">
                <a:extLst>
                  <a:ext uri="{FF2B5EF4-FFF2-40B4-BE49-F238E27FC236}">
                    <a16:creationId xmlns:a16="http://schemas.microsoft.com/office/drawing/2014/main" id="{7D4951CA-57F3-C341-841A-75E04BE8C133}"/>
                  </a:ext>
                </a:extLst>
              </p:cNvPr>
              <p:cNvSpPr/>
              <p:nvPr/>
            </p:nvSpPr>
            <p:spPr>
              <a:xfrm>
                <a:off x="9145357" y="3590637"/>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45" name="Freeform: Shape 1323">
                <a:extLst>
                  <a:ext uri="{FF2B5EF4-FFF2-40B4-BE49-F238E27FC236}">
                    <a16:creationId xmlns:a16="http://schemas.microsoft.com/office/drawing/2014/main" id="{B9BC4B19-C3F1-B34A-9264-81D29388BA96}"/>
                  </a:ext>
                </a:extLst>
              </p:cNvPr>
              <p:cNvSpPr/>
              <p:nvPr/>
            </p:nvSpPr>
            <p:spPr>
              <a:xfrm>
                <a:off x="9145357" y="3654645"/>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173"/>
                      <a:pt x="9173" y="10782"/>
                      <a:pt x="7563" y="10782"/>
                    </a:cubicBez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46" name="Freeform: Shape 1324">
                <a:extLst>
                  <a:ext uri="{FF2B5EF4-FFF2-40B4-BE49-F238E27FC236}">
                    <a16:creationId xmlns:a16="http://schemas.microsoft.com/office/drawing/2014/main" id="{CF1D8925-D1B2-DE49-9915-5BEE0569DF15}"/>
                  </a:ext>
                </a:extLst>
              </p:cNvPr>
              <p:cNvSpPr/>
              <p:nvPr/>
            </p:nvSpPr>
            <p:spPr>
              <a:xfrm>
                <a:off x="9145357" y="3717738"/>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173"/>
                      <a:pt x="9173" y="10782"/>
                      <a:pt x="7563" y="10782"/>
                    </a:cubicBez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47" name="Freeform: Shape 1325">
                <a:extLst>
                  <a:ext uri="{FF2B5EF4-FFF2-40B4-BE49-F238E27FC236}">
                    <a16:creationId xmlns:a16="http://schemas.microsoft.com/office/drawing/2014/main" id="{118B462C-6FE1-1845-BF91-E7BBB4096EC5}"/>
                  </a:ext>
                </a:extLst>
              </p:cNvPr>
              <p:cNvSpPr/>
              <p:nvPr/>
            </p:nvSpPr>
            <p:spPr>
              <a:xfrm>
                <a:off x="9145357" y="3780833"/>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48" name="Freeform: Shape 1326">
                <a:extLst>
                  <a:ext uri="{FF2B5EF4-FFF2-40B4-BE49-F238E27FC236}">
                    <a16:creationId xmlns:a16="http://schemas.microsoft.com/office/drawing/2014/main" id="{37D2534F-AE36-8848-809B-4508856F5DBE}"/>
                  </a:ext>
                </a:extLst>
              </p:cNvPr>
              <p:cNvSpPr/>
              <p:nvPr/>
            </p:nvSpPr>
            <p:spPr>
              <a:xfrm>
                <a:off x="9145357" y="3843926"/>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grpSp>
        <p:grpSp>
          <p:nvGrpSpPr>
            <p:cNvPr id="723" name="Group 722">
              <a:extLst>
                <a:ext uri="{FF2B5EF4-FFF2-40B4-BE49-F238E27FC236}">
                  <a16:creationId xmlns:a16="http://schemas.microsoft.com/office/drawing/2014/main" id="{7B3BC54E-2046-1F48-A586-4D12886F2940}"/>
                </a:ext>
              </a:extLst>
            </p:cNvPr>
            <p:cNvGrpSpPr/>
            <p:nvPr/>
          </p:nvGrpSpPr>
          <p:grpSpPr>
            <a:xfrm>
              <a:off x="14184160" y="3439575"/>
              <a:ext cx="193015" cy="188521"/>
              <a:chOff x="8848997" y="6359275"/>
              <a:chExt cx="785468" cy="767180"/>
            </a:xfrm>
          </p:grpSpPr>
          <p:sp>
            <p:nvSpPr>
              <p:cNvPr id="724" name="Freeform: Shape 1302">
                <a:extLst>
                  <a:ext uri="{FF2B5EF4-FFF2-40B4-BE49-F238E27FC236}">
                    <a16:creationId xmlns:a16="http://schemas.microsoft.com/office/drawing/2014/main" id="{8B7C3BB1-AE3F-2A44-85AA-1EEAFE4D2DD3}"/>
                  </a:ext>
                </a:extLst>
              </p:cNvPr>
              <p:cNvSpPr/>
              <p:nvPr/>
            </p:nvSpPr>
            <p:spPr>
              <a:xfrm>
                <a:off x="8998045" y="6725948"/>
                <a:ext cx="265176" cy="27431"/>
              </a:xfrm>
              <a:custGeom>
                <a:avLst/>
                <a:gdLst>
                  <a:gd name="connsiteX0" fmla="*/ 4828 w 93334"/>
                  <a:gd name="connsiteY0" fmla="*/ 4828 h 9655"/>
                  <a:gd name="connsiteX1" fmla="*/ 91404 w 93334"/>
                  <a:gd name="connsiteY1" fmla="*/ 4828 h 9655"/>
                </a:gdLst>
                <a:ahLst/>
                <a:cxnLst>
                  <a:cxn ang="0">
                    <a:pos x="connsiteX0" y="connsiteY0"/>
                  </a:cxn>
                  <a:cxn ang="0">
                    <a:pos x="connsiteX1" y="connsiteY1"/>
                  </a:cxn>
                </a:cxnLst>
                <a:rect l="l" t="t" r="r" b="b"/>
                <a:pathLst>
                  <a:path w="93334" h="9655">
                    <a:moveTo>
                      <a:pt x="4828" y="4828"/>
                    </a:moveTo>
                    <a:lnTo>
                      <a:pt x="91404" y="4828"/>
                    </a:lnTo>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725" name="Freeform: Shape 1303">
                <a:extLst>
                  <a:ext uri="{FF2B5EF4-FFF2-40B4-BE49-F238E27FC236}">
                    <a16:creationId xmlns:a16="http://schemas.microsoft.com/office/drawing/2014/main" id="{C710D795-B5E0-874D-A005-D686E7A8CD3B}"/>
                  </a:ext>
                </a:extLst>
              </p:cNvPr>
              <p:cNvSpPr/>
              <p:nvPr/>
            </p:nvSpPr>
            <p:spPr>
              <a:xfrm>
                <a:off x="8951411" y="6639080"/>
                <a:ext cx="182880" cy="27431"/>
              </a:xfrm>
              <a:custGeom>
                <a:avLst/>
                <a:gdLst>
                  <a:gd name="connsiteX0" fmla="*/ 4828 w 64368"/>
                  <a:gd name="connsiteY0" fmla="*/ 4828 h 9655"/>
                  <a:gd name="connsiteX1" fmla="*/ 62116 w 64368"/>
                  <a:gd name="connsiteY1" fmla="*/ 4828 h 9655"/>
                </a:gdLst>
                <a:ahLst/>
                <a:cxnLst>
                  <a:cxn ang="0">
                    <a:pos x="connsiteX0" y="connsiteY0"/>
                  </a:cxn>
                  <a:cxn ang="0">
                    <a:pos x="connsiteX1" y="connsiteY1"/>
                  </a:cxn>
                </a:cxnLst>
                <a:rect l="l" t="t" r="r" b="b"/>
                <a:pathLst>
                  <a:path w="64368" h="9655">
                    <a:moveTo>
                      <a:pt x="4828" y="4828"/>
                    </a:moveTo>
                    <a:lnTo>
                      <a:pt x="62116" y="4828"/>
                    </a:lnTo>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726" name="Freeform: Shape 1304">
                <a:extLst>
                  <a:ext uri="{FF2B5EF4-FFF2-40B4-BE49-F238E27FC236}">
                    <a16:creationId xmlns:a16="http://schemas.microsoft.com/office/drawing/2014/main" id="{3E6BF537-1614-2F49-A92F-171F3A44367B}"/>
                  </a:ext>
                </a:extLst>
              </p:cNvPr>
              <p:cNvSpPr/>
              <p:nvPr/>
            </p:nvSpPr>
            <p:spPr>
              <a:xfrm>
                <a:off x="9150750" y="6639080"/>
                <a:ext cx="91439" cy="27431"/>
              </a:xfrm>
              <a:custGeom>
                <a:avLst/>
                <a:gdLst>
                  <a:gd name="connsiteX0" fmla="*/ 4828 w 32184"/>
                  <a:gd name="connsiteY0" fmla="*/ 4828 h 9655"/>
                  <a:gd name="connsiteX1" fmla="*/ 29288 w 32184"/>
                  <a:gd name="connsiteY1" fmla="*/ 4828 h 9655"/>
                </a:gdLst>
                <a:ahLst/>
                <a:cxnLst>
                  <a:cxn ang="0">
                    <a:pos x="connsiteX0" y="connsiteY0"/>
                  </a:cxn>
                  <a:cxn ang="0">
                    <a:pos x="connsiteX1" y="connsiteY1"/>
                  </a:cxn>
                </a:cxnLst>
                <a:rect l="l" t="t" r="r" b="b"/>
                <a:pathLst>
                  <a:path w="32184" h="9655">
                    <a:moveTo>
                      <a:pt x="4828" y="4828"/>
                    </a:moveTo>
                    <a:lnTo>
                      <a:pt x="29288" y="4828"/>
                    </a:lnTo>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727" name="Freeform: Shape 1305">
                <a:extLst>
                  <a:ext uri="{FF2B5EF4-FFF2-40B4-BE49-F238E27FC236}">
                    <a16:creationId xmlns:a16="http://schemas.microsoft.com/office/drawing/2014/main" id="{26A6ADFD-4E25-154A-90DE-A4F63948FA38}"/>
                  </a:ext>
                </a:extLst>
              </p:cNvPr>
              <p:cNvSpPr/>
              <p:nvPr/>
            </p:nvSpPr>
            <p:spPr>
              <a:xfrm>
                <a:off x="9056566" y="6553128"/>
                <a:ext cx="256031" cy="27431"/>
              </a:xfrm>
              <a:custGeom>
                <a:avLst/>
                <a:gdLst>
                  <a:gd name="connsiteX0" fmla="*/ 4828 w 90116"/>
                  <a:gd name="connsiteY0" fmla="*/ 4828 h 9655"/>
                  <a:gd name="connsiteX1" fmla="*/ 86898 w 90116"/>
                  <a:gd name="connsiteY1" fmla="*/ 4828 h 9655"/>
                </a:gdLst>
                <a:ahLst/>
                <a:cxnLst>
                  <a:cxn ang="0">
                    <a:pos x="connsiteX0" y="connsiteY0"/>
                  </a:cxn>
                  <a:cxn ang="0">
                    <a:pos x="connsiteX1" y="connsiteY1"/>
                  </a:cxn>
                </a:cxnLst>
                <a:rect l="l" t="t" r="r" b="b"/>
                <a:pathLst>
                  <a:path w="90116" h="9655">
                    <a:moveTo>
                      <a:pt x="4828" y="4828"/>
                    </a:moveTo>
                    <a:lnTo>
                      <a:pt x="86898" y="4828"/>
                    </a:lnTo>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728" name="Freeform: Shape 1306">
                <a:extLst>
                  <a:ext uri="{FF2B5EF4-FFF2-40B4-BE49-F238E27FC236}">
                    <a16:creationId xmlns:a16="http://schemas.microsoft.com/office/drawing/2014/main" id="{343F44DC-1813-9D4E-BA39-74B433831701}"/>
                  </a:ext>
                </a:extLst>
              </p:cNvPr>
              <p:cNvSpPr/>
              <p:nvPr/>
            </p:nvSpPr>
            <p:spPr>
              <a:xfrm>
                <a:off x="8848997" y="6359275"/>
                <a:ext cx="585214" cy="576072"/>
              </a:xfrm>
              <a:custGeom>
                <a:avLst/>
                <a:gdLst>
                  <a:gd name="connsiteX0" fmla="*/ 201153 w 205980"/>
                  <a:gd name="connsiteY0" fmla="*/ 102990 h 202762"/>
                  <a:gd name="connsiteX1" fmla="*/ 102990 w 205980"/>
                  <a:gd name="connsiteY1" fmla="*/ 201153 h 202762"/>
                  <a:gd name="connsiteX2" fmla="*/ 4828 w 205980"/>
                  <a:gd name="connsiteY2" fmla="*/ 102990 h 202762"/>
                  <a:gd name="connsiteX3" fmla="*/ 102990 w 205980"/>
                  <a:gd name="connsiteY3" fmla="*/ 4828 h 202762"/>
                  <a:gd name="connsiteX4" fmla="*/ 201153 w 205980"/>
                  <a:gd name="connsiteY4" fmla="*/ 102990 h 202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80" h="202762">
                    <a:moveTo>
                      <a:pt x="201153" y="102990"/>
                    </a:moveTo>
                    <a:cubicBezTo>
                      <a:pt x="201153" y="157204"/>
                      <a:pt x="157204" y="201153"/>
                      <a:pt x="102990" y="201153"/>
                    </a:cubicBezTo>
                    <a:cubicBezTo>
                      <a:pt x="48777" y="201153"/>
                      <a:pt x="4828" y="157204"/>
                      <a:pt x="4828" y="102990"/>
                    </a:cubicBezTo>
                    <a:cubicBezTo>
                      <a:pt x="4828" y="48777"/>
                      <a:pt x="48777" y="4828"/>
                      <a:pt x="102990" y="4828"/>
                    </a:cubicBezTo>
                    <a:cubicBezTo>
                      <a:pt x="157204" y="4828"/>
                      <a:pt x="201153" y="48777"/>
                      <a:pt x="201153" y="102990"/>
                    </a:cubicBez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729" name="Freeform: Shape 1307">
                <a:extLst>
                  <a:ext uri="{FF2B5EF4-FFF2-40B4-BE49-F238E27FC236}">
                    <a16:creationId xmlns:a16="http://schemas.microsoft.com/office/drawing/2014/main" id="{C640428B-9E98-1C41-9C54-A2B8104D0252}"/>
                  </a:ext>
                </a:extLst>
              </p:cNvPr>
              <p:cNvSpPr/>
              <p:nvPr/>
            </p:nvSpPr>
            <p:spPr>
              <a:xfrm>
                <a:off x="9277850" y="6769840"/>
                <a:ext cx="356615" cy="356615"/>
              </a:xfrm>
              <a:custGeom>
                <a:avLst/>
                <a:gdLst>
                  <a:gd name="connsiteX0" fmla="*/ 39909 w 125519"/>
                  <a:gd name="connsiteY0" fmla="*/ 4828 h 125519"/>
                  <a:gd name="connsiteX1" fmla="*/ 114255 w 125519"/>
                  <a:gd name="connsiteY1" fmla="*/ 79496 h 125519"/>
                  <a:gd name="connsiteX2" fmla="*/ 113611 w 125519"/>
                  <a:gd name="connsiteY2" fmla="*/ 114898 h 125519"/>
                  <a:gd name="connsiteX3" fmla="*/ 113611 w 125519"/>
                  <a:gd name="connsiteY3" fmla="*/ 114898 h 125519"/>
                  <a:gd name="connsiteX4" fmla="*/ 78208 w 125519"/>
                  <a:gd name="connsiteY4" fmla="*/ 115542 h 125519"/>
                  <a:gd name="connsiteX5" fmla="*/ 4828 w 125519"/>
                  <a:gd name="connsiteY5" fmla="*/ 42162 h 12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19" h="125519">
                    <a:moveTo>
                      <a:pt x="39909" y="4828"/>
                    </a:moveTo>
                    <a:lnTo>
                      <a:pt x="114255" y="79496"/>
                    </a:lnTo>
                    <a:cubicBezTo>
                      <a:pt x="123910" y="89151"/>
                      <a:pt x="123588" y="104921"/>
                      <a:pt x="113611" y="114898"/>
                    </a:cubicBezTo>
                    <a:lnTo>
                      <a:pt x="113611" y="114898"/>
                    </a:lnTo>
                    <a:cubicBezTo>
                      <a:pt x="103634" y="124876"/>
                      <a:pt x="87864" y="125197"/>
                      <a:pt x="78208" y="115542"/>
                    </a:cubicBezTo>
                    <a:lnTo>
                      <a:pt x="4828" y="42162"/>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grpSp>
      </p:grpSp>
      <p:grpSp>
        <p:nvGrpSpPr>
          <p:cNvPr id="761" name="Group 760">
            <a:extLst>
              <a:ext uri="{FF2B5EF4-FFF2-40B4-BE49-F238E27FC236}">
                <a16:creationId xmlns:a16="http://schemas.microsoft.com/office/drawing/2014/main" id="{6DE714A1-B90A-EA40-8F08-ABA42DC7E9F7}"/>
              </a:ext>
            </a:extLst>
          </p:cNvPr>
          <p:cNvGrpSpPr/>
          <p:nvPr/>
        </p:nvGrpSpPr>
        <p:grpSpPr>
          <a:xfrm>
            <a:off x="12860028" y="3258306"/>
            <a:ext cx="462784" cy="356616"/>
            <a:chOff x="13914391" y="3271480"/>
            <a:chExt cx="462784" cy="356616"/>
          </a:xfrm>
        </p:grpSpPr>
        <p:grpSp>
          <p:nvGrpSpPr>
            <p:cNvPr id="762" name="Group 761">
              <a:extLst>
                <a:ext uri="{FF2B5EF4-FFF2-40B4-BE49-F238E27FC236}">
                  <a16:creationId xmlns:a16="http://schemas.microsoft.com/office/drawing/2014/main" id="{9A8DA376-536B-7648-83F9-7FE27A6AB4C0}"/>
                </a:ext>
              </a:extLst>
            </p:cNvPr>
            <p:cNvGrpSpPr/>
            <p:nvPr/>
          </p:nvGrpSpPr>
          <p:grpSpPr>
            <a:xfrm>
              <a:off x="13914391" y="3271480"/>
              <a:ext cx="334784" cy="292114"/>
              <a:chOff x="8648967" y="2983833"/>
              <a:chExt cx="1285975" cy="1122070"/>
            </a:xfrm>
          </p:grpSpPr>
          <p:sp>
            <p:nvSpPr>
              <p:cNvPr id="1016" name="Freeform: Shape 1327">
                <a:extLst>
                  <a:ext uri="{FF2B5EF4-FFF2-40B4-BE49-F238E27FC236}">
                    <a16:creationId xmlns:a16="http://schemas.microsoft.com/office/drawing/2014/main" id="{237C4F38-18DC-1649-98B5-DA1415610CDC}"/>
                  </a:ext>
                </a:extLst>
              </p:cNvPr>
              <p:cNvSpPr/>
              <p:nvPr/>
            </p:nvSpPr>
            <p:spPr>
              <a:xfrm>
                <a:off x="9051631" y="3389926"/>
                <a:ext cx="822960" cy="576072"/>
              </a:xfrm>
              <a:custGeom>
                <a:avLst/>
                <a:gdLst>
                  <a:gd name="connsiteX0" fmla="*/ 288051 w 289660"/>
                  <a:gd name="connsiteY0" fmla="*/ 93657 h 202762"/>
                  <a:gd name="connsiteX1" fmla="*/ 288051 w 289660"/>
                  <a:gd name="connsiteY1" fmla="*/ 12552 h 202762"/>
                  <a:gd name="connsiteX2" fmla="*/ 280327 w 289660"/>
                  <a:gd name="connsiteY2" fmla="*/ 4828 h 202762"/>
                  <a:gd name="connsiteX3" fmla="*/ 12552 w 289660"/>
                  <a:gd name="connsiteY3" fmla="*/ 4828 h 202762"/>
                  <a:gd name="connsiteX4" fmla="*/ 4828 w 289660"/>
                  <a:gd name="connsiteY4" fmla="*/ 12552 h 202762"/>
                  <a:gd name="connsiteX5" fmla="*/ 4828 w 289660"/>
                  <a:gd name="connsiteY5" fmla="*/ 190854 h 202762"/>
                  <a:gd name="connsiteX6" fmla="*/ 12552 w 289660"/>
                  <a:gd name="connsiteY6" fmla="*/ 198578 h 202762"/>
                  <a:gd name="connsiteX7" fmla="*/ 225613 w 289660"/>
                  <a:gd name="connsiteY7" fmla="*/ 198578 h 20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660" h="202762">
                    <a:moveTo>
                      <a:pt x="288051" y="93657"/>
                    </a:moveTo>
                    <a:lnTo>
                      <a:pt x="288051" y="12552"/>
                    </a:lnTo>
                    <a:cubicBezTo>
                      <a:pt x="288051" y="8046"/>
                      <a:pt x="284511" y="4828"/>
                      <a:pt x="280327" y="4828"/>
                    </a:cubicBezTo>
                    <a:lnTo>
                      <a:pt x="12552" y="4828"/>
                    </a:lnTo>
                    <a:cubicBezTo>
                      <a:pt x="8046" y="4828"/>
                      <a:pt x="4828" y="8368"/>
                      <a:pt x="4828" y="12552"/>
                    </a:cubicBezTo>
                    <a:lnTo>
                      <a:pt x="4828" y="190854"/>
                    </a:lnTo>
                    <a:cubicBezTo>
                      <a:pt x="4828" y="195360"/>
                      <a:pt x="8368" y="198578"/>
                      <a:pt x="12552" y="198578"/>
                    </a:cubicBezTo>
                    <a:lnTo>
                      <a:pt x="225613" y="198578"/>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017" name="Freeform: Shape 1328">
                <a:extLst>
                  <a:ext uri="{FF2B5EF4-FFF2-40B4-BE49-F238E27FC236}">
                    <a16:creationId xmlns:a16="http://schemas.microsoft.com/office/drawing/2014/main" id="{D9EDAD6B-EDC2-C240-B073-2CD286D8B92F}"/>
                  </a:ext>
                </a:extLst>
              </p:cNvPr>
              <p:cNvSpPr/>
              <p:nvPr/>
            </p:nvSpPr>
            <p:spPr>
              <a:xfrm>
                <a:off x="8896185" y="4005319"/>
                <a:ext cx="841248" cy="100584"/>
              </a:xfrm>
              <a:custGeom>
                <a:avLst/>
                <a:gdLst>
                  <a:gd name="connsiteX0" fmla="*/ 291913 w 296096"/>
                  <a:gd name="connsiteY0" fmla="*/ 33472 h 35402"/>
                  <a:gd name="connsiteX1" fmla="*/ 28000 w 296096"/>
                  <a:gd name="connsiteY1" fmla="*/ 33472 h 35402"/>
                  <a:gd name="connsiteX2" fmla="*/ 4828 w 296096"/>
                  <a:gd name="connsiteY2" fmla="*/ 23495 h 35402"/>
                  <a:gd name="connsiteX3" fmla="*/ 4828 w 296096"/>
                  <a:gd name="connsiteY3" fmla="*/ 4828 h 35402"/>
                  <a:gd name="connsiteX4" fmla="*/ 42483 w 296096"/>
                  <a:gd name="connsiteY4" fmla="*/ 4828 h 35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96" h="35402">
                    <a:moveTo>
                      <a:pt x="291913" y="33472"/>
                    </a:moveTo>
                    <a:lnTo>
                      <a:pt x="28000" y="33472"/>
                    </a:lnTo>
                    <a:cubicBezTo>
                      <a:pt x="28000" y="33472"/>
                      <a:pt x="11265" y="33472"/>
                      <a:pt x="4828" y="23495"/>
                    </a:cubicBezTo>
                    <a:lnTo>
                      <a:pt x="4828" y="4828"/>
                    </a:lnTo>
                    <a:lnTo>
                      <a:pt x="42483" y="4828"/>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018" name="Freeform: Shape 1329">
                <a:extLst>
                  <a:ext uri="{FF2B5EF4-FFF2-40B4-BE49-F238E27FC236}">
                    <a16:creationId xmlns:a16="http://schemas.microsoft.com/office/drawing/2014/main" id="{70F46895-FB37-4C4F-BC38-FA04E9302BD0}"/>
                  </a:ext>
                </a:extLst>
              </p:cNvPr>
              <p:cNvSpPr/>
              <p:nvPr/>
            </p:nvSpPr>
            <p:spPr>
              <a:xfrm>
                <a:off x="8993109" y="3337806"/>
                <a:ext cx="941833" cy="685799"/>
              </a:xfrm>
              <a:custGeom>
                <a:avLst/>
                <a:gdLst>
                  <a:gd name="connsiteX0" fmla="*/ 327638 w 331499"/>
                  <a:gd name="connsiteY0" fmla="*/ 93335 h 241383"/>
                  <a:gd name="connsiteX1" fmla="*/ 327638 w 331499"/>
                  <a:gd name="connsiteY1" fmla="*/ 12552 h 241383"/>
                  <a:gd name="connsiteX2" fmla="*/ 319913 w 331499"/>
                  <a:gd name="connsiteY2" fmla="*/ 4828 h 241383"/>
                  <a:gd name="connsiteX3" fmla="*/ 12552 w 331499"/>
                  <a:gd name="connsiteY3" fmla="*/ 4828 h 241383"/>
                  <a:gd name="connsiteX4" fmla="*/ 4828 w 331499"/>
                  <a:gd name="connsiteY4" fmla="*/ 12552 h 241383"/>
                  <a:gd name="connsiteX5" fmla="*/ 4828 w 331499"/>
                  <a:gd name="connsiteY5" fmla="*/ 232050 h 241383"/>
                  <a:gd name="connsiteX6" fmla="*/ 12552 w 331499"/>
                  <a:gd name="connsiteY6" fmla="*/ 239774 h 241383"/>
                  <a:gd name="connsiteX7" fmla="*/ 255223 w 331499"/>
                  <a:gd name="connsiteY7" fmla="*/ 239774 h 241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1499" h="241383">
                    <a:moveTo>
                      <a:pt x="327638" y="93335"/>
                    </a:moveTo>
                    <a:lnTo>
                      <a:pt x="327638" y="12552"/>
                    </a:lnTo>
                    <a:cubicBezTo>
                      <a:pt x="327638" y="8046"/>
                      <a:pt x="324097" y="4828"/>
                      <a:pt x="319913" y="4828"/>
                    </a:cubicBezTo>
                    <a:lnTo>
                      <a:pt x="12552" y="4828"/>
                    </a:lnTo>
                    <a:cubicBezTo>
                      <a:pt x="8046" y="4828"/>
                      <a:pt x="4828" y="8368"/>
                      <a:pt x="4828" y="12552"/>
                    </a:cubicBezTo>
                    <a:lnTo>
                      <a:pt x="4828" y="232050"/>
                    </a:lnTo>
                    <a:cubicBezTo>
                      <a:pt x="4828" y="236556"/>
                      <a:pt x="8368" y="239774"/>
                      <a:pt x="12552" y="239774"/>
                    </a:cubicBezTo>
                    <a:lnTo>
                      <a:pt x="255223" y="239774"/>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019" name="Freeform: Shape 1330">
                <a:extLst>
                  <a:ext uri="{FF2B5EF4-FFF2-40B4-BE49-F238E27FC236}">
                    <a16:creationId xmlns:a16="http://schemas.microsoft.com/office/drawing/2014/main" id="{C3773AB4-61C4-264E-979E-68AA427D65F3}"/>
                  </a:ext>
                </a:extLst>
              </p:cNvPr>
              <p:cNvSpPr/>
              <p:nvPr/>
            </p:nvSpPr>
            <p:spPr>
              <a:xfrm>
                <a:off x="9042974" y="3275721"/>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020" name="Freeform: Shape 1331">
                <a:extLst>
                  <a:ext uri="{FF2B5EF4-FFF2-40B4-BE49-F238E27FC236}">
                    <a16:creationId xmlns:a16="http://schemas.microsoft.com/office/drawing/2014/main" id="{C3A9780A-5E18-3841-A4AE-A7C24AB82491}"/>
                  </a:ext>
                </a:extLst>
              </p:cNvPr>
              <p:cNvSpPr/>
              <p:nvPr/>
            </p:nvSpPr>
            <p:spPr>
              <a:xfrm>
                <a:off x="8961937" y="3162673"/>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021" name="Freeform: Shape 1332">
                <a:extLst>
                  <a:ext uri="{FF2B5EF4-FFF2-40B4-BE49-F238E27FC236}">
                    <a16:creationId xmlns:a16="http://schemas.microsoft.com/office/drawing/2014/main" id="{CE3CC4C5-3664-E749-B3D9-AD26EF4B1C42}"/>
                  </a:ext>
                </a:extLst>
              </p:cNvPr>
              <p:cNvSpPr/>
              <p:nvPr/>
            </p:nvSpPr>
            <p:spPr>
              <a:xfrm>
                <a:off x="9074170" y="3039948"/>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022" name="Freeform: Shape 1333">
                <a:extLst>
                  <a:ext uri="{FF2B5EF4-FFF2-40B4-BE49-F238E27FC236}">
                    <a16:creationId xmlns:a16="http://schemas.microsoft.com/office/drawing/2014/main" id="{C88D6198-1C2C-FE47-B9C1-AD6A31FE45D7}"/>
                  </a:ext>
                </a:extLst>
              </p:cNvPr>
              <p:cNvSpPr/>
              <p:nvPr/>
            </p:nvSpPr>
            <p:spPr>
              <a:xfrm>
                <a:off x="8648967" y="2983833"/>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023" name="Freeform: Shape 1334">
                <a:extLst>
                  <a:ext uri="{FF2B5EF4-FFF2-40B4-BE49-F238E27FC236}">
                    <a16:creationId xmlns:a16="http://schemas.microsoft.com/office/drawing/2014/main" id="{A12720DB-5CD5-3444-81EF-A1E249FAE195}"/>
                  </a:ext>
                </a:extLst>
              </p:cNvPr>
              <p:cNvSpPr/>
              <p:nvPr/>
            </p:nvSpPr>
            <p:spPr>
              <a:xfrm>
                <a:off x="9164560" y="3227184"/>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024" name="Freeform: Shape 1335">
                <a:extLst>
                  <a:ext uri="{FF2B5EF4-FFF2-40B4-BE49-F238E27FC236}">
                    <a16:creationId xmlns:a16="http://schemas.microsoft.com/office/drawing/2014/main" id="{399202F9-D213-9544-9395-5770D52F97C8}"/>
                  </a:ext>
                </a:extLst>
              </p:cNvPr>
              <p:cNvSpPr/>
              <p:nvPr/>
            </p:nvSpPr>
            <p:spPr>
              <a:xfrm>
                <a:off x="8885650" y="3287035"/>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025" name="Freeform: Shape 1336">
                <a:extLst>
                  <a:ext uri="{FF2B5EF4-FFF2-40B4-BE49-F238E27FC236}">
                    <a16:creationId xmlns:a16="http://schemas.microsoft.com/office/drawing/2014/main" id="{09D904E0-4339-304D-9ED2-61EA861988CB}"/>
                  </a:ext>
                </a:extLst>
              </p:cNvPr>
              <p:cNvSpPr/>
              <p:nvPr/>
            </p:nvSpPr>
            <p:spPr>
              <a:xfrm>
                <a:off x="8867336" y="3474179"/>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026" name="Freeform: Shape 1337">
                <a:extLst>
                  <a:ext uri="{FF2B5EF4-FFF2-40B4-BE49-F238E27FC236}">
                    <a16:creationId xmlns:a16="http://schemas.microsoft.com/office/drawing/2014/main" id="{B285F500-AF57-BE48-B47A-2E2400588F4F}"/>
                  </a:ext>
                </a:extLst>
              </p:cNvPr>
              <p:cNvSpPr/>
              <p:nvPr/>
            </p:nvSpPr>
            <p:spPr>
              <a:xfrm>
                <a:off x="8743699" y="3361947"/>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1027" name="Freeform: Shape 1338">
                <a:extLst>
                  <a:ext uri="{FF2B5EF4-FFF2-40B4-BE49-F238E27FC236}">
                    <a16:creationId xmlns:a16="http://schemas.microsoft.com/office/drawing/2014/main" id="{2DFA53FC-E067-7641-BE60-C05ED8C6DCCD}"/>
                  </a:ext>
                </a:extLst>
              </p:cNvPr>
              <p:cNvSpPr/>
              <p:nvPr/>
            </p:nvSpPr>
            <p:spPr>
              <a:xfrm>
                <a:off x="8809425" y="3151601"/>
                <a:ext cx="82296" cy="82296"/>
              </a:xfrm>
              <a:custGeom>
                <a:avLst/>
                <a:gdLst>
                  <a:gd name="connsiteX0" fmla="*/ 25104 w 28966"/>
                  <a:gd name="connsiteY0" fmla="*/ 25104 h 28966"/>
                  <a:gd name="connsiteX1" fmla="*/ 4828 w 28966"/>
                  <a:gd name="connsiteY1" fmla="*/ 25104 h 28966"/>
                  <a:gd name="connsiteX2" fmla="*/ 4828 w 28966"/>
                  <a:gd name="connsiteY2" fmla="*/ 4828 h 28966"/>
                  <a:gd name="connsiteX3" fmla="*/ 25104 w 28966"/>
                  <a:gd name="connsiteY3" fmla="*/ 4828 h 28966"/>
                </a:gdLst>
                <a:ahLst/>
                <a:cxnLst>
                  <a:cxn ang="0">
                    <a:pos x="connsiteX0" y="connsiteY0"/>
                  </a:cxn>
                  <a:cxn ang="0">
                    <a:pos x="connsiteX1" y="connsiteY1"/>
                  </a:cxn>
                  <a:cxn ang="0">
                    <a:pos x="connsiteX2" y="connsiteY2"/>
                  </a:cxn>
                  <a:cxn ang="0">
                    <a:pos x="connsiteX3" y="connsiteY3"/>
                  </a:cxn>
                </a:cxnLst>
                <a:rect l="l" t="t" r="r" b="b"/>
                <a:pathLst>
                  <a:path w="28966" h="28966">
                    <a:moveTo>
                      <a:pt x="25104" y="25104"/>
                    </a:moveTo>
                    <a:lnTo>
                      <a:pt x="4828" y="25104"/>
                    </a:lnTo>
                    <a:lnTo>
                      <a:pt x="4828" y="4828"/>
                    </a:lnTo>
                    <a:lnTo>
                      <a:pt x="25104" y="4828"/>
                    </a:ln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grpSp>
        <p:grpSp>
          <p:nvGrpSpPr>
            <p:cNvPr id="763" name="Group 762">
              <a:extLst>
                <a:ext uri="{FF2B5EF4-FFF2-40B4-BE49-F238E27FC236}">
                  <a16:creationId xmlns:a16="http://schemas.microsoft.com/office/drawing/2014/main" id="{73B71D38-04EC-AF47-B432-E3E9E1E7C69B}"/>
                </a:ext>
              </a:extLst>
            </p:cNvPr>
            <p:cNvGrpSpPr/>
            <p:nvPr/>
          </p:nvGrpSpPr>
          <p:grpSpPr>
            <a:xfrm>
              <a:off x="14043618" y="3396602"/>
              <a:ext cx="167758" cy="108313"/>
              <a:chOff x="9145357" y="3464451"/>
              <a:chExt cx="644395" cy="416052"/>
            </a:xfrm>
          </p:grpSpPr>
          <p:sp>
            <p:nvSpPr>
              <p:cNvPr id="771" name="Freeform: Shape 1308">
                <a:extLst>
                  <a:ext uri="{FF2B5EF4-FFF2-40B4-BE49-F238E27FC236}">
                    <a16:creationId xmlns:a16="http://schemas.microsoft.com/office/drawing/2014/main" id="{B764D0B5-903B-BE45-AA31-E07331181C45}"/>
                  </a:ext>
                </a:extLst>
              </p:cNvPr>
              <p:cNvSpPr/>
              <p:nvPr/>
            </p:nvSpPr>
            <p:spPr>
              <a:xfrm>
                <a:off x="9222167" y="3515657"/>
                <a:ext cx="228600" cy="27431"/>
              </a:xfrm>
              <a:custGeom>
                <a:avLst/>
                <a:gdLst>
                  <a:gd name="connsiteX0" fmla="*/ 2414 w 80461"/>
                  <a:gd name="connsiteY0" fmla="*/ 2414 h 9655"/>
                  <a:gd name="connsiteX1" fmla="*/ 78691 w 80461"/>
                  <a:gd name="connsiteY1" fmla="*/ 2414 h 9655"/>
                  <a:gd name="connsiteX2" fmla="*/ 78691 w 80461"/>
                  <a:gd name="connsiteY2" fmla="*/ 8207 h 9655"/>
                  <a:gd name="connsiteX3" fmla="*/ 2414 w 80461"/>
                  <a:gd name="connsiteY3" fmla="*/ 8207 h 9655"/>
                </a:gdLst>
                <a:ahLst/>
                <a:cxnLst>
                  <a:cxn ang="0">
                    <a:pos x="connsiteX0" y="connsiteY0"/>
                  </a:cxn>
                  <a:cxn ang="0">
                    <a:pos x="connsiteX1" y="connsiteY1"/>
                  </a:cxn>
                  <a:cxn ang="0">
                    <a:pos x="connsiteX2" y="connsiteY2"/>
                  </a:cxn>
                  <a:cxn ang="0">
                    <a:pos x="connsiteX3" y="connsiteY3"/>
                  </a:cxn>
                </a:cxnLst>
                <a:rect l="l" t="t" r="r" b="b"/>
                <a:pathLst>
                  <a:path w="80461" h="9655">
                    <a:moveTo>
                      <a:pt x="2414" y="2414"/>
                    </a:moveTo>
                    <a:lnTo>
                      <a:pt x="78691" y="2414"/>
                    </a:lnTo>
                    <a:lnTo>
                      <a:pt x="78691" y="8207"/>
                    </a:lnTo>
                    <a:lnTo>
                      <a:pt x="2414" y="8207"/>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72" name="Freeform: Shape 1309">
                <a:extLst>
                  <a:ext uri="{FF2B5EF4-FFF2-40B4-BE49-F238E27FC236}">
                    <a16:creationId xmlns:a16="http://schemas.microsoft.com/office/drawing/2014/main" id="{7DD00A08-6565-A64F-A8FF-74BB67CEC1D2}"/>
                  </a:ext>
                </a:extLst>
              </p:cNvPr>
              <p:cNvSpPr/>
              <p:nvPr/>
            </p:nvSpPr>
            <p:spPr>
              <a:xfrm>
                <a:off x="9461847" y="3515086"/>
                <a:ext cx="164592" cy="27431"/>
              </a:xfrm>
              <a:custGeom>
                <a:avLst/>
                <a:gdLst>
                  <a:gd name="connsiteX0" fmla="*/ 57771 w 57932"/>
                  <a:gd name="connsiteY0" fmla="*/ 8207 h 9655"/>
                  <a:gd name="connsiteX1" fmla="*/ 2414 w 57932"/>
                  <a:gd name="connsiteY1" fmla="*/ 8207 h 9655"/>
                  <a:gd name="connsiteX2" fmla="*/ 2414 w 57932"/>
                  <a:gd name="connsiteY2" fmla="*/ 2414 h 9655"/>
                  <a:gd name="connsiteX3" fmla="*/ 57771 w 57932"/>
                  <a:gd name="connsiteY3" fmla="*/ 2414 h 9655"/>
                </a:gdLst>
                <a:ahLst/>
                <a:cxnLst>
                  <a:cxn ang="0">
                    <a:pos x="connsiteX0" y="connsiteY0"/>
                  </a:cxn>
                  <a:cxn ang="0">
                    <a:pos x="connsiteX1" y="connsiteY1"/>
                  </a:cxn>
                  <a:cxn ang="0">
                    <a:pos x="connsiteX2" y="connsiteY2"/>
                  </a:cxn>
                  <a:cxn ang="0">
                    <a:pos x="connsiteX3" y="connsiteY3"/>
                  </a:cxn>
                </a:cxnLst>
                <a:rect l="l" t="t" r="r" b="b"/>
                <a:pathLst>
                  <a:path w="57932" h="9655">
                    <a:moveTo>
                      <a:pt x="57771" y="8207"/>
                    </a:moveTo>
                    <a:lnTo>
                      <a:pt x="2414" y="8207"/>
                    </a:lnTo>
                    <a:lnTo>
                      <a:pt x="2414" y="2414"/>
                    </a:lnTo>
                    <a:lnTo>
                      <a:pt x="57771" y="2414"/>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73" name="Freeform: Shape 1310">
                <a:extLst>
                  <a:ext uri="{FF2B5EF4-FFF2-40B4-BE49-F238E27FC236}">
                    <a16:creationId xmlns:a16="http://schemas.microsoft.com/office/drawing/2014/main" id="{34484CDE-0D12-3A43-BB21-FD5355BCF02C}"/>
                  </a:ext>
                </a:extLst>
              </p:cNvPr>
              <p:cNvSpPr/>
              <p:nvPr/>
            </p:nvSpPr>
            <p:spPr>
              <a:xfrm>
                <a:off x="9278861" y="3589722"/>
                <a:ext cx="301753" cy="27431"/>
              </a:xfrm>
              <a:custGeom>
                <a:avLst/>
                <a:gdLst>
                  <a:gd name="connsiteX0" fmla="*/ 2414 w 106208"/>
                  <a:gd name="connsiteY0" fmla="*/ 2414 h 9655"/>
                  <a:gd name="connsiteX1" fmla="*/ 104760 w 106208"/>
                  <a:gd name="connsiteY1" fmla="*/ 2414 h 9655"/>
                  <a:gd name="connsiteX2" fmla="*/ 104760 w 106208"/>
                  <a:gd name="connsiteY2" fmla="*/ 8207 h 9655"/>
                  <a:gd name="connsiteX3" fmla="*/ 2414 w 106208"/>
                  <a:gd name="connsiteY3" fmla="*/ 8207 h 9655"/>
                </a:gdLst>
                <a:ahLst/>
                <a:cxnLst>
                  <a:cxn ang="0">
                    <a:pos x="connsiteX0" y="connsiteY0"/>
                  </a:cxn>
                  <a:cxn ang="0">
                    <a:pos x="connsiteX1" y="connsiteY1"/>
                  </a:cxn>
                  <a:cxn ang="0">
                    <a:pos x="connsiteX2" y="connsiteY2"/>
                  </a:cxn>
                  <a:cxn ang="0">
                    <a:pos x="connsiteX3" y="connsiteY3"/>
                  </a:cxn>
                </a:cxnLst>
                <a:rect l="l" t="t" r="r" b="b"/>
                <a:pathLst>
                  <a:path w="106208" h="9655">
                    <a:moveTo>
                      <a:pt x="2414" y="2414"/>
                    </a:moveTo>
                    <a:lnTo>
                      <a:pt x="104760" y="2414"/>
                    </a:lnTo>
                    <a:lnTo>
                      <a:pt x="104760" y="8207"/>
                    </a:lnTo>
                    <a:lnTo>
                      <a:pt x="2414" y="8207"/>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74" name="Freeform: Shape 1311">
                <a:extLst>
                  <a:ext uri="{FF2B5EF4-FFF2-40B4-BE49-F238E27FC236}">
                    <a16:creationId xmlns:a16="http://schemas.microsoft.com/office/drawing/2014/main" id="{E5221EE7-9596-1547-BF4B-EA62BF0E7C11}"/>
                  </a:ext>
                </a:extLst>
              </p:cNvPr>
              <p:cNvSpPr/>
              <p:nvPr/>
            </p:nvSpPr>
            <p:spPr>
              <a:xfrm>
                <a:off x="9689168" y="3590484"/>
                <a:ext cx="100584" cy="27431"/>
              </a:xfrm>
              <a:custGeom>
                <a:avLst/>
                <a:gdLst>
                  <a:gd name="connsiteX0" fmla="*/ 33955 w 35402"/>
                  <a:gd name="connsiteY0" fmla="*/ 8207 h 9655"/>
                  <a:gd name="connsiteX1" fmla="*/ 2414 w 35402"/>
                  <a:gd name="connsiteY1" fmla="*/ 8207 h 9655"/>
                  <a:gd name="connsiteX2" fmla="*/ 2414 w 35402"/>
                  <a:gd name="connsiteY2" fmla="*/ 2414 h 9655"/>
                  <a:gd name="connsiteX3" fmla="*/ 33955 w 35402"/>
                  <a:gd name="connsiteY3" fmla="*/ 2414 h 9655"/>
                </a:gdLst>
                <a:ahLst/>
                <a:cxnLst>
                  <a:cxn ang="0">
                    <a:pos x="connsiteX0" y="connsiteY0"/>
                  </a:cxn>
                  <a:cxn ang="0">
                    <a:pos x="connsiteX1" y="connsiteY1"/>
                  </a:cxn>
                  <a:cxn ang="0">
                    <a:pos x="connsiteX2" y="connsiteY2"/>
                  </a:cxn>
                  <a:cxn ang="0">
                    <a:pos x="connsiteX3" y="connsiteY3"/>
                  </a:cxn>
                </a:cxnLst>
                <a:rect l="l" t="t" r="r" b="b"/>
                <a:pathLst>
                  <a:path w="35402" h="9655">
                    <a:moveTo>
                      <a:pt x="33955" y="8207"/>
                    </a:moveTo>
                    <a:lnTo>
                      <a:pt x="2414" y="8207"/>
                    </a:lnTo>
                    <a:lnTo>
                      <a:pt x="2414" y="2414"/>
                    </a:lnTo>
                    <a:lnTo>
                      <a:pt x="33955" y="2414"/>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75" name="Freeform: Shape 1312">
                <a:extLst>
                  <a:ext uri="{FF2B5EF4-FFF2-40B4-BE49-F238E27FC236}">
                    <a16:creationId xmlns:a16="http://schemas.microsoft.com/office/drawing/2014/main" id="{07EB8EB3-750E-9945-AFD0-BCA047C0BFDF}"/>
                  </a:ext>
                </a:extLst>
              </p:cNvPr>
              <p:cNvSpPr/>
              <p:nvPr/>
            </p:nvSpPr>
            <p:spPr>
              <a:xfrm>
                <a:off x="9582441" y="3589722"/>
                <a:ext cx="100584" cy="27431"/>
              </a:xfrm>
              <a:custGeom>
                <a:avLst/>
                <a:gdLst>
                  <a:gd name="connsiteX0" fmla="*/ 2414 w 35402"/>
                  <a:gd name="connsiteY0" fmla="*/ 2414 h 9655"/>
                  <a:gd name="connsiteX1" fmla="*/ 34598 w 35402"/>
                  <a:gd name="connsiteY1" fmla="*/ 2414 h 9655"/>
                  <a:gd name="connsiteX2" fmla="*/ 34598 w 35402"/>
                  <a:gd name="connsiteY2" fmla="*/ 8207 h 9655"/>
                  <a:gd name="connsiteX3" fmla="*/ 2414 w 35402"/>
                  <a:gd name="connsiteY3" fmla="*/ 8207 h 9655"/>
                </a:gdLst>
                <a:ahLst/>
                <a:cxnLst>
                  <a:cxn ang="0">
                    <a:pos x="connsiteX0" y="connsiteY0"/>
                  </a:cxn>
                  <a:cxn ang="0">
                    <a:pos x="connsiteX1" y="connsiteY1"/>
                  </a:cxn>
                  <a:cxn ang="0">
                    <a:pos x="connsiteX2" y="connsiteY2"/>
                  </a:cxn>
                  <a:cxn ang="0">
                    <a:pos x="connsiteX3" y="connsiteY3"/>
                  </a:cxn>
                </a:cxnLst>
                <a:rect l="l" t="t" r="r" b="b"/>
                <a:pathLst>
                  <a:path w="35402" h="9655">
                    <a:moveTo>
                      <a:pt x="2414" y="2414"/>
                    </a:moveTo>
                    <a:lnTo>
                      <a:pt x="34598" y="2414"/>
                    </a:lnTo>
                    <a:lnTo>
                      <a:pt x="34598" y="8207"/>
                    </a:lnTo>
                    <a:lnTo>
                      <a:pt x="2414" y="8207"/>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76" name="Freeform: Shape 1313">
                <a:extLst>
                  <a:ext uri="{FF2B5EF4-FFF2-40B4-BE49-F238E27FC236}">
                    <a16:creationId xmlns:a16="http://schemas.microsoft.com/office/drawing/2014/main" id="{C2DAEFCC-2B65-404B-9C1A-954007F3CFAB}"/>
                  </a:ext>
                </a:extLst>
              </p:cNvPr>
              <p:cNvSpPr/>
              <p:nvPr/>
            </p:nvSpPr>
            <p:spPr>
              <a:xfrm>
                <a:off x="9375786" y="3664702"/>
                <a:ext cx="265176" cy="27431"/>
              </a:xfrm>
              <a:custGeom>
                <a:avLst/>
                <a:gdLst>
                  <a:gd name="connsiteX0" fmla="*/ 2414 w 93334"/>
                  <a:gd name="connsiteY0" fmla="*/ 2414 h 9655"/>
                  <a:gd name="connsiteX1" fmla="*/ 92208 w 93334"/>
                  <a:gd name="connsiteY1" fmla="*/ 2414 h 9655"/>
                  <a:gd name="connsiteX2" fmla="*/ 92208 w 93334"/>
                  <a:gd name="connsiteY2" fmla="*/ 8207 h 9655"/>
                  <a:gd name="connsiteX3" fmla="*/ 2414 w 93334"/>
                  <a:gd name="connsiteY3" fmla="*/ 8207 h 9655"/>
                </a:gdLst>
                <a:ahLst/>
                <a:cxnLst>
                  <a:cxn ang="0">
                    <a:pos x="connsiteX0" y="connsiteY0"/>
                  </a:cxn>
                  <a:cxn ang="0">
                    <a:pos x="connsiteX1" y="connsiteY1"/>
                  </a:cxn>
                  <a:cxn ang="0">
                    <a:pos x="connsiteX2" y="connsiteY2"/>
                  </a:cxn>
                  <a:cxn ang="0">
                    <a:pos x="connsiteX3" y="connsiteY3"/>
                  </a:cxn>
                </a:cxnLst>
                <a:rect l="l" t="t" r="r" b="b"/>
                <a:pathLst>
                  <a:path w="93334" h="9655">
                    <a:moveTo>
                      <a:pt x="2414" y="2414"/>
                    </a:moveTo>
                    <a:lnTo>
                      <a:pt x="92208" y="2414"/>
                    </a:lnTo>
                    <a:lnTo>
                      <a:pt x="92208" y="8207"/>
                    </a:lnTo>
                    <a:lnTo>
                      <a:pt x="2414" y="8207"/>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77" name="Freeform: Shape 1314">
                <a:extLst>
                  <a:ext uri="{FF2B5EF4-FFF2-40B4-BE49-F238E27FC236}">
                    <a16:creationId xmlns:a16="http://schemas.microsoft.com/office/drawing/2014/main" id="{46F77E9D-A2A0-D848-B46D-2970ABFE3E63}"/>
                  </a:ext>
                </a:extLst>
              </p:cNvPr>
              <p:cNvSpPr/>
              <p:nvPr/>
            </p:nvSpPr>
            <p:spPr>
              <a:xfrm>
                <a:off x="9305727" y="3664961"/>
                <a:ext cx="64008" cy="27431"/>
              </a:xfrm>
              <a:custGeom>
                <a:avLst/>
                <a:gdLst>
                  <a:gd name="connsiteX0" fmla="*/ 21081 w 22529"/>
                  <a:gd name="connsiteY0" fmla="*/ 8207 h 9655"/>
                  <a:gd name="connsiteX1" fmla="*/ 2414 w 22529"/>
                  <a:gd name="connsiteY1" fmla="*/ 8207 h 9655"/>
                  <a:gd name="connsiteX2" fmla="*/ 2414 w 22529"/>
                  <a:gd name="connsiteY2" fmla="*/ 2414 h 9655"/>
                  <a:gd name="connsiteX3" fmla="*/ 21081 w 22529"/>
                  <a:gd name="connsiteY3" fmla="*/ 2414 h 9655"/>
                </a:gdLst>
                <a:ahLst/>
                <a:cxnLst>
                  <a:cxn ang="0">
                    <a:pos x="connsiteX0" y="connsiteY0"/>
                  </a:cxn>
                  <a:cxn ang="0">
                    <a:pos x="connsiteX1" y="connsiteY1"/>
                  </a:cxn>
                  <a:cxn ang="0">
                    <a:pos x="connsiteX2" y="connsiteY2"/>
                  </a:cxn>
                  <a:cxn ang="0">
                    <a:pos x="connsiteX3" y="connsiteY3"/>
                  </a:cxn>
                </a:cxnLst>
                <a:rect l="l" t="t" r="r" b="b"/>
                <a:pathLst>
                  <a:path w="22529" h="9655">
                    <a:moveTo>
                      <a:pt x="21081" y="8207"/>
                    </a:moveTo>
                    <a:lnTo>
                      <a:pt x="2414" y="8207"/>
                    </a:lnTo>
                    <a:lnTo>
                      <a:pt x="2414" y="2414"/>
                    </a:lnTo>
                    <a:lnTo>
                      <a:pt x="21081" y="2414"/>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78" name="Freeform: Shape 1315">
                <a:extLst>
                  <a:ext uri="{FF2B5EF4-FFF2-40B4-BE49-F238E27FC236}">
                    <a16:creationId xmlns:a16="http://schemas.microsoft.com/office/drawing/2014/main" id="{B004C2D8-23C1-D94D-BE19-5506085B53B8}"/>
                  </a:ext>
                </a:extLst>
              </p:cNvPr>
              <p:cNvSpPr/>
              <p:nvPr/>
            </p:nvSpPr>
            <p:spPr>
              <a:xfrm>
                <a:off x="9222167" y="3722312"/>
                <a:ext cx="182880" cy="27431"/>
              </a:xfrm>
              <a:custGeom>
                <a:avLst/>
                <a:gdLst>
                  <a:gd name="connsiteX0" fmla="*/ 2414 w 64368"/>
                  <a:gd name="connsiteY0" fmla="*/ 2414 h 9655"/>
                  <a:gd name="connsiteX1" fmla="*/ 63564 w 64368"/>
                  <a:gd name="connsiteY1" fmla="*/ 2414 h 9655"/>
                  <a:gd name="connsiteX2" fmla="*/ 63564 w 64368"/>
                  <a:gd name="connsiteY2" fmla="*/ 8207 h 9655"/>
                  <a:gd name="connsiteX3" fmla="*/ 2414 w 64368"/>
                  <a:gd name="connsiteY3" fmla="*/ 8207 h 9655"/>
                </a:gdLst>
                <a:ahLst/>
                <a:cxnLst>
                  <a:cxn ang="0">
                    <a:pos x="connsiteX0" y="connsiteY0"/>
                  </a:cxn>
                  <a:cxn ang="0">
                    <a:pos x="connsiteX1" y="connsiteY1"/>
                  </a:cxn>
                  <a:cxn ang="0">
                    <a:pos x="connsiteX2" y="connsiteY2"/>
                  </a:cxn>
                  <a:cxn ang="0">
                    <a:pos x="connsiteX3" y="connsiteY3"/>
                  </a:cxn>
                </a:cxnLst>
                <a:rect l="l" t="t" r="r" b="b"/>
                <a:pathLst>
                  <a:path w="64368" h="9655">
                    <a:moveTo>
                      <a:pt x="2414" y="2414"/>
                    </a:moveTo>
                    <a:lnTo>
                      <a:pt x="63564" y="2414"/>
                    </a:lnTo>
                    <a:lnTo>
                      <a:pt x="63564" y="8207"/>
                    </a:lnTo>
                    <a:lnTo>
                      <a:pt x="2414" y="8207"/>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79" name="Freeform: Shape 1316">
                <a:extLst>
                  <a:ext uri="{FF2B5EF4-FFF2-40B4-BE49-F238E27FC236}">
                    <a16:creationId xmlns:a16="http://schemas.microsoft.com/office/drawing/2014/main" id="{B686FECB-487E-B346-895B-42286E9901B4}"/>
                  </a:ext>
                </a:extLst>
              </p:cNvPr>
              <p:cNvSpPr/>
              <p:nvPr/>
            </p:nvSpPr>
            <p:spPr>
              <a:xfrm>
                <a:off x="9409621" y="3722312"/>
                <a:ext cx="73153" cy="27431"/>
              </a:xfrm>
              <a:custGeom>
                <a:avLst/>
                <a:gdLst>
                  <a:gd name="connsiteX0" fmla="*/ 2414 w 25747"/>
                  <a:gd name="connsiteY0" fmla="*/ 2414 h 9655"/>
                  <a:gd name="connsiteX1" fmla="*/ 23334 w 25747"/>
                  <a:gd name="connsiteY1" fmla="*/ 2414 h 9655"/>
                  <a:gd name="connsiteX2" fmla="*/ 23334 w 25747"/>
                  <a:gd name="connsiteY2" fmla="*/ 8207 h 9655"/>
                  <a:gd name="connsiteX3" fmla="*/ 2414 w 25747"/>
                  <a:gd name="connsiteY3" fmla="*/ 8207 h 9655"/>
                </a:gdLst>
                <a:ahLst/>
                <a:cxnLst>
                  <a:cxn ang="0">
                    <a:pos x="connsiteX0" y="connsiteY0"/>
                  </a:cxn>
                  <a:cxn ang="0">
                    <a:pos x="connsiteX1" y="connsiteY1"/>
                  </a:cxn>
                  <a:cxn ang="0">
                    <a:pos x="connsiteX2" y="connsiteY2"/>
                  </a:cxn>
                  <a:cxn ang="0">
                    <a:pos x="connsiteX3" y="connsiteY3"/>
                  </a:cxn>
                </a:cxnLst>
                <a:rect l="l" t="t" r="r" b="b"/>
                <a:pathLst>
                  <a:path w="25747" h="9655">
                    <a:moveTo>
                      <a:pt x="2414" y="2414"/>
                    </a:moveTo>
                    <a:lnTo>
                      <a:pt x="23334" y="2414"/>
                    </a:lnTo>
                    <a:lnTo>
                      <a:pt x="23334" y="8207"/>
                    </a:lnTo>
                    <a:lnTo>
                      <a:pt x="2414" y="8207"/>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80" name="Freeform: Shape 1317">
                <a:extLst>
                  <a:ext uri="{FF2B5EF4-FFF2-40B4-BE49-F238E27FC236}">
                    <a16:creationId xmlns:a16="http://schemas.microsoft.com/office/drawing/2014/main" id="{5BEB3CC3-A00C-1940-BED3-D679AC277829}"/>
                  </a:ext>
                </a:extLst>
              </p:cNvPr>
              <p:cNvSpPr/>
              <p:nvPr/>
            </p:nvSpPr>
            <p:spPr>
              <a:xfrm>
                <a:off x="9485516" y="3722312"/>
                <a:ext cx="246888" cy="27431"/>
              </a:xfrm>
              <a:custGeom>
                <a:avLst/>
                <a:gdLst>
                  <a:gd name="connsiteX0" fmla="*/ 2414 w 86898"/>
                  <a:gd name="connsiteY0" fmla="*/ 2414 h 9655"/>
                  <a:gd name="connsiteX1" fmla="*/ 86093 w 86898"/>
                  <a:gd name="connsiteY1" fmla="*/ 2414 h 9655"/>
                  <a:gd name="connsiteX2" fmla="*/ 86093 w 86898"/>
                  <a:gd name="connsiteY2" fmla="*/ 8207 h 9655"/>
                  <a:gd name="connsiteX3" fmla="*/ 2414 w 86898"/>
                  <a:gd name="connsiteY3" fmla="*/ 8207 h 9655"/>
                </a:gdLst>
                <a:ahLst/>
                <a:cxnLst>
                  <a:cxn ang="0">
                    <a:pos x="connsiteX0" y="connsiteY0"/>
                  </a:cxn>
                  <a:cxn ang="0">
                    <a:pos x="connsiteX1" y="connsiteY1"/>
                  </a:cxn>
                  <a:cxn ang="0">
                    <a:pos x="connsiteX2" y="connsiteY2"/>
                  </a:cxn>
                  <a:cxn ang="0">
                    <a:pos x="connsiteX3" y="connsiteY3"/>
                  </a:cxn>
                </a:cxnLst>
                <a:rect l="l" t="t" r="r" b="b"/>
                <a:pathLst>
                  <a:path w="86898" h="9655">
                    <a:moveTo>
                      <a:pt x="2414" y="2414"/>
                    </a:moveTo>
                    <a:lnTo>
                      <a:pt x="86093" y="2414"/>
                    </a:lnTo>
                    <a:lnTo>
                      <a:pt x="86093" y="8207"/>
                    </a:lnTo>
                    <a:lnTo>
                      <a:pt x="2414" y="8207"/>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81" name="Freeform: Shape 1318">
                <a:extLst>
                  <a:ext uri="{FF2B5EF4-FFF2-40B4-BE49-F238E27FC236}">
                    <a16:creationId xmlns:a16="http://schemas.microsoft.com/office/drawing/2014/main" id="{F11B15FE-05E1-1449-8F87-6568F40A40C4}"/>
                  </a:ext>
                </a:extLst>
              </p:cNvPr>
              <p:cNvSpPr/>
              <p:nvPr/>
            </p:nvSpPr>
            <p:spPr>
              <a:xfrm>
                <a:off x="9278861" y="3797292"/>
                <a:ext cx="100584" cy="27431"/>
              </a:xfrm>
              <a:custGeom>
                <a:avLst/>
                <a:gdLst>
                  <a:gd name="connsiteX0" fmla="*/ 2414 w 35402"/>
                  <a:gd name="connsiteY0" fmla="*/ 2414 h 9655"/>
                  <a:gd name="connsiteX1" fmla="*/ 34276 w 35402"/>
                  <a:gd name="connsiteY1" fmla="*/ 2414 h 9655"/>
                  <a:gd name="connsiteX2" fmla="*/ 34276 w 35402"/>
                  <a:gd name="connsiteY2" fmla="*/ 8207 h 9655"/>
                  <a:gd name="connsiteX3" fmla="*/ 2414 w 35402"/>
                  <a:gd name="connsiteY3" fmla="*/ 8207 h 9655"/>
                </a:gdLst>
                <a:ahLst/>
                <a:cxnLst>
                  <a:cxn ang="0">
                    <a:pos x="connsiteX0" y="connsiteY0"/>
                  </a:cxn>
                  <a:cxn ang="0">
                    <a:pos x="connsiteX1" y="connsiteY1"/>
                  </a:cxn>
                  <a:cxn ang="0">
                    <a:pos x="connsiteX2" y="connsiteY2"/>
                  </a:cxn>
                  <a:cxn ang="0">
                    <a:pos x="connsiteX3" y="connsiteY3"/>
                  </a:cxn>
                </a:cxnLst>
                <a:rect l="l" t="t" r="r" b="b"/>
                <a:pathLst>
                  <a:path w="35402" h="9655">
                    <a:moveTo>
                      <a:pt x="2414" y="2414"/>
                    </a:moveTo>
                    <a:lnTo>
                      <a:pt x="34276" y="2414"/>
                    </a:lnTo>
                    <a:lnTo>
                      <a:pt x="34276" y="8207"/>
                    </a:lnTo>
                    <a:lnTo>
                      <a:pt x="2414" y="8207"/>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82" name="Freeform: Shape 1319">
                <a:extLst>
                  <a:ext uri="{FF2B5EF4-FFF2-40B4-BE49-F238E27FC236}">
                    <a16:creationId xmlns:a16="http://schemas.microsoft.com/office/drawing/2014/main" id="{96E12588-7D46-5D4D-9D2D-03128F830596}"/>
                  </a:ext>
                </a:extLst>
              </p:cNvPr>
              <p:cNvSpPr/>
              <p:nvPr/>
            </p:nvSpPr>
            <p:spPr>
              <a:xfrm>
                <a:off x="9395935" y="3797553"/>
                <a:ext cx="219457" cy="27431"/>
              </a:xfrm>
              <a:custGeom>
                <a:avLst/>
                <a:gdLst>
                  <a:gd name="connsiteX0" fmla="*/ 77725 w 77242"/>
                  <a:gd name="connsiteY0" fmla="*/ 8207 h 9655"/>
                  <a:gd name="connsiteX1" fmla="*/ 2414 w 77242"/>
                  <a:gd name="connsiteY1" fmla="*/ 8207 h 9655"/>
                  <a:gd name="connsiteX2" fmla="*/ 2414 w 77242"/>
                  <a:gd name="connsiteY2" fmla="*/ 2414 h 9655"/>
                  <a:gd name="connsiteX3" fmla="*/ 77725 w 77242"/>
                  <a:gd name="connsiteY3" fmla="*/ 2414 h 9655"/>
                </a:gdLst>
                <a:ahLst/>
                <a:cxnLst>
                  <a:cxn ang="0">
                    <a:pos x="connsiteX0" y="connsiteY0"/>
                  </a:cxn>
                  <a:cxn ang="0">
                    <a:pos x="connsiteX1" y="connsiteY1"/>
                  </a:cxn>
                  <a:cxn ang="0">
                    <a:pos x="connsiteX2" y="connsiteY2"/>
                  </a:cxn>
                  <a:cxn ang="0">
                    <a:pos x="connsiteX3" y="connsiteY3"/>
                  </a:cxn>
                </a:cxnLst>
                <a:rect l="l" t="t" r="r" b="b"/>
                <a:pathLst>
                  <a:path w="77242" h="9655">
                    <a:moveTo>
                      <a:pt x="77725" y="8207"/>
                    </a:moveTo>
                    <a:lnTo>
                      <a:pt x="2414" y="8207"/>
                    </a:lnTo>
                    <a:lnTo>
                      <a:pt x="2414" y="2414"/>
                    </a:lnTo>
                    <a:lnTo>
                      <a:pt x="77725" y="2414"/>
                    </a:ln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83" name="Freeform: Shape 1320">
                <a:extLst>
                  <a:ext uri="{FF2B5EF4-FFF2-40B4-BE49-F238E27FC236}">
                    <a16:creationId xmlns:a16="http://schemas.microsoft.com/office/drawing/2014/main" id="{F663E21D-0FF3-4549-815D-47682C82DDB7}"/>
                  </a:ext>
                </a:extLst>
              </p:cNvPr>
              <p:cNvSpPr/>
              <p:nvPr/>
            </p:nvSpPr>
            <p:spPr>
              <a:xfrm>
                <a:off x="9145357" y="3464451"/>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173"/>
                      <a:pt x="9173" y="10782"/>
                      <a:pt x="7563" y="10782"/>
                    </a:cubicBez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84" name="Freeform: Shape 1321">
                <a:extLst>
                  <a:ext uri="{FF2B5EF4-FFF2-40B4-BE49-F238E27FC236}">
                    <a16:creationId xmlns:a16="http://schemas.microsoft.com/office/drawing/2014/main" id="{B7E6F606-5B9D-CC47-9745-54ACC32FBC8C}"/>
                  </a:ext>
                </a:extLst>
              </p:cNvPr>
              <p:cNvSpPr/>
              <p:nvPr/>
            </p:nvSpPr>
            <p:spPr>
              <a:xfrm>
                <a:off x="9145357" y="3527544"/>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85" name="Freeform: Shape 1322">
                <a:extLst>
                  <a:ext uri="{FF2B5EF4-FFF2-40B4-BE49-F238E27FC236}">
                    <a16:creationId xmlns:a16="http://schemas.microsoft.com/office/drawing/2014/main" id="{62BD8F4E-AE0B-1E41-9139-120DEDF1A50B}"/>
                  </a:ext>
                </a:extLst>
              </p:cNvPr>
              <p:cNvSpPr/>
              <p:nvPr/>
            </p:nvSpPr>
            <p:spPr>
              <a:xfrm>
                <a:off x="9145357" y="3590637"/>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86" name="Freeform: Shape 1323">
                <a:extLst>
                  <a:ext uri="{FF2B5EF4-FFF2-40B4-BE49-F238E27FC236}">
                    <a16:creationId xmlns:a16="http://schemas.microsoft.com/office/drawing/2014/main" id="{13252D49-F3AE-4F41-930A-9BFC2D5769CD}"/>
                  </a:ext>
                </a:extLst>
              </p:cNvPr>
              <p:cNvSpPr/>
              <p:nvPr/>
            </p:nvSpPr>
            <p:spPr>
              <a:xfrm>
                <a:off x="9145357" y="3654645"/>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173"/>
                      <a:pt x="9173" y="10782"/>
                      <a:pt x="7563" y="10782"/>
                    </a:cubicBez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87" name="Freeform: Shape 1324">
                <a:extLst>
                  <a:ext uri="{FF2B5EF4-FFF2-40B4-BE49-F238E27FC236}">
                    <a16:creationId xmlns:a16="http://schemas.microsoft.com/office/drawing/2014/main" id="{72D089E6-3FCD-1447-BAFC-299049FAC6B7}"/>
                  </a:ext>
                </a:extLst>
              </p:cNvPr>
              <p:cNvSpPr/>
              <p:nvPr/>
            </p:nvSpPr>
            <p:spPr>
              <a:xfrm>
                <a:off x="9145357" y="3717738"/>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173"/>
                      <a:pt x="9173" y="10782"/>
                      <a:pt x="7563" y="10782"/>
                    </a:cubicBez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88" name="Freeform: Shape 1325">
                <a:extLst>
                  <a:ext uri="{FF2B5EF4-FFF2-40B4-BE49-F238E27FC236}">
                    <a16:creationId xmlns:a16="http://schemas.microsoft.com/office/drawing/2014/main" id="{029B0ED9-3AD4-9D47-98F9-FF8F25E33A45}"/>
                  </a:ext>
                </a:extLst>
              </p:cNvPr>
              <p:cNvSpPr/>
              <p:nvPr/>
            </p:nvSpPr>
            <p:spPr>
              <a:xfrm>
                <a:off x="9145357" y="3780833"/>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sp>
            <p:nvSpPr>
              <p:cNvPr id="789" name="Freeform: Shape 1326">
                <a:extLst>
                  <a:ext uri="{FF2B5EF4-FFF2-40B4-BE49-F238E27FC236}">
                    <a16:creationId xmlns:a16="http://schemas.microsoft.com/office/drawing/2014/main" id="{5DFFA689-781D-244B-B12E-666261510038}"/>
                  </a:ext>
                </a:extLst>
              </p:cNvPr>
              <p:cNvSpPr/>
              <p:nvPr/>
            </p:nvSpPr>
            <p:spPr>
              <a:xfrm>
                <a:off x="9145357" y="3843926"/>
                <a:ext cx="36577" cy="36577"/>
              </a:xfrm>
              <a:custGeom>
                <a:avLst/>
                <a:gdLst>
                  <a:gd name="connsiteX0" fmla="*/ 7563 w 12873"/>
                  <a:gd name="connsiteY0" fmla="*/ 10782 h 12873"/>
                  <a:gd name="connsiteX1" fmla="*/ 5632 w 12873"/>
                  <a:gd name="connsiteY1" fmla="*/ 10782 h 12873"/>
                  <a:gd name="connsiteX2" fmla="*/ 2414 w 12873"/>
                  <a:gd name="connsiteY2" fmla="*/ 7563 h 12873"/>
                  <a:gd name="connsiteX3" fmla="*/ 2414 w 12873"/>
                  <a:gd name="connsiteY3" fmla="*/ 5632 h 12873"/>
                  <a:gd name="connsiteX4" fmla="*/ 5632 w 12873"/>
                  <a:gd name="connsiteY4" fmla="*/ 2414 h 12873"/>
                  <a:gd name="connsiteX5" fmla="*/ 7563 w 12873"/>
                  <a:gd name="connsiteY5" fmla="*/ 2414 h 12873"/>
                  <a:gd name="connsiteX6" fmla="*/ 10782 w 12873"/>
                  <a:gd name="connsiteY6" fmla="*/ 5632 h 12873"/>
                  <a:gd name="connsiteX7" fmla="*/ 10782 w 12873"/>
                  <a:gd name="connsiteY7" fmla="*/ 7563 h 12873"/>
                  <a:gd name="connsiteX8" fmla="*/ 7563 w 12873"/>
                  <a:gd name="connsiteY8" fmla="*/ 10782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3" h="12873">
                    <a:moveTo>
                      <a:pt x="7563" y="10782"/>
                    </a:moveTo>
                    <a:lnTo>
                      <a:pt x="5632" y="10782"/>
                    </a:lnTo>
                    <a:cubicBezTo>
                      <a:pt x="3701" y="10782"/>
                      <a:pt x="2414" y="9494"/>
                      <a:pt x="2414" y="7563"/>
                    </a:cubicBezTo>
                    <a:lnTo>
                      <a:pt x="2414" y="5632"/>
                    </a:lnTo>
                    <a:cubicBezTo>
                      <a:pt x="2414" y="3701"/>
                      <a:pt x="3701" y="2414"/>
                      <a:pt x="5632" y="2414"/>
                    </a:cubicBezTo>
                    <a:lnTo>
                      <a:pt x="7563" y="2414"/>
                    </a:lnTo>
                    <a:cubicBezTo>
                      <a:pt x="9494" y="2414"/>
                      <a:pt x="10782" y="3701"/>
                      <a:pt x="10782" y="5632"/>
                    </a:cubicBezTo>
                    <a:lnTo>
                      <a:pt x="10782" y="7563"/>
                    </a:lnTo>
                    <a:cubicBezTo>
                      <a:pt x="10782" y="9494"/>
                      <a:pt x="9173" y="10782"/>
                      <a:pt x="7563" y="10782"/>
                    </a:cubicBezTo>
                    <a:close/>
                  </a:path>
                </a:pathLst>
              </a:custGeom>
              <a:solidFill>
                <a:schemeClr val="tx1"/>
              </a:solidFill>
              <a:ln w="9525" cap="flat">
                <a:noFill/>
                <a:prstDash val="solid"/>
                <a:miter/>
              </a:ln>
            </p:spPr>
            <p:txBody>
              <a:bodyPr rtlCol="0" anchor="ctr"/>
              <a:lstStyle/>
              <a:p>
                <a:pPr defTabSz="731504">
                  <a:defRPr/>
                </a:pPr>
                <a:endParaRPr lang="en-US" sz="1800">
                  <a:solidFill>
                    <a:srgbClr val="FFFFFF"/>
                  </a:solidFill>
                </a:endParaRPr>
              </a:p>
            </p:txBody>
          </p:sp>
        </p:grpSp>
        <p:grpSp>
          <p:nvGrpSpPr>
            <p:cNvPr id="764" name="Group 763">
              <a:extLst>
                <a:ext uri="{FF2B5EF4-FFF2-40B4-BE49-F238E27FC236}">
                  <a16:creationId xmlns:a16="http://schemas.microsoft.com/office/drawing/2014/main" id="{668627AC-D0C8-5F40-AC2D-3BE91EAFC8B1}"/>
                </a:ext>
              </a:extLst>
            </p:cNvPr>
            <p:cNvGrpSpPr/>
            <p:nvPr/>
          </p:nvGrpSpPr>
          <p:grpSpPr>
            <a:xfrm>
              <a:off x="14184160" y="3439575"/>
              <a:ext cx="193015" cy="188521"/>
              <a:chOff x="8848997" y="6359275"/>
              <a:chExt cx="785468" cy="767180"/>
            </a:xfrm>
          </p:grpSpPr>
          <p:sp>
            <p:nvSpPr>
              <p:cNvPr id="765" name="Freeform: Shape 1302">
                <a:extLst>
                  <a:ext uri="{FF2B5EF4-FFF2-40B4-BE49-F238E27FC236}">
                    <a16:creationId xmlns:a16="http://schemas.microsoft.com/office/drawing/2014/main" id="{466229F0-2BF4-C643-B463-6A0AD774537C}"/>
                  </a:ext>
                </a:extLst>
              </p:cNvPr>
              <p:cNvSpPr/>
              <p:nvPr/>
            </p:nvSpPr>
            <p:spPr>
              <a:xfrm>
                <a:off x="8998045" y="6725948"/>
                <a:ext cx="265176" cy="27431"/>
              </a:xfrm>
              <a:custGeom>
                <a:avLst/>
                <a:gdLst>
                  <a:gd name="connsiteX0" fmla="*/ 4828 w 93334"/>
                  <a:gd name="connsiteY0" fmla="*/ 4828 h 9655"/>
                  <a:gd name="connsiteX1" fmla="*/ 91404 w 93334"/>
                  <a:gd name="connsiteY1" fmla="*/ 4828 h 9655"/>
                </a:gdLst>
                <a:ahLst/>
                <a:cxnLst>
                  <a:cxn ang="0">
                    <a:pos x="connsiteX0" y="connsiteY0"/>
                  </a:cxn>
                  <a:cxn ang="0">
                    <a:pos x="connsiteX1" y="connsiteY1"/>
                  </a:cxn>
                </a:cxnLst>
                <a:rect l="l" t="t" r="r" b="b"/>
                <a:pathLst>
                  <a:path w="93334" h="9655">
                    <a:moveTo>
                      <a:pt x="4828" y="4828"/>
                    </a:moveTo>
                    <a:lnTo>
                      <a:pt x="91404" y="4828"/>
                    </a:lnTo>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766" name="Freeform: Shape 1303">
                <a:extLst>
                  <a:ext uri="{FF2B5EF4-FFF2-40B4-BE49-F238E27FC236}">
                    <a16:creationId xmlns:a16="http://schemas.microsoft.com/office/drawing/2014/main" id="{073B7DFE-EBF6-6847-B7EE-3373A4924676}"/>
                  </a:ext>
                </a:extLst>
              </p:cNvPr>
              <p:cNvSpPr/>
              <p:nvPr/>
            </p:nvSpPr>
            <p:spPr>
              <a:xfrm>
                <a:off x="8951411" y="6639080"/>
                <a:ext cx="182880" cy="27431"/>
              </a:xfrm>
              <a:custGeom>
                <a:avLst/>
                <a:gdLst>
                  <a:gd name="connsiteX0" fmla="*/ 4828 w 64368"/>
                  <a:gd name="connsiteY0" fmla="*/ 4828 h 9655"/>
                  <a:gd name="connsiteX1" fmla="*/ 62116 w 64368"/>
                  <a:gd name="connsiteY1" fmla="*/ 4828 h 9655"/>
                </a:gdLst>
                <a:ahLst/>
                <a:cxnLst>
                  <a:cxn ang="0">
                    <a:pos x="connsiteX0" y="connsiteY0"/>
                  </a:cxn>
                  <a:cxn ang="0">
                    <a:pos x="connsiteX1" y="connsiteY1"/>
                  </a:cxn>
                </a:cxnLst>
                <a:rect l="l" t="t" r="r" b="b"/>
                <a:pathLst>
                  <a:path w="64368" h="9655">
                    <a:moveTo>
                      <a:pt x="4828" y="4828"/>
                    </a:moveTo>
                    <a:lnTo>
                      <a:pt x="62116" y="4828"/>
                    </a:lnTo>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767" name="Freeform: Shape 1304">
                <a:extLst>
                  <a:ext uri="{FF2B5EF4-FFF2-40B4-BE49-F238E27FC236}">
                    <a16:creationId xmlns:a16="http://schemas.microsoft.com/office/drawing/2014/main" id="{C5B740B9-1EF9-CF4E-9739-1D43268920ED}"/>
                  </a:ext>
                </a:extLst>
              </p:cNvPr>
              <p:cNvSpPr/>
              <p:nvPr/>
            </p:nvSpPr>
            <p:spPr>
              <a:xfrm>
                <a:off x="9150750" y="6639080"/>
                <a:ext cx="91439" cy="27431"/>
              </a:xfrm>
              <a:custGeom>
                <a:avLst/>
                <a:gdLst>
                  <a:gd name="connsiteX0" fmla="*/ 4828 w 32184"/>
                  <a:gd name="connsiteY0" fmla="*/ 4828 h 9655"/>
                  <a:gd name="connsiteX1" fmla="*/ 29288 w 32184"/>
                  <a:gd name="connsiteY1" fmla="*/ 4828 h 9655"/>
                </a:gdLst>
                <a:ahLst/>
                <a:cxnLst>
                  <a:cxn ang="0">
                    <a:pos x="connsiteX0" y="connsiteY0"/>
                  </a:cxn>
                  <a:cxn ang="0">
                    <a:pos x="connsiteX1" y="connsiteY1"/>
                  </a:cxn>
                </a:cxnLst>
                <a:rect l="l" t="t" r="r" b="b"/>
                <a:pathLst>
                  <a:path w="32184" h="9655">
                    <a:moveTo>
                      <a:pt x="4828" y="4828"/>
                    </a:moveTo>
                    <a:lnTo>
                      <a:pt x="29288" y="4828"/>
                    </a:lnTo>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768" name="Freeform: Shape 1305">
                <a:extLst>
                  <a:ext uri="{FF2B5EF4-FFF2-40B4-BE49-F238E27FC236}">
                    <a16:creationId xmlns:a16="http://schemas.microsoft.com/office/drawing/2014/main" id="{792C03A9-47FD-A34D-A9FD-D720AB9F2D4F}"/>
                  </a:ext>
                </a:extLst>
              </p:cNvPr>
              <p:cNvSpPr/>
              <p:nvPr/>
            </p:nvSpPr>
            <p:spPr>
              <a:xfrm>
                <a:off x="9056566" y="6553128"/>
                <a:ext cx="256031" cy="27431"/>
              </a:xfrm>
              <a:custGeom>
                <a:avLst/>
                <a:gdLst>
                  <a:gd name="connsiteX0" fmla="*/ 4828 w 90116"/>
                  <a:gd name="connsiteY0" fmla="*/ 4828 h 9655"/>
                  <a:gd name="connsiteX1" fmla="*/ 86898 w 90116"/>
                  <a:gd name="connsiteY1" fmla="*/ 4828 h 9655"/>
                </a:gdLst>
                <a:ahLst/>
                <a:cxnLst>
                  <a:cxn ang="0">
                    <a:pos x="connsiteX0" y="connsiteY0"/>
                  </a:cxn>
                  <a:cxn ang="0">
                    <a:pos x="connsiteX1" y="connsiteY1"/>
                  </a:cxn>
                </a:cxnLst>
                <a:rect l="l" t="t" r="r" b="b"/>
                <a:pathLst>
                  <a:path w="90116" h="9655">
                    <a:moveTo>
                      <a:pt x="4828" y="4828"/>
                    </a:moveTo>
                    <a:lnTo>
                      <a:pt x="86898" y="4828"/>
                    </a:lnTo>
                  </a:path>
                </a:pathLst>
              </a:custGeom>
              <a:ln w="12700" cap="flat">
                <a:solidFill>
                  <a:srgbClr val="FDC500"/>
                </a:solidFill>
                <a:prstDash val="solid"/>
                <a:round/>
              </a:ln>
            </p:spPr>
            <p:txBody>
              <a:bodyPr rtlCol="0" anchor="ctr"/>
              <a:lstStyle/>
              <a:p>
                <a:pPr defTabSz="731504">
                  <a:defRPr/>
                </a:pPr>
                <a:endParaRPr lang="en-US" sz="1800">
                  <a:solidFill>
                    <a:srgbClr val="FFFFFF"/>
                  </a:solidFill>
                </a:endParaRPr>
              </a:p>
            </p:txBody>
          </p:sp>
          <p:sp>
            <p:nvSpPr>
              <p:cNvPr id="769" name="Freeform: Shape 1306">
                <a:extLst>
                  <a:ext uri="{FF2B5EF4-FFF2-40B4-BE49-F238E27FC236}">
                    <a16:creationId xmlns:a16="http://schemas.microsoft.com/office/drawing/2014/main" id="{1BF42053-7BA9-2348-9920-AE6791360BAE}"/>
                  </a:ext>
                </a:extLst>
              </p:cNvPr>
              <p:cNvSpPr/>
              <p:nvPr/>
            </p:nvSpPr>
            <p:spPr>
              <a:xfrm>
                <a:off x="8848997" y="6359275"/>
                <a:ext cx="585214" cy="576072"/>
              </a:xfrm>
              <a:custGeom>
                <a:avLst/>
                <a:gdLst>
                  <a:gd name="connsiteX0" fmla="*/ 201153 w 205980"/>
                  <a:gd name="connsiteY0" fmla="*/ 102990 h 202762"/>
                  <a:gd name="connsiteX1" fmla="*/ 102990 w 205980"/>
                  <a:gd name="connsiteY1" fmla="*/ 201153 h 202762"/>
                  <a:gd name="connsiteX2" fmla="*/ 4828 w 205980"/>
                  <a:gd name="connsiteY2" fmla="*/ 102990 h 202762"/>
                  <a:gd name="connsiteX3" fmla="*/ 102990 w 205980"/>
                  <a:gd name="connsiteY3" fmla="*/ 4828 h 202762"/>
                  <a:gd name="connsiteX4" fmla="*/ 201153 w 205980"/>
                  <a:gd name="connsiteY4" fmla="*/ 102990 h 202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980" h="202762">
                    <a:moveTo>
                      <a:pt x="201153" y="102990"/>
                    </a:moveTo>
                    <a:cubicBezTo>
                      <a:pt x="201153" y="157204"/>
                      <a:pt x="157204" y="201153"/>
                      <a:pt x="102990" y="201153"/>
                    </a:cubicBezTo>
                    <a:cubicBezTo>
                      <a:pt x="48777" y="201153"/>
                      <a:pt x="4828" y="157204"/>
                      <a:pt x="4828" y="102990"/>
                    </a:cubicBezTo>
                    <a:cubicBezTo>
                      <a:pt x="4828" y="48777"/>
                      <a:pt x="48777" y="4828"/>
                      <a:pt x="102990" y="4828"/>
                    </a:cubicBezTo>
                    <a:cubicBezTo>
                      <a:pt x="157204" y="4828"/>
                      <a:pt x="201153" y="48777"/>
                      <a:pt x="201153" y="102990"/>
                    </a:cubicBezTo>
                    <a:close/>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sp>
            <p:nvSpPr>
              <p:cNvPr id="770" name="Freeform: Shape 1307">
                <a:extLst>
                  <a:ext uri="{FF2B5EF4-FFF2-40B4-BE49-F238E27FC236}">
                    <a16:creationId xmlns:a16="http://schemas.microsoft.com/office/drawing/2014/main" id="{D6B078B1-EAFA-614F-A18E-05E74062AA7A}"/>
                  </a:ext>
                </a:extLst>
              </p:cNvPr>
              <p:cNvSpPr/>
              <p:nvPr/>
            </p:nvSpPr>
            <p:spPr>
              <a:xfrm>
                <a:off x="9277850" y="6769840"/>
                <a:ext cx="356615" cy="356615"/>
              </a:xfrm>
              <a:custGeom>
                <a:avLst/>
                <a:gdLst>
                  <a:gd name="connsiteX0" fmla="*/ 39909 w 125519"/>
                  <a:gd name="connsiteY0" fmla="*/ 4828 h 125519"/>
                  <a:gd name="connsiteX1" fmla="*/ 114255 w 125519"/>
                  <a:gd name="connsiteY1" fmla="*/ 79496 h 125519"/>
                  <a:gd name="connsiteX2" fmla="*/ 113611 w 125519"/>
                  <a:gd name="connsiteY2" fmla="*/ 114898 h 125519"/>
                  <a:gd name="connsiteX3" fmla="*/ 113611 w 125519"/>
                  <a:gd name="connsiteY3" fmla="*/ 114898 h 125519"/>
                  <a:gd name="connsiteX4" fmla="*/ 78208 w 125519"/>
                  <a:gd name="connsiteY4" fmla="*/ 115542 h 125519"/>
                  <a:gd name="connsiteX5" fmla="*/ 4828 w 125519"/>
                  <a:gd name="connsiteY5" fmla="*/ 42162 h 12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519" h="125519">
                    <a:moveTo>
                      <a:pt x="39909" y="4828"/>
                    </a:moveTo>
                    <a:lnTo>
                      <a:pt x="114255" y="79496"/>
                    </a:lnTo>
                    <a:cubicBezTo>
                      <a:pt x="123910" y="89151"/>
                      <a:pt x="123588" y="104921"/>
                      <a:pt x="113611" y="114898"/>
                    </a:cubicBezTo>
                    <a:lnTo>
                      <a:pt x="113611" y="114898"/>
                    </a:lnTo>
                    <a:cubicBezTo>
                      <a:pt x="103634" y="124876"/>
                      <a:pt x="87864" y="125197"/>
                      <a:pt x="78208" y="115542"/>
                    </a:cubicBezTo>
                    <a:lnTo>
                      <a:pt x="4828" y="42162"/>
                    </a:lnTo>
                  </a:path>
                </a:pathLst>
              </a:custGeom>
              <a:noFill/>
              <a:ln w="12700" cap="flat">
                <a:solidFill>
                  <a:schemeClr val="tx1"/>
                </a:solidFill>
                <a:prstDash val="solid"/>
                <a:round/>
              </a:ln>
            </p:spPr>
            <p:txBody>
              <a:bodyPr rtlCol="0" anchor="ctr"/>
              <a:lstStyle/>
              <a:p>
                <a:pPr defTabSz="731504">
                  <a:defRPr/>
                </a:pPr>
                <a:endParaRPr lang="en-US" sz="1800">
                  <a:solidFill>
                    <a:srgbClr val="FFFFFF"/>
                  </a:solidFill>
                </a:endParaRPr>
              </a:p>
            </p:txBody>
          </p:sp>
        </p:grpSp>
      </p:grpSp>
      <p:sp>
        <p:nvSpPr>
          <p:cNvPr id="580" name="Rectangle 579">
            <a:extLst>
              <a:ext uri="{FF2B5EF4-FFF2-40B4-BE49-F238E27FC236}">
                <a16:creationId xmlns:a16="http://schemas.microsoft.com/office/drawing/2014/main" id="{687129B9-8F98-1840-B34B-9AACD6F9A7F0}"/>
              </a:ext>
            </a:extLst>
          </p:cNvPr>
          <p:cNvSpPr/>
          <p:nvPr/>
        </p:nvSpPr>
        <p:spPr>
          <a:xfrm>
            <a:off x="12124185" y="2118438"/>
            <a:ext cx="2104771" cy="590910"/>
          </a:xfrm>
          <a:prstGeom prst="rect">
            <a:avLst/>
          </a:prstGeom>
          <a:solidFill>
            <a:schemeClr val="bg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05" name="Rectangle 604">
            <a:extLst>
              <a:ext uri="{FF2B5EF4-FFF2-40B4-BE49-F238E27FC236}">
                <a16:creationId xmlns:a16="http://schemas.microsoft.com/office/drawing/2014/main" id="{D2624530-8724-BE44-90C9-A74E466227F8}"/>
              </a:ext>
            </a:extLst>
          </p:cNvPr>
          <p:cNvSpPr/>
          <p:nvPr/>
        </p:nvSpPr>
        <p:spPr>
          <a:xfrm>
            <a:off x="4056959" y="4018560"/>
            <a:ext cx="5612794" cy="1930207"/>
          </a:xfrm>
          <a:prstGeom prst="rect">
            <a:avLst/>
          </a:prstGeom>
          <a:solidFill>
            <a:schemeClr val="bg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91" name="Rectangle 790">
            <a:extLst>
              <a:ext uri="{FF2B5EF4-FFF2-40B4-BE49-F238E27FC236}">
                <a16:creationId xmlns:a16="http://schemas.microsoft.com/office/drawing/2014/main" id="{CC5782F4-0B4E-2949-A151-DC69E06B5179}"/>
              </a:ext>
            </a:extLst>
          </p:cNvPr>
          <p:cNvSpPr/>
          <p:nvPr/>
        </p:nvSpPr>
        <p:spPr>
          <a:xfrm>
            <a:off x="8306964" y="2118437"/>
            <a:ext cx="1610497" cy="1930207"/>
          </a:xfrm>
          <a:prstGeom prst="rect">
            <a:avLst/>
          </a:prstGeom>
          <a:solidFill>
            <a:schemeClr val="bg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Chevron 5">
            <a:extLst>
              <a:ext uri="{FF2B5EF4-FFF2-40B4-BE49-F238E27FC236}">
                <a16:creationId xmlns:a16="http://schemas.microsoft.com/office/drawing/2014/main" id="{95F2C23C-1821-4633-971F-7934CA77581E}"/>
              </a:ext>
            </a:extLst>
          </p:cNvPr>
          <p:cNvSpPr/>
          <p:nvPr/>
        </p:nvSpPr>
        <p:spPr>
          <a:xfrm>
            <a:off x="3886307" y="1410143"/>
            <a:ext cx="6101804" cy="562890"/>
          </a:xfrm>
          <a:prstGeom prst="chevron">
            <a:avLst/>
          </a:prstGeom>
          <a:solidFill>
            <a:srgbClr val="A166FF"/>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wrap="none" rtlCol="0" anchor="ctr"/>
          <a:lstStyle/>
          <a:p>
            <a:pPr algn="ctr" defTabSz="1173456">
              <a:lnSpc>
                <a:spcPct val="90000"/>
              </a:lnSpc>
              <a:spcAft>
                <a:spcPct val="35000"/>
              </a:spcAft>
              <a:defRPr/>
            </a:pPr>
            <a:r>
              <a:rPr lang="en-US" sz="2600" b="1">
                <a:solidFill>
                  <a:schemeClr val="bg1"/>
                </a:solidFill>
                <a:latin typeface="+mj-lt"/>
                <a:ea typeface="Amazon Ember" charset="0"/>
                <a:cs typeface="Amazon Ember" charset="0"/>
              </a:rPr>
              <a:t>Mobilize</a:t>
            </a:r>
          </a:p>
        </p:txBody>
      </p:sp>
      <p:sp>
        <p:nvSpPr>
          <p:cNvPr id="792" name="Rectangle 791">
            <a:extLst>
              <a:ext uri="{FF2B5EF4-FFF2-40B4-BE49-F238E27FC236}">
                <a16:creationId xmlns:a16="http://schemas.microsoft.com/office/drawing/2014/main" id="{B2A3621D-7556-8F40-83BE-40252CB58DF7}"/>
              </a:ext>
            </a:extLst>
          </p:cNvPr>
          <p:cNvSpPr/>
          <p:nvPr/>
        </p:nvSpPr>
        <p:spPr>
          <a:xfrm>
            <a:off x="401444" y="3426019"/>
            <a:ext cx="3513061" cy="2522748"/>
          </a:xfrm>
          <a:prstGeom prst="rect">
            <a:avLst/>
          </a:prstGeom>
          <a:solidFill>
            <a:schemeClr val="bg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93" name="Rectangle 792">
            <a:extLst>
              <a:ext uri="{FF2B5EF4-FFF2-40B4-BE49-F238E27FC236}">
                <a16:creationId xmlns:a16="http://schemas.microsoft.com/office/drawing/2014/main" id="{75C35CD5-A509-9B4C-B92E-D9679B925E33}"/>
              </a:ext>
            </a:extLst>
          </p:cNvPr>
          <p:cNvSpPr/>
          <p:nvPr/>
        </p:nvSpPr>
        <p:spPr>
          <a:xfrm>
            <a:off x="11804165" y="3208937"/>
            <a:ext cx="2104771" cy="541718"/>
          </a:xfrm>
          <a:prstGeom prst="rect">
            <a:avLst/>
          </a:prstGeom>
          <a:solidFill>
            <a:schemeClr val="bg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17" name="Rectangle 816">
            <a:extLst>
              <a:ext uri="{FF2B5EF4-FFF2-40B4-BE49-F238E27FC236}">
                <a16:creationId xmlns:a16="http://schemas.microsoft.com/office/drawing/2014/main" id="{AC8B3EEA-23A0-054F-BE5F-DC450DDB3830}"/>
              </a:ext>
            </a:extLst>
          </p:cNvPr>
          <p:cNvSpPr/>
          <p:nvPr/>
        </p:nvSpPr>
        <p:spPr>
          <a:xfrm>
            <a:off x="11993308" y="2767370"/>
            <a:ext cx="2104771" cy="541718"/>
          </a:xfrm>
          <a:prstGeom prst="rect">
            <a:avLst/>
          </a:prstGeom>
          <a:solidFill>
            <a:schemeClr val="bg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18" name="Rectangle 817">
            <a:extLst>
              <a:ext uri="{FF2B5EF4-FFF2-40B4-BE49-F238E27FC236}">
                <a16:creationId xmlns:a16="http://schemas.microsoft.com/office/drawing/2014/main" id="{050365D7-6308-E945-AF14-FC67DBDCCE5E}"/>
              </a:ext>
            </a:extLst>
          </p:cNvPr>
          <p:cNvSpPr/>
          <p:nvPr/>
        </p:nvSpPr>
        <p:spPr>
          <a:xfrm>
            <a:off x="10197377" y="4794991"/>
            <a:ext cx="3308311" cy="975632"/>
          </a:xfrm>
          <a:prstGeom prst="rect">
            <a:avLst/>
          </a:prstGeom>
          <a:solidFill>
            <a:schemeClr val="bg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600661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nodeType="withEffect">
                                  <p:stCondLst>
                                    <p:cond delay="0"/>
                                  </p:stCondLst>
                                  <p:childTnLst>
                                    <p:animMotion origin="layout" path="M 1.90972E-6 3.82716E-6 L -0.00727 3.82716E-6 " pathEditMode="relative" rAng="0" ptsTypes="AA">
                                      <p:cBhvr>
                                        <p:cTn id="9" dur="500" spd="-100000" fill="hold"/>
                                        <p:tgtEl>
                                          <p:spTgt spid="5"/>
                                        </p:tgtEl>
                                        <p:attrNameLst>
                                          <p:attrName>ppt_x</p:attrName>
                                          <p:attrName>ppt_y</p:attrName>
                                        </p:attrNameLst>
                                      </p:cBhvr>
                                      <p:rCtr x="-369" y="0"/>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35" presetClass="path" presetSubtype="0" decel="100000" fill="hold" nodeType="withEffect">
                                  <p:stCondLst>
                                    <p:cond delay="0"/>
                                  </p:stCondLst>
                                  <p:childTnLst>
                                    <p:animMotion origin="layout" path="M 1.90972E-6 3.82716E-6 L -0.00727 3.82716E-6 " pathEditMode="relative" rAng="0" ptsTypes="AA">
                                      <p:cBhvr>
                                        <p:cTn id="15" dur="500" spd="-100000" fill="hold"/>
                                        <p:tgtEl>
                                          <p:spTgt spid="9"/>
                                        </p:tgtEl>
                                        <p:attrNameLst>
                                          <p:attrName>ppt_x</p:attrName>
                                          <p:attrName>ppt_y</p:attrName>
                                        </p:attrNameLst>
                                      </p:cBhvr>
                                      <p:rCtr x="-369" y="0"/>
                                    </p:animMotion>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35" presetClass="path" presetSubtype="0" decel="100000" fill="hold" nodeType="withEffect">
                                  <p:stCondLst>
                                    <p:cond delay="0"/>
                                  </p:stCondLst>
                                  <p:childTnLst>
                                    <p:animMotion origin="layout" path="M 1.90972E-6 3.82716E-6 L -0.00727 3.82716E-6 " pathEditMode="relative" rAng="0" ptsTypes="AA">
                                      <p:cBhvr>
                                        <p:cTn id="21" dur="500" spd="-100000" fill="hold"/>
                                        <p:tgtEl>
                                          <p:spTgt spid="12"/>
                                        </p:tgtEl>
                                        <p:attrNameLst>
                                          <p:attrName>ppt_x</p:attrName>
                                          <p:attrName>ppt_y</p:attrName>
                                        </p:attrNameLst>
                                      </p:cBhvr>
                                      <p:rCtr x="-369" y="0"/>
                                    </p:animMotion>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par>
                                <p:cTn id="26" presetID="35" presetClass="path" presetSubtype="0" decel="100000" fill="hold" nodeType="withEffect">
                                  <p:stCondLst>
                                    <p:cond delay="0"/>
                                  </p:stCondLst>
                                  <p:childTnLst>
                                    <p:animMotion origin="layout" path="M 1.90972E-6 3.82716E-6 L -0.00727 3.82716E-6 " pathEditMode="relative" rAng="0" ptsTypes="AA">
                                      <p:cBhvr>
                                        <p:cTn id="27" dur="500" spd="-100000" fill="hold"/>
                                        <p:tgtEl>
                                          <p:spTgt spid="11"/>
                                        </p:tgtEl>
                                        <p:attrNameLst>
                                          <p:attrName>ppt_x</p:attrName>
                                          <p:attrName>ppt_y</p:attrName>
                                        </p:attrNameLst>
                                      </p:cBhvr>
                                      <p:rCtr x="-36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9D5F3C4-1CCD-7A49-B4D1-541329AAD66F}"/>
              </a:ext>
            </a:extLst>
          </p:cNvPr>
          <p:cNvSpPr/>
          <p:nvPr/>
        </p:nvSpPr>
        <p:spPr>
          <a:xfrm>
            <a:off x="6921714" y="6796878"/>
            <a:ext cx="1479572" cy="484392"/>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a:t>Portfolio Assessment Overview</a:t>
            </a:r>
          </a:p>
        </p:txBody>
      </p:sp>
      <p:grpSp>
        <p:nvGrpSpPr>
          <p:cNvPr id="3" name="Group 2">
            <a:extLst>
              <a:ext uri="{FF2B5EF4-FFF2-40B4-BE49-F238E27FC236}">
                <a16:creationId xmlns:a16="http://schemas.microsoft.com/office/drawing/2014/main" id="{3797C69F-D479-4BB2-8CBF-1D5AA792571F}"/>
              </a:ext>
            </a:extLst>
          </p:cNvPr>
          <p:cNvGrpSpPr/>
          <p:nvPr/>
        </p:nvGrpSpPr>
        <p:grpSpPr>
          <a:xfrm>
            <a:off x="608773" y="1089158"/>
            <a:ext cx="12323131" cy="3365884"/>
            <a:chOff x="608773" y="1302100"/>
            <a:chExt cx="12323131" cy="3365884"/>
          </a:xfrm>
        </p:grpSpPr>
        <p:sp>
          <p:nvSpPr>
            <p:cNvPr id="56" name="TextBox 55">
              <a:extLst>
                <a:ext uri="{FF2B5EF4-FFF2-40B4-BE49-F238E27FC236}">
                  <a16:creationId xmlns:a16="http://schemas.microsoft.com/office/drawing/2014/main" id="{6EEA6164-C476-46EE-9594-D8B17C6C9195}"/>
                </a:ext>
              </a:extLst>
            </p:cNvPr>
            <p:cNvSpPr txBox="1"/>
            <p:nvPr/>
          </p:nvSpPr>
          <p:spPr>
            <a:xfrm>
              <a:off x="608773" y="1302100"/>
              <a:ext cx="4241546" cy="276999"/>
            </a:xfrm>
            <a:prstGeom prst="rect">
              <a:avLst/>
            </a:prstGeom>
            <a:noFill/>
          </p:spPr>
          <p:txBody>
            <a:bodyPr wrap="none" lIns="0" tIns="0" rIns="0" bIns="0" rtlCol="0">
              <a:spAutoFit/>
            </a:bodyPr>
            <a:lstStyle/>
            <a:p>
              <a:pPr marL="0" marR="0" lvl="0" indent="0" algn="ctr" defTabSz="731520" rtl="0" eaLnBrk="1" fontAlgn="auto" latinLnBrk="0" hangingPunct="1">
                <a:lnSpc>
                  <a:spcPct val="90000"/>
                </a:lnSpc>
                <a:spcBef>
                  <a:spcPts val="0"/>
                </a:spcBef>
                <a:spcAft>
                  <a:spcPts val="180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mazon Ember"/>
                  <a:ea typeface="+mn-ea"/>
                  <a:cs typeface="+mn-cs"/>
                </a:rPr>
                <a:t>Disconnected and incomplete data </a:t>
              </a:r>
            </a:p>
          </p:txBody>
        </p:sp>
        <p:sp>
          <p:nvSpPr>
            <p:cNvPr id="62" name="TextBox 61">
              <a:extLst>
                <a:ext uri="{FF2B5EF4-FFF2-40B4-BE49-F238E27FC236}">
                  <a16:creationId xmlns:a16="http://schemas.microsoft.com/office/drawing/2014/main" id="{80750D36-DBCA-4295-AF48-47A87168CD18}"/>
                </a:ext>
              </a:extLst>
            </p:cNvPr>
            <p:cNvSpPr txBox="1"/>
            <p:nvPr/>
          </p:nvSpPr>
          <p:spPr>
            <a:xfrm>
              <a:off x="7551999" y="1314573"/>
              <a:ext cx="1715214" cy="276999"/>
            </a:xfrm>
            <a:prstGeom prst="rect">
              <a:avLst/>
            </a:prstGeom>
            <a:noFill/>
          </p:spPr>
          <p:txBody>
            <a:bodyPr wrap="none" lIns="0" tIns="0" rIns="0" bIns="0" rtlCol="0">
              <a:spAutoFit/>
            </a:bodyPr>
            <a:lstStyle/>
            <a:p>
              <a:pPr marL="0" marR="0" lvl="0" indent="0" algn="ctr" defTabSz="731520" rtl="0" eaLnBrk="1" fontAlgn="auto" latinLnBrk="0" hangingPunct="1">
                <a:lnSpc>
                  <a:spcPct val="90000"/>
                </a:lnSpc>
                <a:spcBef>
                  <a:spcPts val="0"/>
                </a:spcBef>
                <a:spcAft>
                  <a:spcPts val="180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mazon Ember"/>
                  <a:ea typeface="+mn-ea"/>
                  <a:cs typeface="+mn-cs"/>
                </a:rPr>
                <a:t>Organize Data</a:t>
              </a:r>
            </a:p>
          </p:txBody>
        </p:sp>
        <p:sp>
          <p:nvSpPr>
            <p:cNvPr id="68" name="TextBox 67">
              <a:extLst>
                <a:ext uri="{FF2B5EF4-FFF2-40B4-BE49-F238E27FC236}">
                  <a16:creationId xmlns:a16="http://schemas.microsoft.com/office/drawing/2014/main" id="{C8A8C98F-F532-4A48-A33C-0D0CA404EB70}"/>
                </a:ext>
              </a:extLst>
            </p:cNvPr>
            <p:cNvSpPr txBox="1"/>
            <p:nvPr/>
          </p:nvSpPr>
          <p:spPr>
            <a:xfrm>
              <a:off x="11947660" y="1325493"/>
              <a:ext cx="984244" cy="276999"/>
            </a:xfrm>
            <a:prstGeom prst="rect">
              <a:avLst/>
            </a:prstGeom>
            <a:noFill/>
          </p:spPr>
          <p:txBody>
            <a:bodyPr wrap="none" lIns="0" tIns="0" rIns="0" bIns="0" rtlCol="0">
              <a:spAutoFit/>
            </a:bodyPr>
            <a:lstStyle/>
            <a:p>
              <a:pPr marL="0" marR="0" lvl="0" indent="0" algn="l" defTabSz="731520" rtl="0" eaLnBrk="1" fontAlgn="auto" latinLnBrk="0" hangingPunct="1">
                <a:lnSpc>
                  <a:spcPct val="90000"/>
                </a:lnSpc>
                <a:spcBef>
                  <a:spcPts val="0"/>
                </a:spcBef>
                <a:spcAft>
                  <a:spcPts val="180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mazon Ember"/>
                  <a:ea typeface="+mn-ea"/>
                  <a:cs typeface="+mn-cs"/>
                </a:rPr>
                <a:t>Outputs</a:t>
              </a:r>
            </a:p>
          </p:txBody>
        </p:sp>
        <p:grpSp>
          <p:nvGrpSpPr>
            <p:cNvPr id="36" name="Group 35">
              <a:extLst>
                <a:ext uri="{FF2B5EF4-FFF2-40B4-BE49-F238E27FC236}">
                  <a16:creationId xmlns:a16="http://schemas.microsoft.com/office/drawing/2014/main" id="{BB672F2C-EC8F-4AF3-A0D9-75F5ABE99FF1}"/>
                </a:ext>
              </a:extLst>
            </p:cNvPr>
            <p:cNvGrpSpPr/>
            <p:nvPr/>
          </p:nvGrpSpPr>
          <p:grpSpPr>
            <a:xfrm>
              <a:off x="6585596" y="2033369"/>
              <a:ext cx="3180623" cy="2634615"/>
              <a:chOff x="5338763" y="5124449"/>
              <a:chExt cx="3949700" cy="2634615"/>
            </a:xfrm>
          </p:grpSpPr>
          <p:sp>
            <p:nvSpPr>
              <p:cNvPr id="35" name="Freeform 9">
                <a:extLst>
                  <a:ext uri="{FF2B5EF4-FFF2-40B4-BE49-F238E27FC236}">
                    <a16:creationId xmlns:a16="http://schemas.microsoft.com/office/drawing/2014/main" id="{8AC13E19-7ED9-42D5-83A3-C774AEE252B7}"/>
                  </a:ext>
                </a:extLst>
              </p:cNvPr>
              <p:cNvSpPr>
                <a:spLocks/>
              </p:cNvSpPr>
              <p:nvPr/>
            </p:nvSpPr>
            <p:spPr bwMode="auto">
              <a:xfrm>
                <a:off x="5338763" y="5124449"/>
                <a:ext cx="3949700" cy="902501"/>
              </a:xfrm>
              <a:custGeom>
                <a:avLst/>
                <a:gdLst>
                  <a:gd name="T0" fmla="*/ 0 w 2488"/>
                  <a:gd name="T1" fmla="*/ 0 h 684"/>
                  <a:gd name="T2" fmla="*/ 332 w 2488"/>
                  <a:gd name="T3" fmla="*/ 0 h 684"/>
                  <a:gd name="T4" fmla="*/ 2129 w 2488"/>
                  <a:gd name="T5" fmla="*/ 684 h 684"/>
                  <a:gd name="T6" fmla="*/ 2488 w 2488"/>
                  <a:gd name="T7" fmla="*/ 684 h 684"/>
                </a:gdLst>
                <a:ahLst/>
                <a:cxnLst>
                  <a:cxn ang="0">
                    <a:pos x="T0" y="T1"/>
                  </a:cxn>
                  <a:cxn ang="0">
                    <a:pos x="T2" y="T3"/>
                  </a:cxn>
                  <a:cxn ang="0">
                    <a:pos x="T4" y="T5"/>
                  </a:cxn>
                  <a:cxn ang="0">
                    <a:pos x="T6" y="T7"/>
                  </a:cxn>
                </a:cxnLst>
                <a:rect l="0" t="0" r="r" b="b"/>
                <a:pathLst>
                  <a:path w="2488" h="684">
                    <a:moveTo>
                      <a:pt x="0" y="0"/>
                    </a:moveTo>
                    <a:lnTo>
                      <a:pt x="332" y="0"/>
                    </a:lnTo>
                    <a:lnTo>
                      <a:pt x="2129" y="684"/>
                    </a:lnTo>
                    <a:lnTo>
                      <a:pt x="2488" y="68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83" name="Freeform 9">
                <a:extLst>
                  <a:ext uri="{FF2B5EF4-FFF2-40B4-BE49-F238E27FC236}">
                    <a16:creationId xmlns:a16="http://schemas.microsoft.com/office/drawing/2014/main" id="{461C142D-B737-4AC2-8A0D-B7C52DA99246}"/>
                  </a:ext>
                </a:extLst>
              </p:cNvPr>
              <p:cNvSpPr>
                <a:spLocks/>
              </p:cNvSpPr>
              <p:nvPr/>
            </p:nvSpPr>
            <p:spPr bwMode="auto">
              <a:xfrm flipV="1">
                <a:off x="5338763" y="6896230"/>
                <a:ext cx="3949700" cy="862834"/>
              </a:xfrm>
              <a:custGeom>
                <a:avLst/>
                <a:gdLst>
                  <a:gd name="T0" fmla="*/ 0 w 2488"/>
                  <a:gd name="T1" fmla="*/ 0 h 684"/>
                  <a:gd name="T2" fmla="*/ 332 w 2488"/>
                  <a:gd name="T3" fmla="*/ 0 h 684"/>
                  <a:gd name="T4" fmla="*/ 2129 w 2488"/>
                  <a:gd name="T5" fmla="*/ 684 h 684"/>
                  <a:gd name="T6" fmla="*/ 2488 w 2488"/>
                  <a:gd name="T7" fmla="*/ 684 h 684"/>
                </a:gdLst>
                <a:ahLst/>
                <a:cxnLst>
                  <a:cxn ang="0">
                    <a:pos x="T0" y="T1"/>
                  </a:cxn>
                  <a:cxn ang="0">
                    <a:pos x="T2" y="T3"/>
                  </a:cxn>
                  <a:cxn ang="0">
                    <a:pos x="T4" y="T5"/>
                  </a:cxn>
                  <a:cxn ang="0">
                    <a:pos x="T6" y="T7"/>
                  </a:cxn>
                </a:cxnLst>
                <a:rect l="0" t="0" r="r" b="b"/>
                <a:pathLst>
                  <a:path w="2488" h="684">
                    <a:moveTo>
                      <a:pt x="0" y="0"/>
                    </a:moveTo>
                    <a:lnTo>
                      <a:pt x="332" y="0"/>
                    </a:lnTo>
                    <a:lnTo>
                      <a:pt x="2129" y="684"/>
                    </a:lnTo>
                    <a:lnTo>
                      <a:pt x="2488" y="68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grpSp>
        <p:sp>
          <p:nvSpPr>
            <p:cNvPr id="184" name="Freeform 5">
              <a:extLst>
                <a:ext uri="{FF2B5EF4-FFF2-40B4-BE49-F238E27FC236}">
                  <a16:creationId xmlns:a16="http://schemas.microsoft.com/office/drawing/2014/main" id="{44B5B7D1-D670-4479-A21D-33F316266DD7}"/>
                </a:ext>
              </a:extLst>
            </p:cNvPr>
            <p:cNvSpPr>
              <a:spLocks/>
            </p:cNvSpPr>
            <p:nvPr/>
          </p:nvSpPr>
          <p:spPr bwMode="auto">
            <a:xfrm>
              <a:off x="6080572" y="2177404"/>
              <a:ext cx="1005840" cy="1005840"/>
            </a:xfrm>
            <a:custGeom>
              <a:avLst/>
              <a:gdLst>
                <a:gd name="connsiteX0" fmla="*/ 0 w 1005840"/>
                <a:gd name="connsiteY0" fmla="*/ 502920 h 1005840"/>
                <a:gd name="connsiteX1" fmla="*/ 502920 w 1005840"/>
                <a:gd name="connsiteY1" fmla="*/ 0 h 1005840"/>
                <a:gd name="connsiteX2" fmla="*/ 1005840 w 1005840"/>
                <a:gd name="connsiteY2" fmla="*/ 502920 h 1005840"/>
                <a:gd name="connsiteX3" fmla="*/ 502920 w 1005840"/>
                <a:gd name="connsiteY3" fmla="*/ 1005840 h 1005840"/>
                <a:gd name="connsiteX4" fmla="*/ 0 w 1005840"/>
                <a:gd name="connsiteY4" fmla="*/ 502920 h 100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1005840">
                  <a:moveTo>
                    <a:pt x="0" y="502920"/>
                  </a:moveTo>
                  <a:cubicBezTo>
                    <a:pt x="0" y="225165"/>
                    <a:pt x="225165" y="0"/>
                    <a:pt x="502920" y="0"/>
                  </a:cubicBezTo>
                  <a:cubicBezTo>
                    <a:pt x="780675" y="0"/>
                    <a:pt x="1005840" y="225165"/>
                    <a:pt x="1005840" y="502920"/>
                  </a:cubicBezTo>
                  <a:cubicBezTo>
                    <a:pt x="1005840" y="780675"/>
                    <a:pt x="780675" y="1005840"/>
                    <a:pt x="502920" y="1005840"/>
                  </a:cubicBezTo>
                  <a:cubicBezTo>
                    <a:pt x="225165" y="1005840"/>
                    <a:pt x="0" y="780675"/>
                    <a:pt x="0" y="502920"/>
                  </a:cubicBezTo>
                  <a:close/>
                </a:path>
              </a:pathLst>
            </a:custGeom>
            <a:noFill/>
            <a:ln w="19050">
              <a:solidFill>
                <a:schemeClr val="accent1"/>
              </a:solidFill>
            </a:ln>
          </p:spPr>
          <p:txBody>
            <a:bodyPr vert="horz" wrap="none" lIns="0" tIns="0" rIns="0" bIns="0" numCol="1" anchor="ctr" anchorCtr="0" compatLnSpc="1">
              <a:prstTxWarp prst="textNoShape">
                <a:avLst/>
              </a:prstTxWarp>
            </a:bodyPr>
            <a:lstStyle/>
            <a:p>
              <a:pPr marL="0" marR="0" lvl="0" indent="0" algn="ctr" defTabSz="7315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mazon Ember"/>
                  <a:ea typeface="+mn-ea"/>
                  <a:cs typeface="+mn-cs"/>
                </a:rPr>
                <a:t>Applications</a:t>
              </a:r>
            </a:p>
          </p:txBody>
        </p:sp>
        <p:sp>
          <p:nvSpPr>
            <p:cNvPr id="185" name="Freeform 5">
              <a:extLst>
                <a:ext uri="{FF2B5EF4-FFF2-40B4-BE49-F238E27FC236}">
                  <a16:creationId xmlns:a16="http://schemas.microsoft.com/office/drawing/2014/main" id="{FDA3BBEF-E1E4-4F41-985E-1B5456ABA1B4}"/>
                </a:ext>
              </a:extLst>
            </p:cNvPr>
            <p:cNvSpPr>
              <a:spLocks/>
            </p:cNvSpPr>
            <p:nvPr/>
          </p:nvSpPr>
          <p:spPr bwMode="auto">
            <a:xfrm>
              <a:off x="6544944" y="3391742"/>
              <a:ext cx="1005840" cy="1005840"/>
            </a:xfrm>
            <a:custGeom>
              <a:avLst/>
              <a:gdLst>
                <a:gd name="connsiteX0" fmla="*/ 0 w 1005840"/>
                <a:gd name="connsiteY0" fmla="*/ 502920 h 1005840"/>
                <a:gd name="connsiteX1" fmla="*/ 502920 w 1005840"/>
                <a:gd name="connsiteY1" fmla="*/ 0 h 1005840"/>
                <a:gd name="connsiteX2" fmla="*/ 1005840 w 1005840"/>
                <a:gd name="connsiteY2" fmla="*/ 502920 h 1005840"/>
                <a:gd name="connsiteX3" fmla="*/ 502920 w 1005840"/>
                <a:gd name="connsiteY3" fmla="*/ 1005840 h 1005840"/>
                <a:gd name="connsiteX4" fmla="*/ 0 w 1005840"/>
                <a:gd name="connsiteY4" fmla="*/ 502920 h 100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1005840">
                  <a:moveTo>
                    <a:pt x="0" y="502920"/>
                  </a:moveTo>
                  <a:cubicBezTo>
                    <a:pt x="0" y="225165"/>
                    <a:pt x="225165" y="0"/>
                    <a:pt x="502920" y="0"/>
                  </a:cubicBezTo>
                  <a:cubicBezTo>
                    <a:pt x="780675" y="0"/>
                    <a:pt x="1005840" y="225165"/>
                    <a:pt x="1005840" y="502920"/>
                  </a:cubicBezTo>
                  <a:cubicBezTo>
                    <a:pt x="1005840" y="780675"/>
                    <a:pt x="780675" y="1005840"/>
                    <a:pt x="502920" y="1005840"/>
                  </a:cubicBezTo>
                  <a:cubicBezTo>
                    <a:pt x="225165" y="1005840"/>
                    <a:pt x="0" y="780675"/>
                    <a:pt x="0" y="502920"/>
                  </a:cubicBezTo>
                  <a:close/>
                </a:path>
              </a:pathLst>
            </a:custGeom>
            <a:noFill/>
            <a:ln w="19050">
              <a:solidFill>
                <a:schemeClr val="accent1"/>
              </a:solidFill>
            </a:ln>
          </p:spPr>
          <p:txBody>
            <a:bodyPr vert="horz" wrap="none" lIns="0" tIns="0" rIns="0" bIns="0" numCol="1" anchor="ctr" anchorCtr="0" compatLnSpc="1">
              <a:prstTxWarp prst="textNoShape">
                <a:avLst/>
              </a:prstTxWarp>
            </a:bodyPr>
            <a:lstStyle/>
            <a:p>
              <a:pPr marL="0" marR="0" lvl="0" indent="0" algn="ctr" defTabSz="7315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mazon Ember"/>
                  <a:ea typeface="+mn-ea"/>
                  <a:cs typeface="+mn-cs"/>
                </a:rPr>
                <a:t>Performance</a:t>
              </a:r>
            </a:p>
          </p:txBody>
        </p:sp>
        <p:sp>
          <p:nvSpPr>
            <p:cNvPr id="186" name="Freeform 5">
              <a:extLst>
                <a:ext uri="{FF2B5EF4-FFF2-40B4-BE49-F238E27FC236}">
                  <a16:creationId xmlns:a16="http://schemas.microsoft.com/office/drawing/2014/main" id="{A38FC545-764A-4707-B805-A6A3D533915A}"/>
                </a:ext>
              </a:extLst>
            </p:cNvPr>
            <p:cNvSpPr>
              <a:spLocks/>
            </p:cNvSpPr>
            <p:nvPr/>
          </p:nvSpPr>
          <p:spPr bwMode="auto">
            <a:xfrm>
              <a:off x="7628486" y="2769828"/>
              <a:ext cx="1005840" cy="1005840"/>
            </a:xfrm>
            <a:custGeom>
              <a:avLst/>
              <a:gdLst>
                <a:gd name="connsiteX0" fmla="*/ 0 w 1005840"/>
                <a:gd name="connsiteY0" fmla="*/ 502920 h 1005840"/>
                <a:gd name="connsiteX1" fmla="*/ 502920 w 1005840"/>
                <a:gd name="connsiteY1" fmla="*/ 0 h 1005840"/>
                <a:gd name="connsiteX2" fmla="*/ 1005840 w 1005840"/>
                <a:gd name="connsiteY2" fmla="*/ 502920 h 1005840"/>
                <a:gd name="connsiteX3" fmla="*/ 502920 w 1005840"/>
                <a:gd name="connsiteY3" fmla="*/ 1005840 h 1005840"/>
                <a:gd name="connsiteX4" fmla="*/ 0 w 1005840"/>
                <a:gd name="connsiteY4" fmla="*/ 502920 h 100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1005840">
                  <a:moveTo>
                    <a:pt x="0" y="502920"/>
                  </a:moveTo>
                  <a:cubicBezTo>
                    <a:pt x="0" y="225165"/>
                    <a:pt x="225165" y="0"/>
                    <a:pt x="502920" y="0"/>
                  </a:cubicBezTo>
                  <a:cubicBezTo>
                    <a:pt x="780675" y="0"/>
                    <a:pt x="1005840" y="225165"/>
                    <a:pt x="1005840" y="502920"/>
                  </a:cubicBezTo>
                  <a:cubicBezTo>
                    <a:pt x="1005840" y="780675"/>
                    <a:pt x="780675" y="1005840"/>
                    <a:pt x="502920" y="1005840"/>
                  </a:cubicBezTo>
                  <a:cubicBezTo>
                    <a:pt x="225165" y="1005840"/>
                    <a:pt x="0" y="780675"/>
                    <a:pt x="0" y="502920"/>
                  </a:cubicBezTo>
                  <a:close/>
                </a:path>
              </a:pathLst>
            </a:custGeom>
            <a:noFill/>
            <a:ln w="19050">
              <a:solidFill>
                <a:schemeClr val="accent1"/>
              </a:solidFill>
            </a:ln>
          </p:spPr>
          <p:txBody>
            <a:bodyPr vert="horz" wrap="none" lIns="0" tIns="0" rIns="0" bIns="0" numCol="1" anchor="ctr" anchorCtr="0" compatLnSpc="1">
              <a:prstTxWarp prst="textNoShape">
                <a:avLst/>
              </a:prstTxWarp>
            </a:bodyPr>
            <a:lstStyle/>
            <a:p>
              <a:pPr marL="0" marR="0" lvl="0" indent="0" algn="ctr" defTabSz="7315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mazon Ember"/>
                  <a:ea typeface="+mn-ea"/>
                  <a:cs typeface="+mn-cs"/>
                </a:rPr>
                <a:t>Infrastructure</a:t>
              </a:r>
            </a:p>
          </p:txBody>
        </p:sp>
        <p:cxnSp>
          <p:nvCxnSpPr>
            <p:cNvPr id="41" name="Straight Arrow Connector 40">
              <a:extLst>
                <a:ext uri="{FF2B5EF4-FFF2-40B4-BE49-F238E27FC236}">
                  <a16:creationId xmlns:a16="http://schemas.microsoft.com/office/drawing/2014/main" id="{B6062004-04EF-4206-B3E8-AFA6E7019A41}"/>
                </a:ext>
              </a:extLst>
            </p:cNvPr>
            <p:cNvCxnSpPr>
              <a:cxnSpLocks/>
            </p:cNvCxnSpPr>
            <p:nvPr/>
          </p:nvCxnSpPr>
          <p:spPr>
            <a:xfrm>
              <a:off x="4458634" y="2852047"/>
              <a:ext cx="1244093" cy="0"/>
            </a:xfrm>
            <a:prstGeom prst="straightConnector1">
              <a:avLst/>
            </a:prstGeom>
            <a:ln w="19050">
              <a:solidFill>
                <a:schemeClr val="tx1">
                  <a:lumMod val="50000"/>
                </a:schemeClr>
              </a:solidFill>
              <a:prstDash val="sysDash"/>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87" name="Straight Arrow Connector 186">
              <a:extLst>
                <a:ext uri="{FF2B5EF4-FFF2-40B4-BE49-F238E27FC236}">
                  <a16:creationId xmlns:a16="http://schemas.microsoft.com/office/drawing/2014/main" id="{71B3A9C1-3F32-4ED6-A46D-65A198F275D6}"/>
                </a:ext>
              </a:extLst>
            </p:cNvPr>
            <p:cNvCxnSpPr>
              <a:cxnSpLocks/>
            </p:cNvCxnSpPr>
            <p:nvPr/>
          </p:nvCxnSpPr>
          <p:spPr>
            <a:xfrm>
              <a:off x="4259766" y="3151842"/>
              <a:ext cx="1532432" cy="0"/>
            </a:xfrm>
            <a:prstGeom prst="straightConnector1">
              <a:avLst/>
            </a:prstGeom>
            <a:ln w="19050">
              <a:solidFill>
                <a:schemeClr val="tx1">
                  <a:lumMod val="50000"/>
                </a:schemeClr>
              </a:solidFill>
              <a:prstDash val="sysDash"/>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88" name="Straight Arrow Connector 187">
              <a:extLst>
                <a:ext uri="{FF2B5EF4-FFF2-40B4-BE49-F238E27FC236}">
                  <a16:creationId xmlns:a16="http://schemas.microsoft.com/office/drawing/2014/main" id="{58082F02-F7A6-48A6-92C2-6C282A34795A}"/>
                </a:ext>
              </a:extLst>
            </p:cNvPr>
            <p:cNvCxnSpPr>
              <a:cxnSpLocks/>
            </p:cNvCxnSpPr>
            <p:nvPr/>
          </p:nvCxnSpPr>
          <p:spPr>
            <a:xfrm>
              <a:off x="4126750" y="3451637"/>
              <a:ext cx="2069343" cy="0"/>
            </a:xfrm>
            <a:prstGeom prst="straightConnector1">
              <a:avLst/>
            </a:prstGeom>
            <a:ln w="19050">
              <a:solidFill>
                <a:schemeClr val="tx1">
                  <a:lumMod val="50000"/>
                </a:schemeClr>
              </a:solidFill>
              <a:prstDash val="sysDash"/>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89" name="Straight Arrow Connector 188">
              <a:extLst>
                <a:ext uri="{FF2B5EF4-FFF2-40B4-BE49-F238E27FC236}">
                  <a16:creationId xmlns:a16="http://schemas.microsoft.com/office/drawing/2014/main" id="{BB9B7D51-571A-4568-821B-4EB387B114C9}"/>
                </a:ext>
              </a:extLst>
            </p:cNvPr>
            <p:cNvCxnSpPr>
              <a:cxnSpLocks/>
            </p:cNvCxnSpPr>
            <p:nvPr/>
          </p:nvCxnSpPr>
          <p:spPr>
            <a:xfrm>
              <a:off x="4554697" y="3751432"/>
              <a:ext cx="1237501" cy="0"/>
            </a:xfrm>
            <a:prstGeom prst="straightConnector1">
              <a:avLst/>
            </a:prstGeom>
            <a:ln w="19050">
              <a:solidFill>
                <a:schemeClr val="tx1">
                  <a:lumMod val="50000"/>
                </a:schemeClr>
              </a:solidFill>
              <a:prstDash val="sysDash"/>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90" name="Straight Arrow Connector 189">
              <a:extLst>
                <a:ext uri="{FF2B5EF4-FFF2-40B4-BE49-F238E27FC236}">
                  <a16:creationId xmlns:a16="http://schemas.microsoft.com/office/drawing/2014/main" id="{6FE796DF-E64A-4613-B305-B60F2E83B89B}"/>
                </a:ext>
              </a:extLst>
            </p:cNvPr>
            <p:cNvCxnSpPr>
              <a:cxnSpLocks/>
            </p:cNvCxnSpPr>
            <p:nvPr/>
          </p:nvCxnSpPr>
          <p:spPr>
            <a:xfrm>
              <a:off x="4668305" y="4051227"/>
              <a:ext cx="1650307" cy="0"/>
            </a:xfrm>
            <a:prstGeom prst="straightConnector1">
              <a:avLst/>
            </a:prstGeom>
            <a:ln w="19050">
              <a:solidFill>
                <a:schemeClr val="tx1">
                  <a:lumMod val="50000"/>
                </a:schemeClr>
              </a:solidFill>
              <a:prstDash val="sysDash"/>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91" name="Straight Arrow Connector 190">
              <a:extLst>
                <a:ext uri="{FF2B5EF4-FFF2-40B4-BE49-F238E27FC236}">
                  <a16:creationId xmlns:a16="http://schemas.microsoft.com/office/drawing/2014/main" id="{6665B118-BFEC-49C3-BF15-7930BA0CD5AC}"/>
                </a:ext>
              </a:extLst>
            </p:cNvPr>
            <p:cNvCxnSpPr>
              <a:cxnSpLocks/>
            </p:cNvCxnSpPr>
            <p:nvPr/>
          </p:nvCxnSpPr>
          <p:spPr>
            <a:xfrm>
              <a:off x="4850319" y="4351024"/>
              <a:ext cx="1345774" cy="0"/>
            </a:xfrm>
            <a:prstGeom prst="straightConnector1">
              <a:avLst/>
            </a:prstGeom>
            <a:ln w="19050">
              <a:solidFill>
                <a:schemeClr val="tx1">
                  <a:lumMod val="50000"/>
                </a:schemeClr>
              </a:solidFill>
              <a:prstDash val="sysDash"/>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92" name="Straight Arrow Connector 191">
              <a:extLst>
                <a:ext uri="{FF2B5EF4-FFF2-40B4-BE49-F238E27FC236}">
                  <a16:creationId xmlns:a16="http://schemas.microsoft.com/office/drawing/2014/main" id="{58896029-AB57-408E-A540-297466757963}"/>
                </a:ext>
              </a:extLst>
            </p:cNvPr>
            <p:cNvCxnSpPr>
              <a:cxnSpLocks/>
            </p:cNvCxnSpPr>
            <p:nvPr/>
          </p:nvCxnSpPr>
          <p:spPr>
            <a:xfrm>
              <a:off x="4645921" y="2552252"/>
              <a:ext cx="1146277" cy="0"/>
            </a:xfrm>
            <a:prstGeom prst="straightConnector1">
              <a:avLst/>
            </a:prstGeom>
            <a:ln w="19050">
              <a:solidFill>
                <a:schemeClr val="tx1">
                  <a:lumMod val="50000"/>
                </a:schemeClr>
              </a:solidFill>
              <a:prstDash val="sysDash"/>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93" name="Straight Arrow Connector 192">
              <a:extLst>
                <a:ext uri="{FF2B5EF4-FFF2-40B4-BE49-F238E27FC236}">
                  <a16:creationId xmlns:a16="http://schemas.microsoft.com/office/drawing/2014/main" id="{B7979F1A-194A-4DA2-A833-A73BA69BB24D}"/>
                </a:ext>
              </a:extLst>
            </p:cNvPr>
            <p:cNvCxnSpPr>
              <a:cxnSpLocks/>
            </p:cNvCxnSpPr>
            <p:nvPr/>
          </p:nvCxnSpPr>
          <p:spPr>
            <a:xfrm>
              <a:off x="4458634" y="2252457"/>
              <a:ext cx="1333564" cy="0"/>
            </a:xfrm>
            <a:prstGeom prst="straightConnector1">
              <a:avLst/>
            </a:prstGeom>
            <a:ln w="19050">
              <a:solidFill>
                <a:schemeClr val="tx1">
                  <a:lumMod val="50000"/>
                </a:schemeClr>
              </a:solidFill>
              <a:prstDash val="sysDash"/>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918EE4E6-6B76-481B-80B2-6FB7F4167C92}"/>
                </a:ext>
              </a:extLst>
            </p:cNvPr>
            <p:cNvCxnSpPr>
              <a:cxnSpLocks/>
            </p:cNvCxnSpPr>
            <p:nvPr/>
          </p:nvCxnSpPr>
          <p:spPr>
            <a:xfrm>
              <a:off x="8854669" y="3353548"/>
              <a:ext cx="2170654" cy="0"/>
            </a:xfrm>
            <a:prstGeom prst="straightConnector1">
              <a:avLst/>
            </a:prstGeom>
            <a:ln w="38100">
              <a:solidFill>
                <a:schemeClr val="accent1"/>
              </a:solidFill>
              <a:prstDash val="solid"/>
              <a:headEnd type="none"/>
              <a:tailEnd type="arrow" w="lg" len="sm"/>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F2591A8E-DD23-4B8F-B53F-86A72C306FF8}"/>
                </a:ext>
              </a:extLst>
            </p:cNvPr>
            <p:cNvSpPr>
              <a:spLocks noChangeAspect="1"/>
            </p:cNvSpPr>
            <p:nvPr/>
          </p:nvSpPr>
          <p:spPr bwMode="auto">
            <a:xfrm>
              <a:off x="11350654" y="4384463"/>
              <a:ext cx="182880" cy="1828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200" tIns="0" rIns="0" bIns="0"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2000" dirty="0">
                  <a:solidFill>
                    <a:srgbClr val="FFFFFF"/>
                  </a:solidFill>
                  <a:ea typeface="Segoe UI" pitchFamily="34" charset="0"/>
                  <a:cs typeface="Segoe UI" pitchFamily="34" charset="0"/>
                </a:rPr>
                <a:t>Prioritization</a:t>
              </a:r>
              <a:endParaRPr lang="en-US" sz="2400" dirty="0">
                <a:solidFill>
                  <a:srgbClr val="FFFFFF"/>
                </a:solidFill>
                <a:ea typeface="Segoe UI" pitchFamily="34" charset="0"/>
                <a:cs typeface="Segoe UI" pitchFamily="34" charset="0"/>
              </a:endParaRPr>
            </a:p>
          </p:txBody>
        </p:sp>
        <p:sp>
          <p:nvSpPr>
            <p:cNvPr id="64" name="Oval 63">
              <a:extLst>
                <a:ext uri="{FF2B5EF4-FFF2-40B4-BE49-F238E27FC236}">
                  <a16:creationId xmlns:a16="http://schemas.microsoft.com/office/drawing/2014/main" id="{5C00897C-E1DA-4420-87C3-46DDCB0AF664}"/>
                </a:ext>
              </a:extLst>
            </p:cNvPr>
            <p:cNvSpPr>
              <a:spLocks noChangeAspect="1"/>
            </p:cNvSpPr>
            <p:nvPr/>
          </p:nvSpPr>
          <p:spPr bwMode="auto">
            <a:xfrm>
              <a:off x="11343441" y="2830361"/>
              <a:ext cx="182880" cy="1828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200" tIns="0" rIns="0" bIns="0" numCol="1" spcCol="0" rtlCol="0" fromWordArt="0" anchor="ctr" anchorCtr="0" forceAA="0" compatLnSpc="1">
              <a:prstTxWarp prst="textNoShape">
                <a:avLst/>
              </a:prstTxWarp>
              <a:noAutofit/>
            </a:bodyPr>
            <a:lstStyle/>
            <a:p>
              <a:pPr defTabSz="932472" fontAlgn="base">
                <a:spcBef>
                  <a:spcPct val="0"/>
                </a:spcBef>
                <a:spcAft>
                  <a:spcPct val="0"/>
                </a:spcAft>
                <a:defRPr/>
              </a:pPr>
              <a:r>
                <a:rPr lang="en-US" sz="2000" dirty="0">
                  <a:solidFill>
                    <a:srgbClr val="FFFFFF"/>
                  </a:solidFill>
                  <a:ea typeface="Segoe UI" pitchFamily="34" charset="0"/>
                  <a:cs typeface="Segoe UI" pitchFamily="34" charset="0"/>
                </a:rPr>
                <a:t>Application Portfolio</a:t>
              </a:r>
              <a:endParaRPr lang="en-US" sz="2400" dirty="0">
                <a:solidFill>
                  <a:srgbClr val="FFFFFF"/>
                </a:solidFill>
                <a:ea typeface="Segoe UI" pitchFamily="34" charset="0"/>
                <a:cs typeface="Segoe UI" pitchFamily="34" charset="0"/>
              </a:endParaRPr>
            </a:p>
          </p:txBody>
        </p:sp>
        <p:sp>
          <p:nvSpPr>
            <p:cNvPr id="65" name="Oval 64">
              <a:extLst>
                <a:ext uri="{FF2B5EF4-FFF2-40B4-BE49-F238E27FC236}">
                  <a16:creationId xmlns:a16="http://schemas.microsoft.com/office/drawing/2014/main" id="{1BE0143D-F7B9-437F-828F-267F29ABB71F}"/>
                </a:ext>
              </a:extLst>
            </p:cNvPr>
            <p:cNvSpPr>
              <a:spLocks noChangeAspect="1"/>
            </p:cNvSpPr>
            <p:nvPr/>
          </p:nvSpPr>
          <p:spPr bwMode="auto">
            <a:xfrm>
              <a:off x="11341294" y="3215341"/>
              <a:ext cx="182880" cy="1828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200" tIns="0" rIns="0" bIns="0" numCol="1" spcCol="0" rtlCol="0" fromWordArt="0" anchor="ctr" anchorCtr="0" forceAA="0" compatLnSpc="1">
              <a:prstTxWarp prst="textNoShape">
                <a:avLst/>
              </a:prstTxWarp>
              <a:noAutofit/>
            </a:bodyPr>
            <a:lstStyle/>
            <a:p>
              <a:pPr defTabSz="932472" fontAlgn="base">
                <a:spcBef>
                  <a:spcPct val="0"/>
                </a:spcBef>
                <a:spcAft>
                  <a:spcPct val="0"/>
                </a:spcAft>
                <a:defRPr/>
              </a:pPr>
              <a:r>
                <a:rPr lang="en-US" sz="2000" dirty="0">
                  <a:solidFill>
                    <a:srgbClr val="FFFFFF"/>
                  </a:solidFill>
                  <a:ea typeface="Segoe UI" pitchFamily="34" charset="0"/>
                  <a:cs typeface="Segoe UI" pitchFamily="34" charset="0"/>
                </a:rPr>
                <a:t>7R Disposition Tree</a:t>
              </a:r>
              <a:endParaRPr lang="en-US" sz="2400" dirty="0">
                <a:solidFill>
                  <a:srgbClr val="FFFFFF"/>
                </a:solidFill>
                <a:ea typeface="Segoe UI" pitchFamily="34" charset="0"/>
                <a:cs typeface="Segoe UI" pitchFamily="34" charset="0"/>
              </a:endParaRPr>
            </a:p>
          </p:txBody>
        </p:sp>
        <p:sp>
          <p:nvSpPr>
            <p:cNvPr id="69" name="Oval 68">
              <a:extLst>
                <a:ext uri="{FF2B5EF4-FFF2-40B4-BE49-F238E27FC236}">
                  <a16:creationId xmlns:a16="http://schemas.microsoft.com/office/drawing/2014/main" id="{17DBEFFD-5263-4469-B103-C32DC04C63FA}"/>
                </a:ext>
              </a:extLst>
            </p:cNvPr>
            <p:cNvSpPr>
              <a:spLocks noChangeAspect="1"/>
            </p:cNvSpPr>
            <p:nvPr/>
          </p:nvSpPr>
          <p:spPr bwMode="auto">
            <a:xfrm>
              <a:off x="11341294" y="2448406"/>
              <a:ext cx="182880" cy="1828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20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mazon Ember"/>
                  <a:ea typeface="Segoe UI" pitchFamily="34" charset="0"/>
                  <a:cs typeface="Segoe UI" pitchFamily="34" charset="0"/>
                </a:rPr>
                <a:t>Assets &amp; Dependencies</a:t>
              </a:r>
              <a:endParaRPr kumimoji="0" lang="en-US" sz="2400" b="0" i="0" u="none" strike="noStrike" kern="1200" cap="none" spc="0" normalizeH="0" baseline="0" noProof="0" dirty="0">
                <a:ln>
                  <a:noFill/>
                </a:ln>
                <a:solidFill>
                  <a:srgbClr val="FFFFFF"/>
                </a:solidFill>
                <a:effectLst/>
                <a:uLnTx/>
                <a:uFillTx/>
                <a:latin typeface="Amazon Ember"/>
                <a:ea typeface="Segoe UI" pitchFamily="34" charset="0"/>
                <a:cs typeface="Segoe UI" pitchFamily="34" charset="0"/>
              </a:endParaRPr>
            </a:p>
          </p:txBody>
        </p:sp>
        <p:sp>
          <p:nvSpPr>
            <p:cNvPr id="164" name="Freeform 10">
              <a:extLst>
                <a:ext uri="{FF2B5EF4-FFF2-40B4-BE49-F238E27FC236}">
                  <a16:creationId xmlns:a16="http://schemas.microsoft.com/office/drawing/2014/main" id="{C539DC55-8C29-4D36-93E0-F070FF989677}"/>
                </a:ext>
              </a:extLst>
            </p:cNvPr>
            <p:cNvSpPr>
              <a:spLocks/>
            </p:cNvSpPr>
            <p:nvPr/>
          </p:nvSpPr>
          <p:spPr bwMode="auto">
            <a:xfrm>
              <a:off x="2283091" y="3730514"/>
              <a:ext cx="636392" cy="307777"/>
            </a:xfrm>
            <a:prstGeom prst="rect">
              <a:avLst/>
            </a:prstGeom>
            <a:noFill/>
            <a:ln w="19050">
              <a:noFill/>
              <a:round/>
              <a:headEnd/>
              <a:tailEnd/>
            </a:ln>
          </p:spPr>
          <p:txBody>
            <a:bodyPr vert="horz" wrap="none" lIns="0" tIns="0" rIns="0" bIns="0" numCol="1" anchor="ctr" anchorCtr="0" compatLnSpc="1">
              <a:prstTxWarp prst="textNoShape">
                <a:avLst/>
              </a:prstTxWarp>
              <a:spAutoFit/>
            </a:bodyPr>
            <a:lstStyle/>
            <a:p>
              <a:pPr marL="0" marR="0" lvl="0" indent="0" algn="ctr" defTabSz="73152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mazon Ember"/>
                  <a:ea typeface="+mn-ea"/>
                  <a:cs typeface="+mn-cs"/>
                </a:rPr>
                <a:t>Tribal </a:t>
              </a:r>
              <a:br>
                <a:rPr kumimoji="0" lang="en-US" sz="1000" b="0" i="0" u="none" strike="noStrike" kern="1200" cap="none" spc="0" normalizeH="0" baseline="0" noProof="0" dirty="0">
                  <a:ln>
                    <a:noFill/>
                  </a:ln>
                  <a:solidFill>
                    <a:srgbClr val="FFFFFF"/>
                  </a:solidFill>
                  <a:effectLst/>
                  <a:uLnTx/>
                  <a:uFillTx/>
                  <a:latin typeface="Amazon Ember"/>
                  <a:ea typeface="+mn-ea"/>
                  <a:cs typeface="+mn-cs"/>
                </a:rPr>
              </a:br>
              <a:r>
                <a:rPr kumimoji="0" lang="en-US" sz="1000" b="0" i="0" u="none" strike="noStrike" kern="1200" cap="none" spc="0" normalizeH="0" baseline="0" noProof="0" dirty="0">
                  <a:ln>
                    <a:noFill/>
                  </a:ln>
                  <a:solidFill>
                    <a:srgbClr val="FFFFFF"/>
                  </a:solidFill>
                  <a:effectLst/>
                  <a:uLnTx/>
                  <a:uFillTx/>
                  <a:latin typeface="Amazon Ember"/>
                  <a:ea typeface="+mn-ea"/>
                  <a:cs typeface="+mn-cs"/>
                </a:rPr>
                <a:t>knowledge</a:t>
              </a:r>
            </a:p>
          </p:txBody>
        </p:sp>
        <p:sp>
          <p:nvSpPr>
            <p:cNvPr id="165" name="Freeform 10">
              <a:extLst>
                <a:ext uri="{FF2B5EF4-FFF2-40B4-BE49-F238E27FC236}">
                  <a16:creationId xmlns:a16="http://schemas.microsoft.com/office/drawing/2014/main" id="{B4E79AEF-7DC0-4734-9855-97E85DADD8A4}"/>
                </a:ext>
              </a:extLst>
            </p:cNvPr>
            <p:cNvSpPr>
              <a:spLocks/>
            </p:cNvSpPr>
            <p:nvPr/>
          </p:nvSpPr>
          <p:spPr bwMode="auto">
            <a:xfrm>
              <a:off x="1430175" y="4003343"/>
              <a:ext cx="532198" cy="153888"/>
            </a:xfrm>
            <a:prstGeom prst="rect">
              <a:avLst/>
            </a:prstGeom>
            <a:noFill/>
            <a:ln w="19050">
              <a:noFill/>
              <a:round/>
              <a:headEnd/>
              <a:tailEnd/>
            </a:ln>
          </p:spPr>
          <p:txBody>
            <a:bodyPr vert="horz" wrap="none" lIns="0" tIns="0" rIns="0" bIns="0" numCol="1" anchor="ctr" anchorCtr="0" compatLnSpc="1">
              <a:prstTxWarp prst="textNoShape">
                <a:avLst/>
              </a:prstTxWarp>
              <a:spAutoFit/>
            </a:bodyPr>
            <a:lstStyle/>
            <a:p>
              <a:pPr marL="0" marR="0" lvl="0" indent="0" algn="ctr" defTabSz="73152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mazon Ember"/>
                  <a:ea typeface="+mn-ea"/>
                  <a:cs typeface="+mn-cs"/>
                </a:rPr>
                <a:t>SLA/OLA</a:t>
              </a:r>
            </a:p>
          </p:txBody>
        </p:sp>
        <p:sp>
          <p:nvSpPr>
            <p:cNvPr id="166" name="Freeform 10">
              <a:extLst>
                <a:ext uri="{FF2B5EF4-FFF2-40B4-BE49-F238E27FC236}">
                  <a16:creationId xmlns:a16="http://schemas.microsoft.com/office/drawing/2014/main" id="{31BB290F-5716-47C6-8D10-88DFE3877C11}"/>
                </a:ext>
              </a:extLst>
            </p:cNvPr>
            <p:cNvSpPr>
              <a:spLocks/>
            </p:cNvSpPr>
            <p:nvPr/>
          </p:nvSpPr>
          <p:spPr bwMode="auto">
            <a:xfrm>
              <a:off x="1752478" y="2855641"/>
              <a:ext cx="835165" cy="307777"/>
            </a:xfrm>
            <a:prstGeom prst="rect">
              <a:avLst/>
            </a:prstGeom>
            <a:noFill/>
            <a:ln w="19050">
              <a:noFill/>
              <a:round/>
              <a:headEnd/>
              <a:tailEnd/>
            </a:ln>
          </p:spPr>
          <p:txBody>
            <a:bodyPr vert="horz" wrap="none" lIns="0" tIns="0" rIns="0" bIns="0" numCol="1" anchor="ctr" anchorCtr="0" compatLnSpc="1">
              <a:prstTxWarp prst="textNoShape">
                <a:avLst/>
              </a:prstTxWarp>
              <a:spAutoFit/>
            </a:bodyPr>
            <a:lstStyle/>
            <a:p>
              <a:pPr marL="0" marR="0" lvl="0" indent="0" algn="ctr" defTabSz="731520" rtl="0" eaLnBrk="1" fontAlgn="auto" latinLnBrk="0" hangingPunct="1">
                <a:lnSpc>
                  <a:spcPct val="100000"/>
                </a:lnSpc>
                <a:spcBef>
                  <a:spcPts val="0"/>
                </a:spcBef>
                <a:spcAft>
                  <a:spcPts val="0"/>
                </a:spcAft>
                <a:buClrTx/>
                <a:buSzTx/>
                <a:buFontTx/>
                <a:buNone/>
                <a:tabLst/>
                <a:defRPr/>
              </a:pPr>
              <a:r>
                <a:rPr lang="en-US" sz="1000" dirty="0">
                  <a:solidFill>
                    <a:srgbClr val="FFFFFF"/>
                  </a:solidFill>
                  <a:latin typeface="Amazon Ember"/>
                </a:rPr>
                <a:t>Configuration</a:t>
              </a:r>
              <a:r>
                <a:rPr kumimoji="0" lang="en-US" sz="1000" b="0" i="0" u="none" strike="noStrike" kern="1200" cap="none" spc="0" normalizeH="0" baseline="0" noProof="0" dirty="0">
                  <a:ln>
                    <a:noFill/>
                  </a:ln>
                  <a:solidFill>
                    <a:srgbClr val="FFFFFF"/>
                  </a:solidFill>
                  <a:effectLst/>
                  <a:uLnTx/>
                  <a:uFillTx/>
                  <a:latin typeface="Amazon Ember"/>
                  <a:ea typeface="+mn-ea"/>
                  <a:cs typeface="+mn-cs"/>
                </a:rPr>
                <a:t> </a:t>
              </a:r>
              <a:br>
                <a:rPr kumimoji="0" lang="en-US" sz="1000" b="0" i="0" u="none" strike="noStrike" kern="1200" cap="none" spc="0" normalizeH="0" baseline="0" noProof="0" dirty="0">
                  <a:ln>
                    <a:noFill/>
                  </a:ln>
                  <a:solidFill>
                    <a:srgbClr val="FFFFFF"/>
                  </a:solidFill>
                  <a:effectLst/>
                  <a:uLnTx/>
                  <a:uFillTx/>
                  <a:latin typeface="Amazon Ember"/>
                  <a:ea typeface="+mn-ea"/>
                  <a:cs typeface="+mn-cs"/>
                </a:rPr>
              </a:br>
              <a:r>
                <a:rPr kumimoji="0" lang="en-US" sz="1000" b="0" i="0" u="none" strike="noStrike" kern="1200" cap="none" spc="0" normalizeH="0" baseline="0" noProof="0" dirty="0">
                  <a:ln>
                    <a:noFill/>
                  </a:ln>
                  <a:solidFill>
                    <a:srgbClr val="FFFFFF"/>
                  </a:solidFill>
                  <a:effectLst/>
                  <a:uLnTx/>
                  <a:uFillTx/>
                  <a:latin typeface="Amazon Ember"/>
                  <a:ea typeface="+mn-ea"/>
                  <a:cs typeface="+mn-cs"/>
                </a:rPr>
                <a:t>data</a:t>
              </a:r>
            </a:p>
          </p:txBody>
        </p:sp>
        <p:sp>
          <p:nvSpPr>
            <p:cNvPr id="167" name="Freeform 10">
              <a:extLst>
                <a:ext uri="{FF2B5EF4-FFF2-40B4-BE49-F238E27FC236}">
                  <a16:creationId xmlns:a16="http://schemas.microsoft.com/office/drawing/2014/main" id="{613E3D9B-0115-4F99-A124-B6F2597B35A9}"/>
                </a:ext>
              </a:extLst>
            </p:cNvPr>
            <p:cNvSpPr>
              <a:spLocks/>
            </p:cNvSpPr>
            <p:nvPr/>
          </p:nvSpPr>
          <p:spPr bwMode="auto">
            <a:xfrm>
              <a:off x="702099" y="2872169"/>
              <a:ext cx="642804" cy="307777"/>
            </a:xfrm>
            <a:prstGeom prst="rect">
              <a:avLst/>
            </a:prstGeom>
            <a:noFill/>
            <a:ln w="19050">
              <a:noFill/>
              <a:round/>
              <a:headEnd/>
              <a:tailEnd/>
            </a:ln>
          </p:spPr>
          <p:txBody>
            <a:bodyPr vert="horz" wrap="none" lIns="0" tIns="0" rIns="0" bIns="0" numCol="1" anchor="ctr" anchorCtr="0" compatLnSpc="1">
              <a:prstTxWarp prst="textNoShape">
                <a:avLst/>
              </a:prstTxWarp>
              <a:spAutoFit/>
            </a:bodyPr>
            <a:lstStyle/>
            <a:p>
              <a:pPr marL="0" marR="0" lvl="0" indent="0" algn="ctr" defTabSz="73152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mazon Ember"/>
                  <a:ea typeface="+mn-ea"/>
                  <a:cs typeface="+mn-cs"/>
                </a:rPr>
                <a:t>Asset </a:t>
              </a:r>
              <a:br>
                <a:rPr kumimoji="0" lang="en-US" sz="1000" b="0" i="0" u="none" strike="noStrike" kern="1200" cap="none" spc="0" normalizeH="0" baseline="0" noProof="0" dirty="0">
                  <a:ln>
                    <a:noFill/>
                  </a:ln>
                  <a:solidFill>
                    <a:srgbClr val="FFFFFF"/>
                  </a:solidFill>
                  <a:effectLst/>
                  <a:uLnTx/>
                  <a:uFillTx/>
                  <a:latin typeface="Amazon Ember"/>
                  <a:ea typeface="+mn-ea"/>
                  <a:cs typeface="+mn-cs"/>
                </a:rPr>
              </a:br>
              <a:r>
                <a:rPr kumimoji="0" lang="en-US" sz="1000" b="0" i="0" u="none" strike="noStrike" kern="1200" cap="none" spc="0" normalizeH="0" baseline="0" noProof="0" dirty="0">
                  <a:ln>
                    <a:noFill/>
                  </a:ln>
                  <a:solidFill>
                    <a:srgbClr val="FFFFFF"/>
                  </a:solidFill>
                  <a:effectLst/>
                  <a:uLnTx/>
                  <a:uFillTx/>
                  <a:latin typeface="Amazon Ember"/>
                  <a:ea typeface="+mn-ea"/>
                  <a:cs typeface="+mn-cs"/>
                </a:rPr>
                <a:t>inventories</a:t>
              </a:r>
            </a:p>
          </p:txBody>
        </p:sp>
        <p:sp>
          <p:nvSpPr>
            <p:cNvPr id="168" name="Freeform 10">
              <a:extLst>
                <a:ext uri="{FF2B5EF4-FFF2-40B4-BE49-F238E27FC236}">
                  <a16:creationId xmlns:a16="http://schemas.microsoft.com/office/drawing/2014/main" id="{7B6EFB0F-7C0F-4878-BEE1-88ECAF6DE026}"/>
                </a:ext>
              </a:extLst>
            </p:cNvPr>
            <p:cNvSpPr>
              <a:spLocks/>
            </p:cNvSpPr>
            <p:nvPr/>
          </p:nvSpPr>
          <p:spPr bwMode="auto">
            <a:xfrm>
              <a:off x="673670" y="4195374"/>
              <a:ext cx="352661" cy="153888"/>
            </a:xfrm>
            <a:prstGeom prst="rect">
              <a:avLst/>
            </a:prstGeom>
            <a:noFill/>
            <a:ln w="19050">
              <a:noFill/>
              <a:round/>
              <a:headEnd/>
              <a:tailEnd/>
            </a:ln>
          </p:spPr>
          <p:txBody>
            <a:bodyPr vert="horz" wrap="none" lIns="0" tIns="0" rIns="0" bIns="0" numCol="1" anchor="ctr" anchorCtr="0" compatLnSpc="1">
              <a:prstTxWarp prst="textNoShape">
                <a:avLst/>
              </a:prstTxWarp>
              <a:spAutoFit/>
            </a:bodyPr>
            <a:lstStyle/>
            <a:p>
              <a:pPr marL="0" marR="0" lvl="0" indent="0" algn="ctr" defTabSz="73152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mazon Ember"/>
                  <a:ea typeface="+mn-ea"/>
                  <a:cs typeface="+mn-cs"/>
                </a:rPr>
                <a:t>CMDB</a:t>
              </a:r>
            </a:p>
          </p:txBody>
        </p:sp>
        <p:sp>
          <p:nvSpPr>
            <p:cNvPr id="169" name="Freeform 10">
              <a:extLst>
                <a:ext uri="{FF2B5EF4-FFF2-40B4-BE49-F238E27FC236}">
                  <a16:creationId xmlns:a16="http://schemas.microsoft.com/office/drawing/2014/main" id="{C6BCECAB-9D18-4B9C-B58A-87AB629DB81B}"/>
                </a:ext>
              </a:extLst>
            </p:cNvPr>
            <p:cNvSpPr>
              <a:spLocks/>
            </p:cNvSpPr>
            <p:nvPr/>
          </p:nvSpPr>
          <p:spPr bwMode="auto">
            <a:xfrm>
              <a:off x="3119933" y="4223534"/>
              <a:ext cx="711734" cy="153888"/>
            </a:xfrm>
            <a:prstGeom prst="rect">
              <a:avLst/>
            </a:prstGeom>
            <a:noFill/>
            <a:ln w="19050">
              <a:noFill/>
              <a:round/>
              <a:headEnd/>
              <a:tailEnd/>
            </a:ln>
          </p:spPr>
          <p:txBody>
            <a:bodyPr vert="horz" wrap="none" lIns="0" tIns="0" rIns="0" bIns="0" numCol="1" anchor="ctr" anchorCtr="0" compatLnSpc="1">
              <a:prstTxWarp prst="textNoShape">
                <a:avLst/>
              </a:prstTxWarp>
              <a:spAutoFit/>
            </a:bodyPr>
            <a:lstStyle/>
            <a:p>
              <a:pPr marL="0" marR="0" lvl="0" indent="0" algn="ctr" defTabSz="73152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mazon Ember"/>
                  <a:ea typeface="+mn-ea"/>
                  <a:cs typeface="+mn-cs"/>
                </a:rPr>
                <a:t>Architecture</a:t>
              </a:r>
            </a:p>
          </p:txBody>
        </p:sp>
        <p:sp>
          <p:nvSpPr>
            <p:cNvPr id="170" name="Freeform 10">
              <a:extLst>
                <a:ext uri="{FF2B5EF4-FFF2-40B4-BE49-F238E27FC236}">
                  <a16:creationId xmlns:a16="http://schemas.microsoft.com/office/drawing/2014/main" id="{8E8DCB94-C2CA-45B3-8294-0BAD5B4F6537}"/>
                </a:ext>
              </a:extLst>
            </p:cNvPr>
            <p:cNvSpPr>
              <a:spLocks/>
            </p:cNvSpPr>
            <p:nvPr/>
          </p:nvSpPr>
          <p:spPr bwMode="auto">
            <a:xfrm>
              <a:off x="3204879" y="3095184"/>
              <a:ext cx="745397" cy="307777"/>
            </a:xfrm>
            <a:prstGeom prst="rect">
              <a:avLst/>
            </a:prstGeom>
            <a:noFill/>
            <a:ln w="19050">
              <a:noFill/>
              <a:round/>
              <a:headEnd/>
              <a:tailEnd/>
            </a:ln>
          </p:spPr>
          <p:txBody>
            <a:bodyPr vert="horz" wrap="none" lIns="0" tIns="0" rIns="0" bIns="0" numCol="1" anchor="ctr" anchorCtr="0" compatLnSpc="1">
              <a:prstTxWarp prst="textNoShape">
                <a:avLst/>
              </a:prstTxWarp>
              <a:spAutoFit/>
            </a:bodyPr>
            <a:lstStyle/>
            <a:p>
              <a:pPr marL="0" marR="0" lvl="0" indent="0" algn="ctr" defTabSz="73152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mazon Ember"/>
                  <a:ea typeface="+mn-ea"/>
                  <a:cs typeface="+mn-cs"/>
                </a:rPr>
                <a:t>Performance</a:t>
              </a:r>
              <a:br>
                <a:rPr kumimoji="0" lang="en-US" sz="1000" b="0" i="0" u="none" strike="noStrike" kern="1200" cap="none" spc="0" normalizeH="0" baseline="0" noProof="0" dirty="0">
                  <a:ln>
                    <a:noFill/>
                  </a:ln>
                  <a:solidFill>
                    <a:srgbClr val="FFFFFF"/>
                  </a:solidFill>
                  <a:effectLst/>
                  <a:uLnTx/>
                  <a:uFillTx/>
                  <a:latin typeface="Amazon Ember"/>
                  <a:ea typeface="+mn-ea"/>
                  <a:cs typeface="+mn-cs"/>
                </a:rPr>
              </a:br>
              <a:r>
                <a:rPr kumimoji="0" lang="en-US" sz="1000" b="0" i="0" u="none" strike="noStrike" kern="1200" cap="none" spc="0" normalizeH="0" baseline="0" noProof="0" dirty="0">
                  <a:ln>
                    <a:noFill/>
                  </a:ln>
                  <a:solidFill>
                    <a:srgbClr val="FFFFFF"/>
                  </a:solidFill>
                  <a:effectLst/>
                  <a:uLnTx/>
                  <a:uFillTx/>
                  <a:latin typeface="Amazon Ember"/>
                  <a:ea typeface="+mn-ea"/>
                  <a:cs typeface="+mn-cs"/>
                </a:rPr>
                <a:t>Information</a:t>
              </a:r>
            </a:p>
          </p:txBody>
        </p:sp>
        <p:grpSp>
          <p:nvGrpSpPr>
            <p:cNvPr id="171" name="Group 170">
              <a:extLst>
                <a:ext uri="{FF2B5EF4-FFF2-40B4-BE49-F238E27FC236}">
                  <a16:creationId xmlns:a16="http://schemas.microsoft.com/office/drawing/2014/main" id="{358D83F0-5A09-45A6-84AA-51AAB06E4F0D}"/>
                </a:ext>
              </a:extLst>
            </p:cNvPr>
            <p:cNvGrpSpPr/>
            <p:nvPr/>
          </p:nvGrpSpPr>
          <p:grpSpPr>
            <a:xfrm>
              <a:off x="682053" y="3770220"/>
              <a:ext cx="340390" cy="366828"/>
              <a:chOff x="2760810" y="4102560"/>
              <a:chExt cx="340390" cy="366828"/>
            </a:xfrm>
          </p:grpSpPr>
          <p:sp>
            <p:nvSpPr>
              <p:cNvPr id="172" name="Freeform: Shape 171">
                <a:extLst>
                  <a:ext uri="{FF2B5EF4-FFF2-40B4-BE49-F238E27FC236}">
                    <a16:creationId xmlns:a16="http://schemas.microsoft.com/office/drawing/2014/main" id="{C3CA6112-77FB-417F-835A-57D8270F2742}"/>
                  </a:ext>
                </a:extLst>
              </p:cNvPr>
              <p:cNvSpPr/>
              <p:nvPr/>
            </p:nvSpPr>
            <p:spPr>
              <a:xfrm>
                <a:off x="2760810" y="4102560"/>
                <a:ext cx="340390" cy="95838"/>
              </a:xfrm>
              <a:custGeom>
                <a:avLst/>
                <a:gdLst>
                  <a:gd name="connsiteX0" fmla="*/ 328824 w 340390"/>
                  <a:gd name="connsiteY0" fmla="*/ 93194 h 95838"/>
                  <a:gd name="connsiteX1" fmla="*/ 11567 w 340390"/>
                  <a:gd name="connsiteY1" fmla="*/ 93194 h 95838"/>
                  <a:gd name="connsiteX2" fmla="*/ 4957 w 340390"/>
                  <a:gd name="connsiteY2" fmla="*/ 86585 h 95838"/>
                  <a:gd name="connsiteX3" fmla="*/ 4957 w 340390"/>
                  <a:gd name="connsiteY3" fmla="*/ 11567 h 95838"/>
                  <a:gd name="connsiteX4" fmla="*/ 11567 w 340390"/>
                  <a:gd name="connsiteY4" fmla="*/ 4957 h 95838"/>
                  <a:gd name="connsiteX5" fmla="*/ 328824 w 340390"/>
                  <a:gd name="connsiteY5" fmla="*/ 4957 h 95838"/>
                  <a:gd name="connsiteX6" fmla="*/ 335433 w 340390"/>
                  <a:gd name="connsiteY6" fmla="*/ 11567 h 95838"/>
                  <a:gd name="connsiteX7" fmla="*/ 335433 w 340390"/>
                  <a:gd name="connsiteY7" fmla="*/ 86585 h 95838"/>
                  <a:gd name="connsiteX8" fmla="*/ 328824 w 340390"/>
                  <a:gd name="connsiteY8" fmla="*/ 93194 h 95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0390" h="95838">
                    <a:moveTo>
                      <a:pt x="328824" y="93194"/>
                    </a:moveTo>
                    <a:lnTo>
                      <a:pt x="11567" y="93194"/>
                    </a:lnTo>
                    <a:cubicBezTo>
                      <a:pt x="7931" y="93194"/>
                      <a:pt x="4957" y="90220"/>
                      <a:pt x="4957" y="86585"/>
                    </a:cubicBezTo>
                    <a:lnTo>
                      <a:pt x="4957" y="11567"/>
                    </a:lnTo>
                    <a:cubicBezTo>
                      <a:pt x="4957" y="7931"/>
                      <a:pt x="7931" y="4957"/>
                      <a:pt x="11567" y="4957"/>
                    </a:cubicBezTo>
                    <a:lnTo>
                      <a:pt x="328824" y="4957"/>
                    </a:lnTo>
                    <a:cubicBezTo>
                      <a:pt x="332459" y="4957"/>
                      <a:pt x="335433" y="7931"/>
                      <a:pt x="335433" y="11567"/>
                    </a:cubicBezTo>
                    <a:lnTo>
                      <a:pt x="335433" y="86585"/>
                    </a:lnTo>
                    <a:cubicBezTo>
                      <a:pt x="335433" y="90220"/>
                      <a:pt x="332459" y="93194"/>
                      <a:pt x="328824" y="93194"/>
                    </a:cubicBez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73" name="Freeform: Shape 172">
                <a:extLst>
                  <a:ext uri="{FF2B5EF4-FFF2-40B4-BE49-F238E27FC236}">
                    <a16:creationId xmlns:a16="http://schemas.microsoft.com/office/drawing/2014/main" id="{E1C02ED2-7841-4AAF-83E9-A1ED228E92E4}"/>
                  </a:ext>
                </a:extLst>
              </p:cNvPr>
              <p:cNvSpPr/>
              <p:nvPr/>
            </p:nvSpPr>
            <p:spPr>
              <a:xfrm>
                <a:off x="2760810" y="4222192"/>
                <a:ext cx="340390" cy="95838"/>
              </a:xfrm>
              <a:custGeom>
                <a:avLst/>
                <a:gdLst>
                  <a:gd name="connsiteX0" fmla="*/ 329154 w 340390"/>
                  <a:gd name="connsiteY0" fmla="*/ 92864 h 95838"/>
                  <a:gd name="connsiteX1" fmla="*/ 11236 w 340390"/>
                  <a:gd name="connsiteY1" fmla="*/ 92864 h 95838"/>
                  <a:gd name="connsiteX2" fmla="*/ 4957 w 340390"/>
                  <a:gd name="connsiteY2" fmla="*/ 86585 h 95838"/>
                  <a:gd name="connsiteX3" fmla="*/ 4957 w 340390"/>
                  <a:gd name="connsiteY3" fmla="*/ 11236 h 95838"/>
                  <a:gd name="connsiteX4" fmla="*/ 11236 w 340390"/>
                  <a:gd name="connsiteY4" fmla="*/ 4957 h 95838"/>
                  <a:gd name="connsiteX5" fmla="*/ 329154 w 340390"/>
                  <a:gd name="connsiteY5" fmla="*/ 4957 h 95838"/>
                  <a:gd name="connsiteX6" fmla="*/ 335433 w 340390"/>
                  <a:gd name="connsiteY6" fmla="*/ 11236 h 95838"/>
                  <a:gd name="connsiteX7" fmla="*/ 335433 w 340390"/>
                  <a:gd name="connsiteY7" fmla="*/ 86585 h 95838"/>
                  <a:gd name="connsiteX8" fmla="*/ 329154 w 340390"/>
                  <a:gd name="connsiteY8" fmla="*/ 92864 h 95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0390" h="95838">
                    <a:moveTo>
                      <a:pt x="329154" y="92864"/>
                    </a:moveTo>
                    <a:lnTo>
                      <a:pt x="11236" y="92864"/>
                    </a:lnTo>
                    <a:cubicBezTo>
                      <a:pt x="7601" y="92864"/>
                      <a:pt x="4957" y="89889"/>
                      <a:pt x="4957" y="86585"/>
                    </a:cubicBezTo>
                    <a:lnTo>
                      <a:pt x="4957" y="11236"/>
                    </a:lnTo>
                    <a:cubicBezTo>
                      <a:pt x="4957" y="7601"/>
                      <a:pt x="7931" y="4957"/>
                      <a:pt x="11236" y="4957"/>
                    </a:cubicBezTo>
                    <a:lnTo>
                      <a:pt x="329154" y="4957"/>
                    </a:lnTo>
                    <a:cubicBezTo>
                      <a:pt x="332789" y="4957"/>
                      <a:pt x="335433" y="7931"/>
                      <a:pt x="335433" y="11236"/>
                    </a:cubicBezTo>
                    <a:lnTo>
                      <a:pt x="335433" y="86585"/>
                    </a:lnTo>
                    <a:cubicBezTo>
                      <a:pt x="335433" y="90220"/>
                      <a:pt x="332789" y="92864"/>
                      <a:pt x="329154" y="92864"/>
                    </a:cubicBez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74" name="Freeform: Shape 173">
                <a:extLst>
                  <a:ext uri="{FF2B5EF4-FFF2-40B4-BE49-F238E27FC236}">
                    <a16:creationId xmlns:a16="http://schemas.microsoft.com/office/drawing/2014/main" id="{ADB3AD2A-B848-4699-909F-9CE197A4D2EC}"/>
                  </a:ext>
                </a:extLst>
              </p:cNvPr>
              <p:cNvSpPr/>
              <p:nvPr/>
            </p:nvSpPr>
            <p:spPr>
              <a:xfrm>
                <a:off x="2804763" y="4190797"/>
                <a:ext cx="251162" cy="39657"/>
              </a:xfrm>
              <a:custGeom>
                <a:avLst/>
                <a:gdLst>
                  <a:gd name="connsiteX0" fmla="*/ 4957 w 251161"/>
                  <a:gd name="connsiteY0" fmla="*/ 4957 h 39657"/>
                  <a:gd name="connsiteX1" fmla="*/ 247527 w 251161"/>
                  <a:gd name="connsiteY1" fmla="*/ 4957 h 39657"/>
                  <a:gd name="connsiteX2" fmla="*/ 247527 w 251161"/>
                  <a:gd name="connsiteY2" fmla="*/ 34700 h 39657"/>
                  <a:gd name="connsiteX3" fmla="*/ 4957 w 251161"/>
                  <a:gd name="connsiteY3" fmla="*/ 34700 h 39657"/>
                </a:gdLst>
                <a:ahLst/>
                <a:cxnLst>
                  <a:cxn ang="0">
                    <a:pos x="connsiteX0" y="connsiteY0"/>
                  </a:cxn>
                  <a:cxn ang="0">
                    <a:pos x="connsiteX1" y="connsiteY1"/>
                  </a:cxn>
                  <a:cxn ang="0">
                    <a:pos x="connsiteX2" y="connsiteY2"/>
                  </a:cxn>
                  <a:cxn ang="0">
                    <a:pos x="connsiteX3" y="connsiteY3"/>
                  </a:cxn>
                </a:cxnLst>
                <a:rect l="l" t="t" r="r" b="b"/>
                <a:pathLst>
                  <a:path w="251161" h="39657">
                    <a:moveTo>
                      <a:pt x="4957" y="4957"/>
                    </a:moveTo>
                    <a:lnTo>
                      <a:pt x="247527" y="4957"/>
                    </a:lnTo>
                    <a:lnTo>
                      <a:pt x="247527" y="34700"/>
                    </a:lnTo>
                    <a:lnTo>
                      <a:pt x="4957" y="34700"/>
                    </a:ln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75" name="Freeform: Shape 174">
                <a:extLst>
                  <a:ext uri="{FF2B5EF4-FFF2-40B4-BE49-F238E27FC236}">
                    <a16:creationId xmlns:a16="http://schemas.microsoft.com/office/drawing/2014/main" id="{F52964B0-AA1D-49D1-976F-EFBEDE023384}"/>
                  </a:ext>
                </a:extLst>
              </p:cNvPr>
              <p:cNvSpPr/>
              <p:nvPr/>
            </p:nvSpPr>
            <p:spPr>
              <a:xfrm>
                <a:off x="2760810" y="4341494"/>
                <a:ext cx="340390" cy="95838"/>
              </a:xfrm>
              <a:custGeom>
                <a:avLst/>
                <a:gdLst>
                  <a:gd name="connsiteX0" fmla="*/ 328824 w 340390"/>
                  <a:gd name="connsiteY0" fmla="*/ 93194 h 95838"/>
                  <a:gd name="connsiteX1" fmla="*/ 11567 w 340390"/>
                  <a:gd name="connsiteY1" fmla="*/ 93194 h 95838"/>
                  <a:gd name="connsiteX2" fmla="*/ 4957 w 340390"/>
                  <a:gd name="connsiteY2" fmla="*/ 86585 h 95838"/>
                  <a:gd name="connsiteX3" fmla="*/ 4957 w 340390"/>
                  <a:gd name="connsiteY3" fmla="*/ 11567 h 95838"/>
                  <a:gd name="connsiteX4" fmla="*/ 11567 w 340390"/>
                  <a:gd name="connsiteY4" fmla="*/ 4957 h 95838"/>
                  <a:gd name="connsiteX5" fmla="*/ 328824 w 340390"/>
                  <a:gd name="connsiteY5" fmla="*/ 4957 h 95838"/>
                  <a:gd name="connsiteX6" fmla="*/ 335433 w 340390"/>
                  <a:gd name="connsiteY6" fmla="*/ 11567 h 95838"/>
                  <a:gd name="connsiteX7" fmla="*/ 335433 w 340390"/>
                  <a:gd name="connsiteY7" fmla="*/ 86585 h 95838"/>
                  <a:gd name="connsiteX8" fmla="*/ 328824 w 340390"/>
                  <a:gd name="connsiteY8" fmla="*/ 93194 h 95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0390" h="95838">
                    <a:moveTo>
                      <a:pt x="328824" y="93194"/>
                    </a:moveTo>
                    <a:lnTo>
                      <a:pt x="11567" y="93194"/>
                    </a:lnTo>
                    <a:cubicBezTo>
                      <a:pt x="7931" y="93194"/>
                      <a:pt x="4957" y="90220"/>
                      <a:pt x="4957" y="86585"/>
                    </a:cubicBezTo>
                    <a:lnTo>
                      <a:pt x="4957" y="11567"/>
                    </a:lnTo>
                    <a:cubicBezTo>
                      <a:pt x="4957" y="7931"/>
                      <a:pt x="7931" y="4957"/>
                      <a:pt x="11567" y="4957"/>
                    </a:cubicBezTo>
                    <a:lnTo>
                      <a:pt x="328824" y="4957"/>
                    </a:lnTo>
                    <a:cubicBezTo>
                      <a:pt x="332459" y="4957"/>
                      <a:pt x="335433" y="7931"/>
                      <a:pt x="335433" y="11567"/>
                    </a:cubicBezTo>
                    <a:lnTo>
                      <a:pt x="335433" y="86585"/>
                    </a:lnTo>
                    <a:cubicBezTo>
                      <a:pt x="335433" y="90220"/>
                      <a:pt x="332459" y="93194"/>
                      <a:pt x="328824" y="93194"/>
                    </a:cubicBez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76" name="Freeform: Shape 175">
                <a:extLst>
                  <a:ext uri="{FF2B5EF4-FFF2-40B4-BE49-F238E27FC236}">
                    <a16:creationId xmlns:a16="http://schemas.microsoft.com/office/drawing/2014/main" id="{05595A55-7840-427E-8C06-B8C1378F4B89}"/>
                  </a:ext>
                </a:extLst>
              </p:cNvPr>
              <p:cNvSpPr/>
              <p:nvPr/>
            </p:nvSpPr>
            <p:spPr>
              <a:xfrm>
                <a:off x="2810712" y="4131311"/>
                <a:ext cx="39657" cy="39657"/>
              </a:xfrm>
              <a:custGeom>
                <a:avLst/>
                <a:gdLst>
                  <a:gd name="connsiteX0" fmla="*/ 4957 w 39657"/>
                  <a:gd name="connsiteY0" fmla="*/ 4957 h 39657"/>
                  <a:gd name="connsiteX1" fmla="*/ 36022 w 39657"/>
                  <a:gd name="connsiteY1" fmla="*/ 4957 h 39657"/>
                  <a:gd name="connsiteX2" fmla="*/ 36022 w 39657"/>
                  <a:gd name="connsiteY2" fmla="*/ 36022 h 39657"/>
                  <a:gd name="connsiteX3" fmla="*/ 4957 w 39657"/>
                  <a:gd name="connsiteY3" fmla="*/ 36022 h 39657"/>
                </a:gdLst>
                <a:ahLst/>
                <a:cxnLst>
                  <a:cxn ang="0">
                    <a:pos x="connsiteX0" y="connsiteY0"/>
                  </a:cxn>
                  <a:cxn ang="0">
                    <a:pos x="connsiteX1" y="connsiteY1"/>
                  </a:cxn>
                  <a:cxn ang="0">
                    <a:pos x="connsiteX2" y="connsiteY2"/>
                  </a:cxn>
                  <a:cxn ang="0">
                    <a:pos x="connsiteX3" y="connsiteY3"/>
                  </a:cxn>
                </a:cxnLst>
                <a:rect l="l" t="t" r="r" b="b"/>
                <a:pathLst>
                  <a:path w="39657" h="39657">
                    <a:moveTo>
                      <a:pt x="4957" y="4957"/>
                    </a:moveTo>
                    <a:lnTo>
                      <a:pt x="36022" y="4957"/>
                    </a:lnTo>
                    <a:lnTo>
                      <a:pt x="36022" y="36022"/>
                    </a:lnTo>
                    <a:lnTo>
                      <a:pt x="4957" y="36022"/>
                    </a:ln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94" name="Freeform: Shape 193">
                <a:extLst>
                  <a:ext uri="{FF2B5EF4-FFF2-40B4-BE49-F238E27FC236}">
                    <a16:creationId xmlns:a16="http://schemas.microsoft.com/office/drawing/2014/main" id="{E1BF8D55-3437-4802-8F58-77DE599729EA}"/>
                  </a:ext>
                </a:extLst>
              </p:cNvPr>
              <p:cNvSpPr/>
              <p:nvPr/>
            </p:nvSpPr>
            <p:spPr>
              <a:xfrm>
                <a:off x="2884077" y="4131311"/>
                <a:ext cx="39657" cy="39657"/>
              </a:xfrm>
              <a:custGeom>
                <a:avLst/>
                <a:gdLst>
                  <a:gd name="connsiteX0" fmla="*/ 4957 w 39657"/>
                  <a:gd name="connsiteY0" fmla="*/ 4957 h 39657"/>
                  <a:gd name="connsiteX1" fmla="*/ 36022 w 39657"/>
                  <a:gd name="connsiteY1" fmla="*/ 4957 h 39657"/>
                  <a:gd name="connsiteX2" fmla="*/ 36022 w 39657"/>
                  <a:gd name="connsiteY2" fmla="*/ 36022 h 39657"/>
                  <a:gd name="connsiteX3" fmla="*/ 4957 w 39657"/>
                  <a:gd name="connsiteY3" fmla="*/ 36022 h 39657"/>
                </a:gdLst>
                <a:ahLst/>
                <a:cxnLst>
                  <a:cxn ang="0">
                    <a:pos x="connsiteX0" y="connsiteY0"/>
                  </a:cxn>
                  <a:cxn ang="0">
                    <a:pos x="connsiteX1" y="connsiteY1"/>
                  </a:cxn>
                  <a:cxn ang="0">
                    <a:pos x="connsiteX2" y="connsiteY2"/>
                  </a:cxn>
                  <a:cxn ang="0">
                    <a:pos x="connsiteX3" y="connsiteY3"/>
                  </a:cxn>
                </a:cxnLst>
                <a:rect l="l" t="t" r="r" b="b"/>
                <a:pathLst>
                  <a:path w="39657" h="39657">
                    <a:moveTo>
                      <a:pt x="4957" y="4957"/>
                    </a:moveTo>
                    <a:lnTo>
                      <a:pt x="36022" y="4957"/>
                    </a:lnTo>
                    <a:lnTo>
                      <a:pt x="36022" y="36022"/>
                    </a:lnTo>
                    <a:lnTo>
                      <a:pt x="4957" y="36022"/>
                    </a:ln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95" name="Freeform: Shape 194">
                <a:extLst>
                  <a:ext uri="{FF2B5EF4-FFF2-40B4-BE49-F238E27FC236}">
                    <a16:creationId xmlns:a16="http://schemas.microsoft.com/office/drawing/2014/main" id="{651245A4-B81B-4E7B-9445-4B5F1DC03679}"/>
                  </a:ext>
                </a:extLst>
              </p:cNvPr>
              <p:cNvSpPr/>
              <p:nvPr/>
            </p:nvSpPr>
            <p:spPr>
              <a:xfrm>
                <a:off x="2804763" y="4311751"/>
                <a:ext cx="251162" cy="39657"/>
              </a:xfrm>
              <a:custGeom>
                <a:avLst/>
                <a:gdLst>
                  <a:gd name="connsiteX0" fmla="*/ 4957 w 251161"/>
                  <a:gd name="connsiteY0" fmla="*/ 4957 h 39657"/>
                  <a:gd name="connsiteX1" fmla="*/ 247527 w 251161"/>
                  <a:gd name="connsiteY1" fmla="*/ 4957 h 39657"/>
                  <a:gd name="connsiteX2" fmla="*/ 247527 w 251161"/>
                  <a:gd name="connsiteY2" fmla="*/ 34700 h 39657"/>
                  <a:gd name="connsiteX3" fmla="*/ 4957 w 251161"/>
                  <a:gd name="connsiteY3" fmla="*/ 34700 h 39657"/>
                </a:gdLst>
                <a:ahLst/>
                <a:cxnLst>
                  <a:cxn ang="0">
                    <a:pos x="connsiteX0" y="connsiteY0"/>
                  </a:cxn>
                  <a:cxn ang="0">
                    <a:pos x="connsiteX1" y="connsiteY1"/>
                  </a:cxn>
                  <a:cxn ang="0">
                    <a:pos x="connsiteX2" y="connsiteY2"/>
                  </a:cxn>
                  <a:cxn ang="0">
                    <a:pos x="connsiteX3" y="connsiteY3"/>
                  </a:cxn>
                </a:cxnLst>
                <a:rect l="l" t="t" r="r" b="b"/>
                <a:pathLst>
                  <a:path w="251161" h="39657">
                    <a:moveTo>
                      <a:pt x="4957" y="4957"/>
                    </a:moveTo>
                    <a:lnTo>
                      <a:pt x="247527" y="4957"/>
                    </a:lnTo>
                    <a:lnTo>
                      <a:pt x="247527" y="34700"/>
                    </a:lnTo>
                    <a:lnTo>
                      <a:pt x="4957" y="34700"/>
                    </a:ln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96" name="Freeform: Shape 195">
                <a:extLst>
                  <a:ext uri="{FF2B5EF4-FFF2-40B4-BE49-F238E27FC236}">
                    <a16:creationId xmlns:a16="http://schemas.microsoft.com/office/drawing/2014/main" id="{70939D3E-10E7-492A-A241-4E7920218FBB}"/>
                  </a:ext>
                </a:extLst>
              </p:cNvPr>
              <p:cNvSpPr/>
              <p:nvPr/>
            </p:nvSpPr>
            <p:spPr>
              <a:xfrm>
                <a:off x="2947198" y="4250613"/>
                <a:ext cx="39657" cy="39657"/>
              </a:xfrm>
              <a:custGeom>
                <a:avLst/>
                <a:gdLst>
                  <a:gd name="connsiteX0" fmla="*/ 4957 w 39657"/>
                  <a:gd name="connsiteY0" fmla="*/ 4957 h 39657"/>
                  <a:gd name="connsiteX1" fmla="*/ 36022 w 39657"/>
                  <a:gd name="connsiteY1" fmla="*/ 4957 h 39657"/>
                  <a:gd name="connsiteX2" fmla="*/ 36022 w 39657"/>
                  <a:gd name="connsiteY2" fmla="*/ 36022 h 39657"/>
                  <a:gd name="connsiteX3" fmla="*/ 4957 w 39657"/>
                  <a:gd name="connsiteY3" fmla="*/ 36022 h 39657"/>
                </a:gdLst>
                <a:ahLst/>
                <a:cxnLst>
                  <a:cxn ang="0">
                    <a:pos x="connsiteX0" y="connsiteY0"/>
                  </a:cxn>
                  <a:cxn ang="0">
                    <a:pos x="connsiteX1" y="connsiteY1"/>
                  </a:cxn>
                  <a:cxn ang="0">
                    <a:pos x="connsiteX2" y="connsiteY2"/>
                  </a:cxn>
                  <a:cxn ang="0">
                    <a:pos x="connsiteX3" y="connsiteY3"/>
                  </a:cxn>
                </a:cxnLst>
                <a:rect l="l" t="t" r="r" b="b"/>
                <a:pathLst>
                  <a:path w="39657" h="39657">
                    <a:moveTo>
                      <a:pt x="4957" y="4957"/>
                    </a:moveTo>
                    <a:lnTo>
                      <a:pt x="36022" y="4957"/>
                    </a:lnTo>
                    <a:lnTo>
                      <a:pt x="36022" y="36022"/>
                    </a:lnTo>
                    <a:lnTo>
                      <a:pt x="4957" y="36022"/>
                    </a:ln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98" name="Freeform: Shape 197">
                <a:extLst>
                  <a:ext uri="{FF2B5EF4-FFF2-40B4-BE49-F238E27FC236}">
                    <a16:creationId xmlns:a16="http://schemas.microsoft.com/office/drawing/2014/main" id="{92C99BEA-8D57-4A81-9E79-6A5CC5477BE3}"/>
                  </a:ext>
                </a:extLst>
              </p:cNvPr>
              <p:cNvSpPr/>
              <p:nvPr/>
            </p:nvSpPr>
            <p:spPr>
              <a:xfrm>
                <a:off x="3020564" y="4250613"/>
                <a:ext cx="39657" cy="39657"/>
              </a:xfrm>
              <a:custGeom>
                <a:avLst/>
                <a:gdLst>
                  <a:gd name="connsiteX0" fmla="*/ 4957 w 39657"/>
                  <a:gd name="connsiteY0" fmla="*/ 4957 h 39657"/>
                  <a:gd name="connsiteX1" fmla="*/ 36022 w 39657"/>
                  <a:gd name="connsiteY1" fmla="*/ 4957 h 39657"/>
                  <a:gd name="connsiteX2" fmla="*/ 36022 w 39657"/>
                  <a:gd name="connsiteY2" fmla="*/ 36022 h 39657"/>
                  <a:gd name="connsiteX3" fmla="*/ 4957 w 39657"/>
                  <a:gd name="connsiteY3" fmla="*/ 36022 h 39657"/>
                </a:gdLst>
                <a:ahLst/>
                <a:cxnLst>
                  <a:cxn ang="0">
                    <a:pos x="connsiteX0" y="connsiteY0"/>
                  </a:cxn>
                  <a:cxn ang="0">
                    <a:pos x="connsiteX1" y="connsiteY1"/>
                  </a:cxn>
                  <a:cxn ang="0">
                    <a:pos x="connsiteX2" y="connsiteY2"/>
                  </a:cxn>
                  <a:cxn ang="0">
                    <a:pos x="connsiteX3" y="connsiteY3"/>
                  </a:cxn>
                </a:cxnLst>
                <a:rect l="l" t="t" r="r" b="b"/>
                <a:pathLst>
                  <a:path w="39657" h="39657">
                    <a:moveTo>
                      <a:pt x="4957" y="4957"/>
                    </a:moveTo>
                    <a:lnTo>
                      <a:pt x="36022" y="4957"/>
                    </a:lnTo>
                    <a:lnTo>
                      <a:pt x="36022" y="36022"/>
                    </a:lnTo>
                    <a:lnTo>
                      <a:pt x="4957" y="36022"/>
                    </a:ln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99" name="Freeform: Shape 198">
                <a:extLst>
                  <a:ext uri="{FF2B5EF4-FFF2-40B4-BE49-F238E27FC236}">
                    <a16:creationId xmlns:a16="http://schemas.microsoft.com/office/drawing/2014/main" id="{9BC7A034-CFF4-4DA1-BB47-670E63E3A44E}"/>
                  </a:ext>
                </a:extLst>
              </p:cNvPr>
              <p:cNvSpPr/>
              <p:nvPr/>
            </p:nvSpPr>
            <p:spPr>
              <a:xfrm>
                <a:off x="2810712" y="4369915"/>
                <a:ext cx="39657" cy="39657"/>
              </a:xfrm>
              <a:custGeom>
                <a:avLst/>
                <a:gdLst>
                  <a:gd name="connsiteX0" fmla="*/ 4957 w 39657"/>
                  <a:gd name="connsiteY0" fmla="*/ 4957 h 39657"/>
                  <a:gd name="connsiteX1" fmla="*/ 36022 w 39657"/>
                  <a:gd name="connsiteY1" fmla="*/ 4957 h 39657"/>
                  <a:gd name="connsiteX2" fmla="*/ 36022 w 39657"/>
                  <a:gd name="connsiteY2" fmla="*/ 36022 h 39657"/>
                  <a:gd name="connsiteX3" fmla="*/ 4957 w 39657"/>
                  <a:gd name="connsiteY3" fmla="*/ 36022 h 39657"/>
                </a:gdLst>
                <a:ahLst/>
                <a:cxnLst>
                  <a:cxn ang="0">
                    <a:pos x="connsiteX0" y="connsiteY0"/>
                  </a:cxn>
                  <a:cxn ang="0">
                    <a:pos x="connsiteX1" y="connsiteY1"/>
                  </a:cxn>
                  <a:cxn ang="0">
                    <a:pos x="connsiteX2" y="connsiteY2"/>
                  </a:cxn>
                  <a:cxn ang="0">
                    <a:pos x="connsiteX3" y="connsiteY3"/>
                  </a:cxn>
                </a:cxnLst>
                <a:rect l="l" t="t" r="r" b="b"/>
                <a:pathLst>
                  <a:path w="39657" h="39657">
                    <a:moveTo>
                      <a:pt x="4957" y="4957"/>
                    </a:moveTo>
                    <a:lnTo>
                      <a:pt x="36022" y="4957"/>
                    </a:lnTo>
                    <a:lnTo>
                      <a:pt x="36022" y="36022"/>
                    </a:lnTo>
                    <a:lnTo>
                      <a:pt x="4957" y="36022"/>
                    </a:ln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00" name="Freeform: Shape 199">
                <a:extLst>
                  <a:ext uri="{FF2B5EF4-FFF2-40B4-BE49-F238E27FC236}">
                    <a16:creationId xmlns:a16="http://schemas.microsoft.com/office/drawing/2014/main" id="{A7FDD351-328D-4783-823E-F7EE9D1ECA9E}"/>
                  </a:ext>
                </a:extLst>
              </p:cNvPr>
              <p:cNvSpPr/>
              <p:nvPr/>
            </p:nvSpPr>
            <p:spPr>
              <a:xfrm>
                <a:off x="2884077" y="4369915"/>
                <a:ext cx="39657" cy="39657"/>
              </a:xfrm>
              <a:custGeom>
                <a:avLst/>
                <a:gdLst>
                  <a:gd name="connsiteX0" fmla="*/ 4957 w 39657"/>
                  <a:gd name="connsiteY0" fmla="*/ 4957 h 39657"/>
                  <a:gd name="connsiteX1" fmla="*/ 36022 w 39657"/>
                  <a:gd name="connsiteY1" fmla="*/ 4957 h 39657"/>
                  <a:gd name="connsiteX2" fmla="*/ 36022 w 39657"/>
                  <a:gd name="connsiteY2" fmla="*/ 36022 h 39657"/>
                  <a:gd name="connsiteX3" fmla="*/ 4957 w 39657"/>
                  <a:gd name="connsiteY3" fmla="*/ 36022 h 39657"/>
                </a:gdLst>
                <a:ahLst/>
                <a:cxnLst>
                  <a:cxn ang="0">
                    <a:pos x="connsiteX0" y="connsiteY0"/>
                  </a:cxn>
                  <a:cxn ang="0">
                    <a:pos x="connsiteX1" y="connsiteY1"/>
                  </a:cxn>
                  <a:cxn ang="0">
                    <a:pos x="connsiteX2" y="connsiteY2"/>
                  </a:cxn>
                  <a:cxn ang="0">
                    <a:pos x="connsiteX3" y="connsiteY3"/>
                  </a:cxn>
                </a:cxnLst>
                <a:rect l="l" t="t" r="r" b="b"/>
                <a:pathLst>
                  <a:path w="39657" h="39657">
                    <a:moveTo>
                      <a:pt x="4957" y="4957"/>
                    </a:moveTo>
                    <a:lnTo>
                      <a:pt x="36022" y="4957"/>
                    </a:lnTo>
                    <a:lnTo>
                      <a:pt x="36022" y="36022"/>
                    </a:lnTo>
                    <a:lnTo>
                      <a:pt x="4957" y="36022"/>
                    </a:ln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01" name="Freeform: Shape 200">
                <a:extLst>
                  <a:ext uri="{FF2B5EF4-FFF2-40B4-BE49-F238E27FC236}">
                    <a16:creationId xmlns:a16="http://schemas.microsoft.com/office/drawing/2014/main" id="{223B8DBF-BC15-4DB9-B233-D4DAABC52D5F}"/>
                  </a:ext>
                </a:extLst>
              </p:cNvPr>
              <p:cNvSpPr/>
              <p:nvPr/>
            </p:nvSpPr>
            <p:spPr>
              <a:xfrm>
                <a:off x="2794188" y="4429731"/>
                <a:ext cx="89229" cy="39657"/>
              </a:xfrm>
              <a:custGeom>
                <a:avLst/>
                <a:gdLst>
                  <a:gd name="connsiteX0" fmla="*/ 4957 w 89228"/>
                  <a:gd name="connsiteY0" fmla="*/ 4957 h 39657"/>
                  <a:gd name="connsiteX1" fmla="*/ 84932 w 89228"/>
                  <a:gd name="connsiteY1" fmla="*/ 4957 h 39657"/>
                  <a:gd name="connsiteX2" fmla="*/ 84932 w 89228"/>
                  <a:gd name="connsiteY2" fmla="*/ 34700 h 39657"/>
                  <a:gd name="connsiteX3" fmla="*/ 4957 w 89228"/>
                  <a:gd name="connsiteY3" fmla="*/ 34700 h 39657"/>
                </a:gdLst>
                <a:ahLst/>
                <a:cxnLst>
                  <a:cxn ang="0">
                    <a:pos x="connsiteX0" y="connsiteY0"/>
                  </a:cxn>
                  <a:cxn ang="0">
                    <a:pos x="connsiteX1" y="connsiteY1"/>
                  </a:cxn>
                  <a:cxn ang="0">
                    <a:pos x="connsiteX2" y="connsiteY2"/>
                  </a:cxn>
                  <a:cxn ang="0">
                    <a:pos x="connsiteX3" y="connsiteY3"/>
                  </a:cxn>
                </a:cxnLst>
                <a:rect l="l" t="t" r="r" b="b"/>
                <a:pathLst>
                  <a:path w="89228" h="39657">
                    <a:moveTo>
                      <a:pt x="4957" y="4957"/>
                    </a:moveTo>
                    <a:lnTo>
                      <a:pt x="84932" y="4957"/>
                    </a:lnTo>
                    <a:lnTo>
                      <a:pt x="84932" y="34700"/>
                    </a:lnTo>
                    <a:lnTo>
                      <a:pt x="4957" y="34700"/>
                    </a:ln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02" name="Freeform: Shape 201">
                <a:extLst>
                  <a:ext uri="{FF2B5EF4-FFF2-40B4-BE49-F238E27FC236}">
                    <a16:creationId xmlns:a16="http://schemas.microsoft.com/office/drawing/2014/main" id="{463A519C-B2CB-4BAD-BAF7-76F7B8A247DB}"/>
                  </a:ext>
                </a:extLst>
              </p:cNvPr>
              <p:cNvSpPr/>
              <p:nvPr/>
            </p:nvSpPr>
            <p:spPr>
              <a:xfrm>
                <a:off x="2979585" y="4429731"/>
                <a:ext cx="89229" cy="39657"/>
              </a:xfrm>
              <a:custGeom>
                <a:avLst/>
                <a:gdLst>
                  <a:gd name="connsiteX0" fmla="*/ 4957 w 89228"/>
                  <a:gd name="connsiteY0" fmla="*/ 4957 h 39657"/>
                  <a:gd name="connsiteX1" fmla="*/ 84932 w 89228"/>
                  <a:gd name="connsiteY1" fmla="*/ 4957 h 39657"/>
                  <a:gd name="connsiteX2" fmla="*/ 84932 w 89228"/>
                  <a:gd name="connsiteY2" fmla="*/ 34700 h 39657"/>
                  <a:gd name="connsiteX3" fmla="*/ 4957 w 89228"/>
                  <a:gd name="connsiteY3" fmla="*/ 34700 h 39657"/>
                </a:gdLst>
                <a:ahLst/>
                <a:cxnLst>
                  <a:cxn ang="0">
                    <a:pos x="connsiteX0" y="connsiteY0"/>
                  </a:cxn>
                  <a:cxn ang="0">
                    <a:pos x="connsiteX1" y="connsiteY1"/>
                  </a:cxn>
                  <a:cxn ang="0">
                    <a:pos x="connsiteX2" y="connsiteY2"/>
                  </a:cxn>
                  <a:cxn ang="0">
                    <a:pos x="connsiteX3" y="connsiteY3"/>
                  </a:cxn>
                </a:cxnLst>
                <a:rect l="l" t="t" r="r" b="b"/>
                <a:pathLst>
                  <a:path w="89228" h="39657">
                    <a:moveTo>
                      <a:pt x="4957" y="4957"/>
                    </a:moveTo>
                    <a:lnTo>
                      <a:pt x="84932" y="4957"/>
                    </a:lnTo>
                    <a:lnTo>
                      <a:pt x="84932" y="34700"/>
                    </a:lnTo>
                    <a:lnTo>
                      <a:pt x="4957" y="34700"/>
                    </a:ln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grpSp>
        <p:grpSp>
          <p:nvGrpSpPr>
            <p:cNvPr id="203" name="Group 202">
              <a:extLst>
                <a:ext uri="{FF2B5EF4-FFF2-40B4-BE49-F238E27FC236}">
                  <a16:creationId xmlns:a16="http://schemas.microsoft.com/office/drawing/2014/main" id="{65FD1827-094C-4540-BB72-9E8C0C6BFDD4}"/>
                </a:ext>
              </a:extLst>
            </p:cNvPr>
            <p:cNvGrpSpPr/>
            <p:nvPr/>
          </p:nvGrpSpPr>
          <p:grpSpPr>
            <a:xfrm>
              <a:off x="3326199" y="3795583"/>
              <a:ext cx="289508" cy="357788"/>
              <a:chOff x="2819468" y="1354211"/>
              <a:chExt cx="289508" cy="357788"/>
            </a:xfrm>
          </p:grpSpPr>
          <p:sp>
            <p:nvSpPr>
              <p:cNvPr id="204" name="Freeform: Shape 203">
                <a:extLst>
                  <a:ext uri="{FF2B5EF4-FFF2-40B4-BE49-F238E27FC236}">
                    <a16:creationId xmlns:a16="http://schemas.microsoft.com/office/drawing/2014/main" id="{78BADCE5-EF62-4FEA-9E4F-41292806A9FD}"/>
                  </a:ext>
                </a:extLst>
              </p:cNvPr>
              <p:cNvSpPr/>
              <p:nvPr/>
            </p:nvSpPr>
            <p:spPr>
              <a:xfrm>
                <a:off x="2819468" y="1354211"/>
                <a:ext cx="289508" cy="357788"/>
              </a:xfrm>
              <a:custGeom>
                <a:avLst/>
                <a:gdLst>
                  <a:gd name="connsiteX0" fmla="*/ 145846 w 289507"/>
                  <a:gd name="connsiteY0" fmla="*/ 4097 h 357787"/>
                  <a:gd name="connsiteX1" fmla="*/ 4097 w 289507"/>
                  <a:gd name="connsiteY1" fmla="*/ 55717 h 357787"/>
                  <a:gd name="connsiteX2" fmla="*/ 4097 w 289507"/>
                  <a:gd name="connsiteY2" fmla="*/ 161687 h 357787"/>
                  <a:gd name="connsiteX3" fmla="*/ 4097 w 289507"/>
                  <a:gd name="connsiteY3" fmla="*/ 257826 h 357787"/>
                  <a:gd name="connsiteX4" fmla="*/ 4097 w 289507"/>
                  <a:gd name="connsiteY4" fmla="*/ 304529 h 357787"/>
                  <a:gd name="connsiteX5" fmla="*/ 81390 w 289507"/>
                  <a:gd name="connsiteY5" fmla="*/ 350960 h 357787"/>
                  <a:gd name="connsiteX6" fmla="*/ 115803 w 289507"/>
                  <a:gd name="connsiteY6" fmla="*/ 355057 h 357787"/>
                  <a:gd name="connsiteX7" fmla="*/ 130552 w 289507"/>
                  <a:gd name="connsiteY7" fmla="*/ 355876 h 357787"/>
                  <a:gd name="connsiteX8" fmla="*/ 145846 w 289507"/>
                  <a:gd name="connsiteY8" fmla="*/ 356149 h 357787"/>
                  <a:gd name="connsiteX9" fmla="*/ 145846 w 289507"/>
                  <a:gd name="connsiteY9" fmla="*/ 356149 h 357787"/>
                  <a:gd name="connsiteX10" fmla="*/ 145846 w 289507"/>
                  <a:gd name="connsiteY10" fmla="*/ 356149 h 357787"/>
                  <a:gd name="connsiteX11" fmla="*/ 161141 w 289507"/>
                  <a:gd name="connsiteY11" fmla="*/ 355876 h 357787"/>
                  <a:gd name="connsiteX12" fmla="*/ 175890 w 289507"/>
                  <a:gd name="connsiteY12" fmla="*/ 355057 h 357787"/>
                  <a:gd name="connsiteX13" fmla="*/ 210303 w 289507"/>
                  <a:gd name="connsiteY13" fmla="*/ 350960 h 357787"/>
                  <a:gd name="connsiteX14" fmla="*/ 287596 w 289507"/>
                  <a:gd name="connsiteY14" fmla="*/ 304529 h 357787"/>
                  <a:gd name="connsiteX15" fmla="*/ 287596 w 289507"/>
                  <a:gd name="connsiteY15" fmla="*/ 256460 h 357787"/>
                  <a:gd name="connsiteX16" fmla="*/ 287596 w 289507"/>
                  <a:gd name="connsiteY16" fmla="*/ 160322 h 357787"/>
                  <a:gd name="connsiteX17" fmla="*/ 287596 w 289507"/>
                  <a:gd name="connsiteY17" fmla="*/ 135468 h 357787"/>
                  <a:gd name="connsiteX18" fmla="*/ 287596 w 289507"/>
                  <a:gd name="connsiteY18" fmla="*/ 55717 h 357787"/>
                  <a:gd name="connsiteX19" fmla="*/ 145846 w 289507"/>
                  <a:gd name="connsiteY19" fmla="*/ 4097 h 35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507" h="357787">
                    <a:moveTo>
                      <a:pt x="145846" y="4097"/>
                    </a:moveTo>
                    <a:cubicBezTo>
                      <a:pt x="63910" y="4097"/>
                      <a:pt x="4097" y="27312"/>
                      <a:pt x="4097" y="55717"/>
                    </a:cubicBezTo>
                    <a:lnTo>
                      <a:pt x="4097" y="161687"/>
                    </a:lnTo>
                    <a:lnTo>
                      <a:pt x="4097" y="257826"/>
                    </a:lnTo>
                    <a:lnTo>
                      <a:pt x="4097" y="304529"/>
                    </a:lnTo>
                    <a:cubicBezTo>
                      <a:pt x="4097" y="325013"/>
                      <a:pt x="31682" y="342766"/>
                      <a:pt x="81390" y="350960"/>
                    </a:cubicBezTo>
                    <a:cubicBezTo>
                      <a:pt x="92315" y="352872"/>
                      <a:pt x="103786" y="354237"/>
                      <a:pt x="115803" y="355057"/>
                    </a:cubicBezTo>
                    <a:cubicBezTo>
                      <a:pt x="120719" y="355330"/>
                      <a:pt x="125635" y="355603"/>
                      <a:pt x="130552" y="355876"/>
                    </a:cubicBezTo>
                    <a:cubicBezTo>
                      <a:pt x="135468" y="356149"/>
                      <a:pt x="140657" y="356149"/>
                      <a:pt x="145846" y="356149"/>
                    </a:cubicBezTo>
                    <a:lnTo>
                      <a:pt x="145846" y="356149"/>
                    </a:lnTo>
                    <a:lnTo>
                      <a:pt x="145846" y="356149"/>
                    </a:lnTo>
                    <a:cubicBezTo>
                      <a:pt x="151036" y="356149"/>
                      <a:pt x="155952" y="356149"/>
                      <a:pt x="161141" y="355876"/>
                    </a:cubicBezTo>
                    <a:cubicBezTo>
                      <a:pt x="166057" y="355603"/>
                      <a:pt x="170973" y="355330"/>
                      <a:pt x="175890" y="355057"/>
                    </a:cubicBezTo>
                    <a:cubicBezTo>
                      <a:pt x="187907" y="354237"/>
                      <a:pt x="199378" y="352872"/>
                      <a:pt x="210303" y="350960"/>
                    </a:cubicBezTo>
                    <a:cubicBezTo>
                      <a:pt x="260011" y="342493"/>
                      <a:pt x="287596" y="325013"/>
                      <a:pt x="287596" y="304529"/>
                    </a:cubicBezTo>
                    <a:lnTo>
                      <a:pt x="287596" y="256460"/>
                    </a:lnTo>
                    <a:lnTo>
                      <a:pt x="287596" y="160322"/>
                    </a:lnTo>
                    <a:lnTo>
                      <a:pt x="287596" y="135468"/>
                    </a:lnTo>
                    <a:lnTo>
                      <a:pt x="287596" y="55717"/>
                    </a:lnTo>
                    <a:cubicBezTo>
                      <a:pt x="287596" y="27312"/>
                      <a:pt x="227783" y="4097"/>
                      <a:pt x="145846" y="4097"/>
                    </a:cubicBez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06" name="Freeform: Shape 205">
                <a:extLst>
                  <a:ext uri="{FF2B5EF4-FFF2-40B4-BE49-F238E27FC236}">
                    <a16:creationId xmlns:a16="http://schemas.microsoft.com/office/drawing/2014/main" id="{A840CA23-3078-41B8-A745-6A57164BED96}"/>
                  </a:ext>
                </a:extLst>
              </p:cNvPr>
              <p:cNvSpPr/>
              <p:nvPr/>
            </p:nvSpPr>
            <p:spPr>
              <a:xfrm>
                <a:off x="2819468" y="1354211"/>
                <a:ext cx="289508" cy="101055"/>
              </a:xfrm>
              <a:custGeom>
                <a:avLst/>
                <a:gdLst>
                  <a:gd name="connsiteX0" fmla="*/ 287596 w 289507"/>
                  <a:gd name="connsiteY0" fmla="*/ 53805 h 101054"/>
                  <a:gd name="connsiteX1" fmla="*/ 145846 w 289507"/>
                  <a:gd name="connsiteY1" fmla="*/ 98050 h 101054"/>
                  <a:gd name="connsiteX2" fmla="*/ 4097 w 289507"/>
                  <a:gd name="connsiteY2" fmla="*/ 53805 h 101054"/>
                  <a:gd name="connsiteX3" fmla="*/ 145846 w 289507"/>
                  <a:gd name="connsiteY3" fmla="*/ 4097 h 101054"/>
                  <a:gd name="connsiteX4" fmla="*/ 287596 w 289507"/>
                  <a:gd name="connsiteY4" fmla="*/ 53805 h 101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507" h="101054">
                    <a:moveTo>
                      <a:pt x="287596" y="53805"/>
                    </a:moveTo>
                    <a:cubicBezTo>
                      <a:pt x="287596" y="78112"/>
                      <a:pt x="228056" y="98050"/>
                      <a:pt x="145846" y="98050"/>
                    </a:cubicBezTo>
                    <a:cubicBezTo>
                      <a:pt x="63637" y="98050"/>
                      <a:pt x="4097" y="78386"/>
                      <a:pt x="4097" y="53805"/>
                    </a:cubicBezTo>
                    <a:cubicBezTo>
                      <a:pt x="4097" y="29224"/>
                      <a:pt x="63910" y="4097"/>
                      <a:pt x="145846" y="4097"/>
                    </a:cubicBezTo>
                    <a:cubicBezTo>
                      <a:pt x="227783" y="4097"/>
                      <a:pt x="287596" y="29224"/>
                      <a:pt x="287596" y="53805"/>
                    </a:cubicBez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07" name="Freeform: Shape 206">
                <a:extLst>
                  <a:ext uri="{FF2B5EF4-FFF2-40B4-BE49-F238E27FC236}">
                    <a16:creationId xmlns:a16="http://schemas.microsoft.com/office/drawing/2014/main" id="{382BF1E9-34AC-4499-B3B4-BAE3ED531EAA}"/>
                  </a:ext>
                </a:extLst>
              </p:cNvPr>
              <p:cNvSpPr/>
              <p:nvPr/>
            </p:nvSpPr>
            <p:spPr>
              <a:xfrm>
                <a:off x="2819468" y="1491591"/>
                <a:ext cx="289508" cy="51893"/>
              </a:xfrm>
              <a:custGeom>
                <a:avLst/>
                <a:gdLst>
                  <a:gd name="connsiteX0" fmla="*/ 287596 w 289507"/>
                  <a:gd name="connsiteY0" fmla="*/ 4097 h 51892"/>
                  <a:gd name="connsiteX1" fmla="*/ 145846 w 289507"/>
                  <a:gd name="connsiteY1" fmla="*/ 48342 h 51892"/>
                  <a:gd name="connsiteX2" fmla="*/ 4097 w 289507"/>
                  <a:gd name="connsiteY2" fmla="*/ 4097 h 51892"/>
                </a:gdLst>
                <a:ahLst/>
                <a:cxnLst>
                  <a:cxn ang="0">
                    <a:pos x="connsiteX0" y="connsiteY0"/>
                  </a:cxn>
                  <a:cxn ang="0">
                    <a:pos x="connsiteX1" y="connsiteY1"/>
                  </a:cxn>
                  <a:cxn ang="0">
                    <a:pos x="connsiteX2" y="connsiteY2"/>
                  </a:cxn>
                </a:cxnLst>
                <a:rect l="l" t="t" r="r" b="b"/>
                <a:pathLst>
                  <a:path w="289507" h="51892">
                    <a:moveTo>
                      <a:pt x="287596" y="4097"/>
                    </a:moveTo>
                    <a:cubicBezTo>
                      <a:pt x="287596" y="28405"/>
                      <a:pt x="228056" y="48342"/>
                      <a:pt x="145846" y="48342"/>
                    </a:cubicBezTo>
                    <a:cubicBezTo>
                      <a:pt x="63637" y="48342"/>
                      <a:pt x="4097" y="28678"/>
                      <a:pt x="4097" y="4097"/>
                    </a:cubicBezTo>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08" name="Freeform: Shape 207">
                <a:extLst>
                  <a:ext uri="{FF2B5EF4-FFF2-40B4-BE49-F238E27FC236}">
                    <a16:creationId xmlns:a16="http://schemas.microsoft.com/office/drawing/2014/main" id="{E151EE7A-7DBA-40BC-B5C3-E64AD533C3F4}"/>
                  </a:ext>
                </a:extLst>
              </p:cNvPr>
              <p:cNvSpPr/>
              <p:nvPr/>
            </p:nvSpPr>
            <p:spPr>
              <a:xfrm>
                <a:off x="2819468" y="1578443"/>
                <a:ext cx="289508" cy="51893"/>
              </a:xfrm>
              <a:custGeom>
                <a:avLst/>
                <a:gdLst>
                  <a:gd name="connsiteX0" fmla="*/ 287596 w 289507"/>
                  <a:gd name="connsiteY0" fmla="*/ 4097 h 51892"/>
                  <a:gd name="connsiteX1" fmla="*/ 145846 w 289507"/>
                  <a:gd name="connsiteY1" fmla="*/ 48342 h 51892"/>
                  <a:gd name="connsiteX2" fmla="*/ 4097 w 289507"/>
                  <a:gd name="connsiteY2" fmla="*/ 4097 h 51892"/>
                </a:gdLst>
                <a:ahLst/>
                <a:cxnLst>
                  <a:cxn ang="0">
                    <a:pos x="connsiteX0" y="connsiteY0"/>
                  </a:cxn>
                  <a:cxn ang="0">
                    <a:pos x="connsiteX1" y="connsiteY1"/>
                  </a:cxn>
                  <a:cxn ang="0">
                    <a:pos x="connsiteX2" y="connsiteY2"/>
                  </a:cxn>
                </a:cxnLst>
                <a:rect l="l" t="t" r="r" b="b"/>
                <a:pathLst>
                  <a:path w="289507" h="51892">
                    <a:moveTo>
                      <a:pt x="287596" y="4097"/>
                    </a:moveTo>
                    <a:cubicBezTo>
                      <a:pt x="287596" y="28405"/>
                      <a:pt x="228056" y="48342"/>
                      <a:pt x="145846" y="48342"/>
                    </a:cubicBezTo>
                    <a:cubicBezTo>
                      <a:pt x="63637" y="48342"/>
                      <a:pt x="4097" y="28678"/>
                      <a:pt x="4097" y="4097"/>
                    </a:cubicBezTo>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12" name="Freeform: Shape 211">
                <a:extLst>
                  <a:ext uri="{FF2B5EF4-FFF2-40B4-BE49-F238E27FC236}">
                    <a16:creationId xmlns:a16="http://schemas.microsoft.com/office/drawing/2014/main" id="{0AAA3B33-FD65-409B-8295-6A803D71A105}"/>
                  </a:ext>
                </a:extLst>
              </p:cNvPr>
              <p:cNvSpPr/>
              <p:nvPr/>
            </p:nvSpPr>
            <p:spPr>
              <a:xfrm>
                <a:off x="2819468" y="1354211"/>
                <a:ext cx="289508" cy="357788"/>
              </a:xfrm>
              <a:custGeom>
                <a:avLst/>
                <a:gdLst>
                  <a:gd name="connsiteX0" fmla="*/ 145846 w 289507"/>
                  <a:gd name="connsiteY0" fmla="*/ 4097 h 357787"/>
                  <a:gd name="connsiteX1" fmla="*/ 4097 w 289507"/>
                  <a:gd name="connsiteY1" fmla="*/ 55717 h 357787"/>
                  <a:gd name="connsiteX2" fmla="*/ 4097 w 289507"/>
                  <a:gd name="connsiteY2" fmla="*/ 161687 h 357787"/>
                  <a:gd name="connsiteX3" fmla="*/ 4097 w 289507"/>
                  <a:gd name="connsiteY3" fmla="*/ 257826 h 357787"/>
                  <a:gd name="connsiteX4" fmla="*/ 4097 w 289507"/>
                  <a:gd name="connsiteY4" fmla="*/ 304529 h 357787"/>
                  <a:gd name="connsiteX5" fmla="*/ 81390 w 289507"/>
                  <a:gd name="connsiteY5" fmla="*/ 350960 h 357787"/>
                  <a:gd name="connsiteX6" fmla="*/ 115803 w 289507"/>
                  <a:gd name="connsiteY6" fmla="*/ 355057 h 357787"/>
                  <a:gd name="connsiteX7" fmla="*/ 130552 w 289507"/>
                  <a:gd name="connsiteY7" fmla="*/ 355876 h 357787"/>
                  <a:gd name="connsiteX8" fmla="*/ 145846 w 289507"/>
                  <a:gd name="connsiteY8" fmla="*/ 356149 h 357787"/>
                  <a:gd name="connsiteX9" fmla="*/ 145846 w 289507"/>
                  <a:gd name="connsiteY9" fmla="*/ 356149 h 357787"/>
                  <a:gd name="connsiteX10" fmla="*/ 145846 w 289507"/>
                  <a:gd name="connsiteY10" fmla="*/ 356149 h 357787"/>
                  <a:gd name="connsiteX11" fmla="*/ 161141 w 289507"/>
                  <a:gd name="connsiteY11" fmla="*/ 355876 h 357787"/>
                  <a:gd name="connsiteX12" fmla="*/ 175890 w 289507"/>
                  <a:gd name="connsiteY12" fmla="*/ 355057 h 357787"/>
                  <a:gd name="connsiteX13" fmla="*/ 210303 w 289507"/>
                  <a:gd name="connsiteY13" fmla="*/ 350960 h 357787"/>
                  <a:gd name="connsiteX14" fmla="*/ 287596 w 289507"/>
                  <a:gd name="connsiteY14" fmla="*/ 304529 h 357787"/>
                  <a:gd name="connsiteX15" fmla="*/ 287596 w 289507"/>
                  <a:gd name="connsiteY15" fmla="*/ 256460 h 357787"/>
                  <a:gd name="connsiteX16" fmla="*/ 287596 w 289507"/>
                  <a:gd name="connsiteY16" fmla="*/ 160322 h 357787"/>
                  <a:gd name="connsiteX17" fmla="*/ 287596 w 289507"/>
                  <a:gd name="connsiteY17" fmla="*/ 135468 h 357787"/>
                  <a:gd name="connsiteX18" fmla="*/ 287596 w 289507"/>
                  <a:gd name="connsiteY18" fmla="*/ 55717 h 357787"/>
                  <a:gd name="connsiteX19" fmla="*/ 145846 w 289507"/>
                  <a:gd name="connsiteY19" fmla="*/ 4097 h 35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9507" h="357787">
                    <a:moveTo>
                      <a:pt x="145846" y="4097"/>
                    </a:moveTo>
                    <a:cubicBezTo>
                      <a:pt x="63910" y="4097"/>
                      <a:pt x="4097" y="27312"/>
                      <a:pt x="4097" y="55717"/>
                    </a:cubicBezTo>
                    <a:lnTo>
                      <a:pt x="4097" y="161687"/>
                    </a:lnTo>
                    <a:lnTo>
                      <a:pt x="4097" y="257826"/>
                    </a:lnTo>
                    <a:lnTo>
                      <a:pt x="4097" y="304529"/>
                    </a:lnTo>
                    <a:cubicBezTo>
                      <a:pt x="4097" y="325013"/>
                      <a:pt x="31682" y="342766"/>
                      <a:pt x="81390" y="350960"/>
                    </a:cubicBezTo>
                    <a:cubicBezTo>
                      <a:pt x="92315" y="352872"/>
                      <a:pt x="103786" y="354237"/>
                      <a:pt x="115803" y="355057"/>
                    </a:cubicBezTo>
                    <a:cubicBezTo>
                      <a:pt x="120719" y="355330"/>
                      <a:pt x="125635" y="355603"/>
                      <a:pt x="130552" y="355876"/>
                    </a:cubicBezTo>
                    <a:cubicBezTo>
                      <a:pt x="135468" y="356149"/>
                      <a:pt x="140657" y="356149"/>
                      <a:pt x="145846" y="356149"/>
                    </a:cubicBezTo>
                    <a:lnTo>
                      <a:pt x="145846" y="356149"/>
                    </a:lnTo>
                    <a:lnTo>
                      <a:pt x="145846" y="356149"/>
                    </a:lnTo>
                    <a:cubicBezTo>
                      <a:pt x="151036" y="356149"/>
                      <a:pt x="155952" y="356149"/>
                      <a:pt x="161141" y="355876"/>
                    </a:cubicBezTo>
                    <a:cubicBezTo>
                      <a:pt x="166057" y="355603"/>
                      <a:pt x="170973" y="355330"/>
                      <a:pt x="175890" y="355057"/>
                    </a:cubicBezTo>
                    <a:cubicBezTo>
                      <a:pt x="187907" y="354237"/>
                      <a:pt x="199378" y="352872"/>
                      <a:pt x="210303" y="350960"/>
                    </a:cubicBezTo>
                    <a:cubicBezTo>
                      <a:pt x="260011" y="342493"/>
                      <a:pt x="287596" y="325013"/>
                      <a:pt x="287596" y="304529"/>
                    </a:cubicBezTo>
                    <a:lnTo>
                      <a:pt x="287596" y="256460"/>
                    </a:lnTo>
                    <a:lnTo>
                      <a:pt x="287596" y="160322"/>
                    </a:lnTo>
                    <a:lnTo>
                      <a:pt x="287596" y="135468"/>
                    </a:lnTo>
                    <a:lnTo>
                      <a:pt x="287596" y="55717"/>
                    </a:lnTo>
                    <a:cubicBezTo>
                      <a:pt x="287596" y="27312"/>
                      <a:pt x="227783" y="4097"/>
                      <a:pt x="145846" y="4097"/>
                    </a:cubicBez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grpSp>
        <p:grpSp>
          <p:nvGrpSpPr>
            <p:cNvPr id="213" name="Group 212">
              <a:extLst>
                <a:ext uri="{FF2B5EF4-FFF2-40B4-BE49-F238E27FC236}">
                  <a16:creationId xmlns:a16="http://schemas.microsoft.com/office/drawing/2014/main" id="{92067F58-086D-46E1-884F-4613BE7DC5E6}"/>
                </a:ext>
              </a:extLst>
            </p:cNvPr>
            <p:cNvGrpSpPr/>
            <p:nvPr/>
          </p:nvGrpSpPr>
          <p:grpSpPr>
            <a:xfrm>
              <a:off x="2421152" y="3216291"/>
              <a:ext cx="373438" cy="470063"/>
              <a:chOff x="7068013" y="3233749"/>
              <a:chExt cx="373438" cy="470063"/>
            </a:xfrm>
          </p:grpSpPr>
          <p:sp>
            <p:nvSpPr>
              <p:cNvPr id="215" name="Freeform: Shape 214">
                <a:extLst>
                  <a:ext uri="{FF2B5EF4-FFF2-40B4-BE49-F238E27FC236}">
                    <a16:creationId xmlns:a16="http://schemas.microsoft.com/office/drawing/2014/main" id="{740326F0-18B1-48F0-84FF-9FEBD663CC38}"/>
                  </a:ext>
                </a:extLst>
              </p:cNvPr>
              <p:cNvSpPr/>
              <p:nvPr/>
            </p:nvSpPr>
            <p:spPr>
              <a:xfrm>
                <a:off x="7164538" y="3344585"/>
                <a:ext cx="175152" cy="171848"/>
              </a:xfrm>
              <a:custGeom>
                <a:avLst/>
                <a:gdLst>
                  <a:gd name="connsiteX0" fmla="*/ 171848 w 175152"/>
                  <a:gd name="connsiteY0" fmla="*/ 62790 h 171847"/>
                  <a:gd name="connsiteX1" fmla="*/ 82950 w 175152"/>
                  <a:gd name="connsiteY1" fmla="*/ 168212 h 171847"/>
                  <a:gd name="connsiteX2" fmla="*/ 4957 w 175152"/>
                  <a:gd name="connsiteY2" fmla="*/ 70722 h 171847"/>
                  <a:gd name="connsiteX3" fmla="*/ 5618 w 175152"/>
                  <a:gd name="connsiteY3" fmla="*/ 6279 h 171847"/>
                  <a:gd name="connsiteX4" fmla="*/ 171517 w 175152"/>
                  <a:gd name="connsiteY4" fmla="*/ 4957 h 171847"/>
                  <a:gd name="connsiteX5" fmla="*/ 171848 w 175152"/>
                  <a:gd name="connsiteY5" fmla="*/ 62790 h 17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152" h="171847">
                    <a:moveTo>
                      <a:pt x="171848" y="62790"/>
                    </a:moveTo>
                    <a:cubicBezTo>
                      <a:pt x="169865" y="114345"/>
                      <a:pt x="155985" y="171187"/>
                      <a:pt x="82950" y="168212"/>
                    </a:cubicBezTo>
                    <a:cubicBezTo>
                      <a:pt x="17846" y="165568"/>
                      <a:pt x="5949" y="118971"/>
                      <a:pt x="4957" y="70722"/>
                    </a:cubicBezTo>
                    <a:lnTo>
                      <a:pt x="5618" y="6279"/>
                    </a:lnTo>
                    <a:cubicBezTo>
                      <a:pt x="5618" y="6279"/>
                      <a:pt x="99804" y="27429"/>
                      <a:pt x="171517" y="4957"/>
                    </a:cubicBezTo>
                    <a:lnTo>
                      <a:pt x="171848" y="62790"/>
                    </a:lnTo>
                    <a:close/>
                  </a:path>
                </a:pathLst>
              </a:custGeom>
              <a:noFill/>
              <a:ln w="19050" cap="flat">
                <a:solidFill>
                  <a:schemeClr val="tx1"/>
                </a:solidFill>
                <a:prstDash val="solid"/>
                <a:miter/>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18" name="Freeform: Shape 217">
                <a:extLst>
                  <a:ext uri="{FF2B5EF4-FFF2-40B4-BE49-F238E27FC236}">
                    <a16:creationId xmlns:a16="http://schemas.microsoft.com/office/drawing/2014/main" id="{702D6D61-B4CF-48AC-9E02-8D04C48F6E97}"/>
                  </a:ext>
                </a:extLst>
              </p:cNvPr>
              <p:cNvSpPr/>
              <p:nvPr/>
            </p:nvSpPr>
            <p:spPr>
              <a:xfrm>
                <a:off x="7198577" y="3493960"/>
                <a:ext cx="105752" cy="115667"/>
              </a:xfrm>
              <a:custGeom>
                <a:avLst/>
                <a:gdLst>
                  <a:gd name="connsiteX0" fmla="*/ 4957 w 105752"/>
                  <a:gd name="connsiteY0" fmla="*/ 9253 h 115666"/>
                  <a:gd name="connsiteX1" fmla="*/ 5288 w 105752"/>
                  <a:gd name="connsiteY1" fmla="*/ 37013 h 115666"/>
                  <a:gd name="connsiteX2" fmla="*/ 39657 w 105752"/>
                  <a:gd name="connsiteY2" fmla="*/ 101456 h 115666"/>
                  <a:gd name="connsiteX3" fmla="*/ 69069 w 105752"/>
                  <a:gd name="connsiteY3" fmla="*/ 101456 h 115666"/>
                  <a:gd name="connsiteX4" fmla="*/ 103439 w 105752"/>
                  <a:gd name="connsiteY4" fmla="*/ 37013 h 115666"/>
                  <a:gd name="connsiteX5" fmla="*/ 102778 w 105752"/>
                  <a:gd name="connsiteY5" fmla="*/ 4957 h 11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752" h="115666">
                    <a:moveTo>
                      <a:pt x="4957" y="9253"/>
                    </a:moveTo>
                    <a:lnTo>
                      <a:pt x="5288" y="37013"/>
                    </a:lnTo>
                    <a:lnTo>
                      <a:pt x="39657" y="101456"/>
                    </a:lnTo>
                    <a:cubicBezTo>
                      <a:pt x="46267" y="114014"/>
                      <a:pt x="62460" y="114014"/>
                      <a:pt x="69069" y="101456"/>
                    </a:cubicBezTo>
                    <a:lnTo>
                      <a:pt x="103439" y="37013"/>
                    </a:lnTo>
                    <a:lnTo>
                      <a:pt x="102778" y="4957"/>
                    </a:lnTo>
                  </a:path>
                </a:pathLst>
              </a:custGeom>
              <a:noFill/>
              <a:ln w="19050" cap="flat">
                <a:solidFill>
                  <a:schemeClr val="tx1"/>
                </a:solidFill>
                <a:prstDash val="solid"/>
                <a:miter/>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19" name="Freeform: Shape 218">
                <a:extLst>
                  <a:ext uri="{FF2B5EF4-FFF2-40B4-BE49-F238E27FC236}">
                    <a16:creationId xmlns:a16="http://schemas.microsoft.com/office/drawing/2014/main" id="{FE17F8F9-C87D-4F95-B7FB-898D8750D55A}"/>
                  </a:ext>
                </a:extLst>
              </p:cNvPr>
              <p:cNvSpPr/>
              <p:nvPr/>
            </p:nvSpPr>
            <p:spPr>
              <a:xfrm>
                <a:off x="7068013" y="3522050"/>
                <a:ext cx="373438" cy="181762"/>
              </a:xfrm>
              <a:custGeom>
                <a:avLst/>
                <a:gdLst>
                  <a:gd name="connsiteX0" fmla="*/ 135852 w 373437"/>
                  <a:gd name="connsiteY0" fmla="*/ 4957 h 181761"/>
                  <a:gd name="connsiteX1" fmla="*/ 22829 w 373437"/>
                  <a:gd name="connsiteY1" fmla="*/ 59816 h 181761"/>
                  <a:gd name="connsiteX2" fmla="*/ 4983 w 373437"/>
                  <a:gd name="connsiteY2" fmla="*/ 177466 h 181761"/>
                  <a:gd name="connsiteX3" fmla="*/ 368507 w 373437"/>
                  <a:gd name="connsiteY3" fmla="*/ 177466 h 181761"/>
                  <a:gd name="connsiteX4" fmla="*/ 350661 w 373437"/>
                  <a:gd name="connsiteY4" fmla="*/ 59816 h 181761"/>
                  <a:gd name="connsiteX5" fmla="*/ 235325 w 373437"/>
                  <a:gd name="connsiteY5" fmla="*/ 4957 h 181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437" h="181761">
                    <a:moveTo>
                      <a:pt x="135852" y="4957"/>
                    </a:moveTo>
                    <a:cubicBezTo>
                      <a:pt x="110405" y="8262"/>
                      <a:pt x="43649" y="23794"/>
                      <a:pt x="22829" y="59816"/>
                    </a:cubicBezTo>
                    <a:cubicBezTo>
                      <a:pt x="7297" y="87246"/>
                      <a:pt x="4653" y="101787"/>
                      <a:pt x="4983" y="177466"/>
                    </a:cubicBezTo>
                    <a:lnTo>
                      <a:pt x="368507" y="177466"/>
                    </a:lnTo>
                    <a:cubicBezTo>
                      <a:pt x="368837" y="101787"/>
                      <a:pt x="369829" y="93525"/>
                      <a:pt x="350661" y="59816"/>
                    </a:cubicBezTo>
                    <a:cubicBezTo>
                      <a:pt x="330172" y="23464"/>
                      <a:pt x="260772" y="8262"/>
                      <a:pt x="235325" y="4957"/>
                    </a:cubicBezTo>
                  </a:path>
                </a:pathLst>
              </a:custGeom>
              <a:noFill/>
              <a:ln w="19050" cap="flat">
                <a:solidFill>
                  <a:schemeClr val="tx1"/>
                </a:solidFill>
                <a:prstDash val="solid"/>
                <a:miter/>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25" name="Freeform: Shape 224">
                <a:extLst>
                  <a:ext uri="{FF2B5EF4-FFF2-40B4-BE49-F238E27FC236}">
                    <a16:creationId xmlns:a16="http://schemas.microsoft.com/office/drawing/2014/main" id="{F6581CBC-E478-4D82-894F-5802E20762EA}"/>
                  </a:ext>
                </a:extLst>
              </p:cNvPr>
              <p:cNvSpPr/>
              <p:nvPr/>
            </p:nvSpPr>
            <p:spPr>
              <a:xfrm>
                <a:off x="7143718" y="3644987"/>
                <a:ext cx="9914" cy="42962"/>
              </a:xfrm>
              <a:custGeom>
                <a:avLst/>
                <a:gdLst>
                  <a:gd name="connsiteX0" fmla="*/ 4957 w 9914"/>
                  <a:gd name="connsiteY0" fmla="*/ 4957 h 42961"/>
                  <a:gd name="connsiteX1" fmla="*/ 4957 w 9914"/>
                  <a:gd name="connsiteY1" fmla="*/ 38996 h 42961"/>
                </a:gdLst>
                <a:ahLst/>
                <a:cxnLst>
                  <a:cxn ang="0">
                    <a:pos x="connsiteX0" y="connsiteY0"/>
                  </a:cxn>
                  <a:cxn ang="0">
                    <a:pos x="connsiteX1" y="connsiteY1"/>
                  </a:cxn>
                </a:cxnLst>
                <a:rect l="l" t="t" r="r" b="b"/>
                <a:pathLst>
                  <a:path w="9914" h="42961">
                    <a:moveTo>
                      <a:pt x="4957" y="4957"/>
                    </a:moveTo>
                    <a:lnTo>
                      <a:pt x="4957" y="38996"/>
                    </a:lnTo>
                  </a:path>
                </a:pathLst>
              </a:custGeom>
              <a:ln w="19050" cap="flat">
                <a:solidFill>
                  <a:schemeClr val="tx1"/>
                </a:solidFill>
                <a:prstDash val="solid"/>
                <a:miter/>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26" name="Freeform: Shape 225">
                <a:extLst>
                  <a:ext uri="{FF2B5EF4-FFF2-40B4-BE49-F238E27FC236}">
                    <a16:creationId xmlns:a16="http://schemas.microsoft.com/office/drawing/2014/main" id="{B5E8DB0A-379F-44E9-BCA5-8BA98BE0BDA1}"/>
                  </a:ext>
                </a:extLst>
              </p:cNvPr>
              <p:cNvSpPr/>
              <p:nvPr/>
            </p:nvSpPr>
            <p:spPr>
              <a:xfrm>
                <a:off x="7350927" y="3644987"/>
                <a:ext cx="9914" cy="42962"/>
              </a:xfrm>
              <a:custGeom>
                <a:avLst/>
                <a:gdLst>
                  <a:gd name="connsiteX0" fmla="*/ 4957 w 9914"/>
                  <a:gd name="connsiteY0" fmla="*/ 4957 h 42961"/>
                  <a:gd name="connsiteX1" fmla="*/ 4957 w 9914"/>
                  <a:gd name="connsiteY1" fmla="*/ 38996 h 42961"/>
                </a:gdLst>
                <a:ahLst/>
                <a:cxnLst>
                  <a:cxn ang="0">
                    <a:pos x="connsiteX0" y="connsiteY0"/>
                  </a:cxn>
                  <a:cxn ang="0">
                    <a:pos x="connsiteX1" y="connsiteY1"/>
                  </a:cxn>
                </a:cxnLst>
                <a:rect l="l" t="t" r="r" b="b"/>
                <a:pathLst>
                  <a:path w="9914" h="42961">
                    <a:moveTo>
                      <a:pt x="4957" y="4957"/>
                    </a:moveTo>
                    <a:lnTo>
                      <a:pt x="4957" y="38996"/>
                    </a:lnTo>
                  </a:path>
                </a:pathLst>
              </a:custGeom>
              <a:ln w="19050" cap="flat">
                <a:solidFill>
                  <a:schemeClr val="tx1"/>
                </a:solidFill>
                <a:prstDash val="solid"/>
                <a:miter/>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27" name="Freeform: Shape 226">
                <a:extLst>
                  <a:ext uri="{FF2B5EF4-FFF2-40B4-BE49-F238E27FC236}">
                    <a16:creationId xmlns:a16="http://schemas.microsoft.com/office/drawing/2014/main" id="{291DD45D-BE9D-4254-B884-E139A1B918D0}"/>
                  </a:ext>
                </a:extLst>
              </p:cNvPr>
              <p:cNvSpPr/>
              <p:nvPr/>
            </p:nvSpPr>
            <p:spPr>
              <a:xfrm>
                <a:off x="7280866" y="3539896"/>
                <a:ext cx="72705" cy="62790"/>
              </a:xfrm>
              <a:custGeom>
                <a:avLst/>
                <a:gdLst>
                  <a:gd name="connsiteX0" fmla="*/ 51224 w 72704"/>
                  <a:gd name="connsiteY0" fmla="*/ 4957 h 62790"/>
                  <a:gd name="connsiteX1" fmla="*/ 66426 w 72704"/>
                  <a:gd name="connsiteY1" fmla="*/ 21150 h 62790"/>
                  <a:gd name="connsiteX2" fmla="*/ 56511 w 72704"/>
                  <a:gd name="connsiteY2" fmla="*/ 47589 h 62790"/>
                  <a:gd name="connsiteX3" fmla="*/ 4957 w 72704"/>
                  <a:gd name="connsiteY3" fmla="*/ 58164 h 62790"/>
                </a:gdLst>
                <a:ahLst/>
                <a:cxnLst>
                  <a:cxn ang="0">
                    <a:pos x="connsiteX0" y="connsiteY0"/>
                  </a:cxn>
                  <a:cxn ang="0">
                    <a:pos x="connsiteX1" y="connsiteY1"/>
                  </a:cxn>
                  <a:cxn ang="0">
                    <a:pos x="connsiteX2" y="connsiteY2"/>
                  </a:cxn>
                  <a:cxn ang="0">
                    <a:pos x="connsiteX3" y="connsiteY3"/>
                  </a:cxn>
                </a:cxnLst>
                <a:rect l="l" t="t" r="r" b="b"/>
                <a:pathLst>
                  <a:path w="72704" h="62790">
                    <a:moveTo>
                      <a:pt x="51224" y="4957"/>
                    </a:moveTo>
                    <a:cubicBezTo>
                      <a:pt x="56842" y="9584"/>
                      <a:pt x="62129" y="14871"/>
                      <a:pt x="66426" y="21150"/>
                    </a:cubicBezTo>
                    <a:cubicBezTo>
                      <a:pt x="73366" y="31065"/>
                      <a:pt x="68078" y="44614"/>
                      <a:pt x="56511" y="47589"/>
                    </a:cubicBezTo>
                    <a:lnTo>
                      <a:pt x="4957" y="58164"/>
                    </a:lnTo>
                  </a:path>
                </a:pathLst>
              </a:custGeom>
              <a:noFill/>
              <a:ln w="19050" cap="flat">
                <a:solidFill>
                  <a:schemeClr val="tx1"/>
                </a:solidFill>
                <a:prstDash val="solid"/>
                <a:miter/>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28" name="Freeform: Shape 227">
                <a:extLst>
                  <a:ext uri="{FF2B5EF4-FFF2-40B4-BE49-F238E27FC236}">
                    <a16:creationId xmlns:a16="http://schemas.microsoft.com/office/drawing/2014/main" id="{2817E3F6-5EBD-4910-A121-0BC3E6454C7D}"/>
                  </a:ext>
                </a:extLst>
              </p:cNvPr>
              <p:cNvSpPr/>
              <p:nvPr/>
            </p:nvSpPr>
            <p:spPr>
              <a:xfrm>
                <a:off x="7155483" y="3539896"/>
                <a:ext cx="62790" cy="59486"/>
              </a:xfrm>
              <a:custGeom>
                <a:avLst/>
                <a:gdLst>
                  <a:gd name="connsiteX0" fmla="*/ 23266 w 62790"/>
                  <a:gd name="connsiteY0" fmla="*/ 4957 h 59485"/>
                  <a:gd name="connsiteX1" fmla="*/ 8064 w 62790"/>
                  <a:gd name="connsiteY1" fmla="*/ 21150 h 59485"/>
                  <a:gd name="connsiteX2" fmla="*/ 17978 w 62790"/>
                  <a:gd name="connsiteY2" fmla="*/ 47589 h 59485"/>
                  <a:gd name="connsiteX3" fmla="*/ 60279 w 62790"/>
                  <a:gd name="connsiteY3" fmla="*/ 56181 h 59485"/>
                </a:gdLst>
                <a:ahLst/>
                <a:cxnLst>
                  <a:cxn ang="0">
                    <a:pos x="connsiteX0" y="connsiteY0"/>
                  </a:cxn>
                  <a:cxn ang="0">
                    <a:pos x="connsiteX1" y="connsiteY1"/>
                  </a:cxn>
                  <a:cxn ang="0">
                    <a:pos x="connsiteX2" y="connsiteY2"/>
                  </a:cxn>
                  <a:cxn ang="0">
                    <a:pos x="connsiteX3" y="connsiteY3"/>
                  </a:cxn>
                </a:cxnLst>
                <a:rect l="l" t="t" r="r" b="b"/>
                <a:pathLst>
                  <a:path w="62790" h="59485">
                    <a:moveTo>
                      <a:pt x="23266" y="4957"/>
                    </a:moveTo>
                    <a:cubicBezTo>
                      <a:pt x="17647" y="9584"/>
                      <a:pt x="12360" y="14871"/>
                      <a:pt x="8064" y="21150"/>
                    </a:cubicBezTo>
                    <a:cubicBezTo>
                      <a:pt x="1124" y="31065"/>
                      <a:pt x="6411" y="44614"/>
                      <a:pt x="17978" y="47589"/>
                    </a:cubicBezTo>
                    <a:lnTo>
                      <a:pt x="60279" y="56181"/>
                    </a:lnTo>
                  </a:path>
                </a:pathLst>
              </a:custGeom>
              <a:noFill/>
              <a:ln w="19050" cap="flat">
                <a:solidFill>
                  <a:schemeClr val="tx1"/>
                </a:solidFill>
                <a:prstDash val="solid"/>
                <a:miter/>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29" name="Freeform: Shape 228">
                <a:extLst>
                  <a:ext uri="{FF2B5EF4-FFF2-40B4-BE49-F238E27FC236}">
                    <a16:creationId xmlns:a16="http://schemas.microsoft.com/office/drawing/2014/main" id="{A627004A-2F84-4DFA-A2F2-83FCD08B809D}"/>
                  </a:ext>
                </a:extLst>
              </p:cNvPr>
              <p:cNvSpPr/>
              <p:nvPr/>
            </p:nvSpPr>
            <p:spPr>
              <a:xfrm>
                <a:off x="7133637" y="3233749"/>
                <a:ext cx="241247" cy="188371"/>
              </a:xfrm>
              <a:custGeom>
                <a:avLst/>
                <a:gdLst>
                  <a:gd name="connsiteX0" fmla="*/ 34536 w 241247"/>
                  <a:gd name="connsiteY0" fmla="*/ 186515 h 188371"/>
                  <a:gd name="connsiteX1" fmla="*/ 35858 w 241247"/>
                  <a:gd name="connsiteY1" fmla="*/ 39784 h 188371"/>
                  <a:gd name="connsiteX2" fmla="*/ 213654 w 241247"/>
                  <a:gd name="connsiteY2" fmla="*/ 45402 h 188371"/>
                  <a:gd name="connsiteX3" fmla="*/ 202418 w 241247"/>
                  <a:gd name="connsiteY3" fmla="*/ 186185 h 188371"/>
                </a:gdLst>
                <a:ahLst/>
                <a:cxnLst>
                  <a:cxn ang="0">
                    <a:pos x="connsiteX0" y="connsiteY0"/>
                  </a:cxn>
                  <a:cxn ang="0">
                    <a:pos x="connsiteX1" y="connsiteY1"/>
                  </a:cxn>
                  <a:cxn ang="0">
                    <a:pos x="connsiteX2" y="connsiteY2"/>
                  </a:cxn>
                  <a:cxn ang="0">
                    <a:pos x="connsiteX3" y="connsiteY3"/>
                  </a:cxn>
                </a:cxnLst>
                <a:rect l="l" t="t" r="r" b="b"/>
                <a:pathLst>
                  <a:path w="241247" h="188371">
                    <a:moveTo>
                      <a:pt x="34536" y="186515"/>
                    </a:moveTo>
                    <a:cubicBezTo>
                      <a:pt x="11734" y="172305"/>
                      <a:pt x="-19331" y="94643"/>
                      <a:pt x="35858" y="39784"/>
                    </a:cubicBezTo>
                    <a:cubicBezTo>
                      <a:pt x="75515" y="127"/>
                      <a:pt x="159787" y="-15075"/>
                      <a:pt x="213654" y="45402"/>
                    </a:cubicBezTo>
                    <a:cubicBezTo>
                      <a:pt x="239762" y="74484"/>
                      <a:pt x="255294" y="148841"/>
                      <a:pt x="202418" y="186185"/>
                    </a:cubicBezTo>
                  </a:path>
                </a:pathLst>
              </a:custGeom>
              <a:noFill/>
              <a:ln w="19050" cap="flat">
                <a:solidFill>
                  <a:schemeClr val="tx1"/>
                </a:solidFill>
                <a:prstDash val="solid"/>
                <a:miter/>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30" name="Freeform: Shape 229">
                <a:extLst>
                  <a:ext uri="{FF2B5EF4-FFF2-40B4-BE49-F238E27FC236}">
                    <a16:creationId xmlns:a16="http://schemas.microsoft.com/office/drawing/2014/main" id="{D5C7BCFD-185E-4566-944D-63D44B232BDE}"/>
                  </a:ext>
                </a:extLst>
              </p:cNvPr>
              <p:cNvSpPr/>
              <p:nvPr/>
            </p:nvSpPr>
            <p:spPr>
              <a:xfrm>
                <a:off x="7204856" y="3385894"/>
                <a:ext cx="33048" cy="33048"/>
              </a:xfrm>
              <a:custGeom>
                <a:avLst/>
                <a:gdLst>
                  <a:gd name="connsiteX0" fmla="*/ 30073 w 33047"/>
                  <a:gd name="connsiteY0" fmla="*/ 17515 h 33047"/>
                  <a:gd name="connsiteX1" fmla="*/ 17515 w 33047"/>
                  <a:gd name="connsiteY1" fmla="*/ 30073 h 33047"/>
                  <a:gd name="connsiteX2" fmla="*/ 4957 w 33047"/>
                  <a:gd name="connsiteY2" fmla="*/ 17515 h 33047"/>
                  <a:gd name="connsiteX3" fmla="*/ 17515 w 33047"/>
                  <a:gd name="connsiteY3" fmla="*/ 4957 h 33047"/>
                  <a:gd name="connsiteX4" fmla="*/ 30073 w 33047"/>
                  <a:gd name="connsiteY4" fmla="*/ 17515 h 33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47" h="33047">
                    <a:moveTo>
                      <a:pt x="30073" y="17515"/>
                    </a:moveTo>
                    <a:cubicBezTo>
                      <a:pt x="30073" y="24451"/>
                      <a:pt x="24451" y="30073"/>
                      <a:pt x="17515" y="30073"/>
                    </a:cubicBezTo>
                    <a:cubicBezTo>
                      <a:pt x="10580" y="30073"/>
                      <a:pt x="4957" y="24451"/>
                      <a:pt x="4957" y="17515"/>
                    </a:cubicBezTo>
                    <a:cubicBezTo>
                      <a:pt x="4957" y="10580"/>
                      <a:pt x="10580" y="4957"/>
                      <a:pt x="17515" y="4957"/>
                    </a:cubicBezTo>
                    <a:cubicBezTo>
                      <a:pt x="24451" y="4957"/>
                      <a:pt x="30073" y="10580"/>
                      <a:pt x="30073" y="17515"/>
                    </a:cubicBez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31" name="Freeform: Shape 230">
                <a:extLst>
                  <a:ext uri="{FF2B5EF4-FFF2-40B4-BE49-F238E27FC236}">
                    <a16:creationId xmlns:a16="http://schemas.microsoft.com/office/drawing/2014/main" id="{8D1C5FC5-A561-4131-A094-3C1F2DA73614}"/>
                  </a:ext>
                </a:extLst>
              </p:cNvPr>
              <p:cNvSpPr/>
              <p:nvPr/>
            </p:nvSpPr>
            <p:spPr>
              <a:xfrm>
                <a:off x="7264342" y="3385894"/>
                <a:ext cx="33048" cy="33048"/>
              </a:xfrm>
              <a:custGeom>
                <a:avLst/>
                <a:gdLst>
                  <a:gd name="connsiteX0" fmla="*/ 30073 w 33047"/>
                  <a:gd name="connsiteY0" fmla="*/ 17515 h 33047"/>
                  <a:gd name="connsiteX1" fmla="*/ 17515 w 33047"/>
                  <a:gd name="connsiteY1" fmla="*/ 30073 h 33047"/>
                  <a:gd name="connsiteX2" fmla="*/ 4957 w 33047"/>
                  <a:gd name="connsiteY2" fmla="*/ 17515 h 33047"/>
                  <a:gd name="connsiteX3" fmla="*/ 17515 w 33047"/>
                  <a:gd name="connsiteY3" fmla="*/ 4957 h 33047"/>
                  <a:gd name="connsiteX4" fmla="*/ 30073 w 33047"/>
                  <a:gd name="connsiteY4" fmla="*/ 17515 h 33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47" h="33047">
                    <a:moveTo>
                      <a:pt x="30073" y="17515"/>
                    </a:moveTo>
                    <a:cubicBezTo>
                      <a:pt x="30073" y="24451"/>
                      <a:pt x="24451" y="30073"/>
                      <a:pt x="17515" y="30073"/>
                    </a:cubicBezTo>
                    <a:cubicBezTo>
                      <a:pt x="10580" y="30073"/>
                      <a:pt x="4957" y="24451"/>
                      <a:pt x="4957" y="17515"/>
                    </a:cubicBezTo>
                    <a:cubicBezTo>
                      <a:pt x="4957" y="10580"/>
                      <a:pt x="10580" y="4957"/>
                      <a:pt x="17515" y="4957"/>
                    </a:cubicBezTo>
                    <a:cubicBezTo>
                      <a:pt x="24451" y="4957"/>
                      <a:pt x="30073" y="10580"/>
                      <a:pt x="30073" y="17515"/>
                    </a:cubicBez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32" name="Freeform: Shape 231">
                <a:extLst>
                  <a:ext uri="{FF2B5EF4-FFF2-40B4-BE49-F238E27FC236}">
                    <a16:creationId xmlns:a16="http://schemas.microsoft.com/office/drawing/2014/main" id="{3CA7A2E0-02D2-45F2-BF53-4FCB684F6FF3}"/>
                  </a:ext>
                </a:extLst>
              </p:cNvPr>
              <p:cNvSpPr/>
              <p:nvPr/>
            </p:nvSpPr>
            <p:spPr>
              <a:xfrm>
                <a:off x="7248149" y="3616236"/>
                <a:ext cx="9914" cy="72705"/>
              </a:xfrm>
              <a:custGeom>
                <a:avLst/>
                <a:gdLst>
                  <a:gd name="connsiteX0" fmla="*/ 4957 w 9914"/>
                  <a:gd name="connsiteY0" fmla="*/ 67748 h 72704"/>
                  <a:gd name="connsiteX1" fmla="*/ 4957 w 9914"/>
                  <a:gd name="connsiteY1" fmla="*/ 4957 h 72704"/>
                </a:gdLst>
                <a:ahLst/>
                <a:cxnLst>
                  <a:cxn ang="0">
                    <a:pos x="connsiteX0" y="connsiteY0"/>
                  </a:cxn>
                  <a:cxn ang="0">
                    <a:pos x="connsiteX1" y="connsiteY1"/>
                  </a:cxn>
                </a:cxnLst>
                <a:rect l="l" t="t" r="r" b="b"/>
                <a:pathLst>
                  <a:path w="9914" h="72704">
                    <a:moveTo>
                      <a:pt x="4957" y="67748"/>
                    </a:moveTo>
                    <a:lnTo>
                      <a:pt x="4957" y="4957"/>
                    </a:lnTo>
                  </a:path>
                </a:pathLst>
              </a:custGeom>
              <a:ln w="19050" cap="flat">
                <a:solidFill>
                  <a:schemeClr val="tx1"/>
                </a:solidFill>
                <a:prstDash val="solid"/>
                <a:miter/>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grpSp>
        <p:grpSp>
          <p:nvGrpSpPr>
            <p:cNvPr id="248" name="Group 247">
              <a:extLst>
                <a:ext uri="{FF2B5EF4-FFF2-40B4-BE49-F238E27FC236}">
                  <a16:creationId xmlns:a16="http://schemas.microsoft.com/office/drawing/2014/main" id="{E4F2E82E-D8C2-4BEA-A262-24B46501A747}"/>
                </a:ext>
              </a:extLst>
            </p:cNvPr>
            <p:cNvGrpSpPr/>
            <p:nvPr/>
          </p:nvGrpSpPr>
          <p:grpSpPr>
            <a:xfrm>
              <a:off x="1585213" y="3568890"/>
              <a:ext cx="237888" cy="335938"/>
              <a:chOff x="4326052" y="2942677"/>
              <a:chExt cx="237888" cy="335938"/>
            </a:xfrm>
          </p:grpSpPr>
          <p:sp>
            <p:nvSpPr>
              <p:cNvPr id="249" name="Freeform: Shape 248">
                <a:extLst>
                  <a:ext uri="{FF2B5EF4-FFF2-40B4-BE49-F238E27FC236}">
                    <a16:creationId xmlns:a16="http://schemas.microsoft.com/office/drawing/2014/main" id="{E2B9F4F8-D07F-4CE5-981E-BBE109C45B29}"/>
                  </a:ext>
                </a:extLst>
              </p:cNvPr>
              <p:cNvSpPr/>
              <p:nvPr/>
            </p:nvSpPr>
            <p:spPr>
              <a:xfrm>
                <a:off x="4326052" y="2942677"/>
                <a:ext cx="237615" cy="335938"/>
              </a:xfrm>
              <a:custGeom>
                <a:avLst/>
                <a:gdLst>
                  <a:gd name="connsiteX0" fmla="*/ 4097 w 237614"/>
                  <a:gd name="connsiteY0" fmla="*/ 325013 h 335938"/>
                  <a:gd name="connsiteX1" fmla="*/ 4097 w 237614"/>
                  <a:gd name="connsiteY1" fmla="*/ 13110 h 335938"/>
                  <a:gd name="connsiteX2" fmla="*/ 13110 w 237614"/>
                  <a:gd name="connsiteY2" fmla="*/ 4097 h 335938"/>
                  <a:gd name="connsiteX3" fmla="*/ 157317 w 237614"/>
                  <a:gd name="connsiteY3" fmla="*/ 4097 h 335938"/>
                  <a:gd name="connsiteX4" fmla="*/ 234064 w 237614"/>
                  <a:gd name="connsiteY4" fmla="*/ 80844 h 335938"/>
                  <a:gd name="connsiteX5" fmla="*/ 234064 w 237614"/>
                  <a:gd name="connsiteY5" fmla="*/ 325013 h 335938"/>
                  <a:gd name="connsiteX6" fmla="*/ 225051 w 237614"/>
                  <a:gd name="connsiteY6" fmla="*/ 334026 h 335938"/>
                  <a:gd name="connsiteX7" fmla="*/ 13110 w 237614"/>
                  <a:gd name="connsiteY7" fmla="*/ 334026 h 335938"/>
                  <a:gd name="connsiteX8" fmla="*/ 4097 w 237614"/>
                  <a:gd name="connsiteY8" fmla="*/ 325013 h 33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614" h="335938">
                    <a:moveTo>
                      <a:pt x="4097" y="325013"/>
                    </a:moveTo>
                    <a:lnTo>
                      <a:pt x="4097" y="13110"/>
                    </a:lnTo>
                    <a:cubicBezTo>
                      <a:pt x="4097" y="8194"/>
                      <a:pt x="8194" y="4097"/>
                      <a:pt x="13110" y="4097"/>
                    </a:cubicBezTo>
                    <a:lnTo>
                      <a:pt x="157317" y="4097"/>
                    </a:lnTo>
                    <a:lnTo>
                      <a:pt x="234064" y="80844"/>
                    </a:lnTo>
                    <a:lnTo>
                      <a:pt x="234064" y="325013"/>
                    </a:lnTo>
                    <a:cubicBezTo>
                      <a:pt x="234064" y="329930"/>
                      <a:pt x="229967" y="334026"/>
                      <a:pt x="225051" y="334026"/>
                    </a:cubicBezTo>
                    <a:lnTo>
                      <a:pt x="13110" y="334026"/>
                    </a:lnTo>
                    <a:cubicBezTo>
                      <a:pt x="8194" y="334026"/>
                      <a:pt x="4097" y="329930"/>
                      <a:pt x="4097" y="325013"/>
                    </a:cubicBez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50" name="Freeform: Shape 249">
                <a:extLst>
                  <a:ext uri="{FF2B5EF4-FFF2-40B4-BE49-F238E27FC236}">
                    <a16:creationId xmlns:a16="http://schemas.microsoft.com/office/drawing/2014/main" id="{51BF2139-809F-4517-A760-E85A3BACB42E}"/>
                  </a:ext>
                </a:extLst>
              </p:cNvPr>
              <p:cNvSpPr/>
              <p:nvPr/>
            </p:nvSpPr>
            <p:spPr>
              <a:xfrm>
                <a:off x="4479273" y="2942677"/>
                <a:ext cx="84667" cy="84667"/>
              </a:xfrm>
              <a:custGeom>
                <a:avLst/>
                <a:gdLst>
                  <a:gd name="connsiteX0" fmla="*/ 4097 w 84667"/>
                  <a:gd name="connsiteY0" fmla="*/ 80844 h 84667"/>
                  <a:gd name="connsiteX1" fmla="*/ 80844 w 84667"/>
                  <a:gd name="connsiteY1" fmla="*/ 80844 h 84667"/>
                  <a:gd name="connsiteX2" fmla="*/ 4097 w 84667"/>
                  <a:gd name="connsiteY2" fmla="*/ 4097 h 84667"/>
                </a:gdLst>
                <a:ahLst/>
                <a:cxnLst>
                  <a:cxn ang="0">
                    <a:pos x="connsiteX0" y="connsiteY0"/>
                  </a:cxn>
                  <a:cxn ang="0">
                    <a:pos x="connsiteX1" y="connsiteY1"/>
                  </a:cxn>
                  <a:cxn ang="0">
                    <a:pos x="connsiteX2" y="connsiteY2"/>
                  </a:cxn>
                </a:cxnLst>
                <a:rect l="l" t="t" r="r" b="b"/>
                <a:pathLst>
                  <a:path w="84667" h="84667">
                    <a:moveTo>
                      <a:pt x="4097" y="80844"/>
                    </a:moveTo>
                    <a:lnTo>
                      <a:pt x="80844" y="80844"/>
                    </a:lnTo>
                    <a:lnTo>
                      <a:pt x="4097" y="4097"/>
                    </a:ln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51" name="Freeform: Shape 250">
                <a:extLst>
                  <a:ext uri="{FF2B5EF4-FFF2-40B4-BE49-F238E27FC236}">
                    <a16:creationId xmlns:a16="http://schemas.microsoft.com/office/drawing/2014/main" id="{C0B68C51-C6C8-48A2-B37C-6378C43F352D}"/>
                  </a:ext>
                </a:extLst>
              </p:cNvPr>
              <p:cNvSpPr/>
              <p:nvPr/>
            </p:nvSpPr>
            <p:spPr>
              <a:xfrm>
                <a:off x="4359919" y="3081422"/>
                <a:ext cx="169335" cy="8194"/>
              </a:xfrm>
              <a:custGeom>
                <a:avLst/>
                <a:gdLst>
                  <a:gd name="connsiteX0" fmla="*/ 4097 w 169334"/>
                  <a:gd name="connsiteY0" fmla="*/ 4097 h 8193"/>
                  <a:gd name="connsiteX1" fmla="*/ 166330 w 169334"/>
                  <a:gd name="connsiteY1" fmla="*/ 4097 h 8193"/>
                </a:gdLst>
                <a:ahLst/>
                <a:cxnLst>
                  <a:cxn ang="0">
                    <a:pos x="connsiteX0" y="connsiteY0"/>
                  </a:cxn>
                  <a:cxn ang="0">
                    <a:pos x="connsiteX1" y="connsiteY1"/>
                  </a:cxn>
                </a:cxnLst>
                <a:rect l="l" t="t" r="r" b="b"/>
                <a:pathLst>
                  <a:path w="169334" h="8193">
                    <a:moveTo>
                      <a:pt x="4097" y="4097"/>
                    </a:moveTo>
                    <a:lnTo>
                      <a:pt x="166330" y="4097"/>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52" name="Freeform: Shape 251">
                <a:extLst>
                  <a:ext uri="{FF2B5EF4-FFF2-40B4-BE49-F238E27FC236}">
                    <a16:creationId xmlns:a16="http://schemas.microsoft.com/office/drawing/2014/main" id="{9BF3655E-6274-4445-B0F5-B0C2C5C643E3}"/>
                  </a:ext>
                </a:extLst>
              </p:cNvPr>
              <p:cNvSpPr/>
              <p:nvPr/>
            </p:nvSpPr>
            <p:spPr>
              <a:xfrm>
                <a:off x="4359919" y="3126214"/>
                <a:ext cx="169335" cy="8194"/>
              </a:xfrm>
              <a:custGeom>
                <a:avLst/>
                <a:gdLst>
                  <a:gd name="connsiteX0" fmla="*/ 4097 w 169334"/>
                  <a:gd name="connsiteY0" fmla="*/ 4097 h 8193"/>
                  <a:gd name="connsiteX1" fmla="*/ 166330 w 169334"/>
                  <a:gd name="connsiteY1" fmla="*/ 4097 h 8193"/>
                </a:gdLst>
                <a:ahLst/>
                <a:cxnLst>
                  <a:cxn ang="0">
                    <a:pos x="connsiteX0" y="connsiteY0"/>
                  </a:cxn>
                  <a:cxn ang="0">
                    <a:pos x="connsiteX1" y="connsiteY1"/>
                  </a:cxn>
                </a:cxnLst>
                <a:rect l="l" t="t" r="r" b="b"/>
                <a:pathLst>
                  <a:path w="169334" h="8193">
                    <a:moveTo>
                      <a:pt x="4097" y="4097"/>
                    </a:moveTo>
                    <a:lnTo>
                      <a:pt x="166330" y="4097"/>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53" name="Freeform: Shape 252">
                <a:extLst>
                  <a:ext uri="{FF2B5EF4-FFF2-40B4-BE49-F238E27FC236}">
                    <a16:creationId xmlns:a16="http://schemas.microsoft.com/office/drawing/2014/main" id="{E85BEFD8-E86E-4DDD-9488-8139FF669D2C}"/>
                  </a:ext>
                </a:extLst>
              </p:cNvPr>
              <p:cNvSpPr/>
              <p:nvPr/>
            </p:nvSpPr>
            <p:spPr>
              <a:xfrm>
                <a:off x="4359919" y="3171279"/>
                <a:ext cx="169335" cy="8194"/>
              </a:xfrm>
              <a:custGeom>
                <a:avLst/>
                <a:gdLst>
                  <a:gd name="connsiteX0" fmla="*/ 4097 w 169334"/>
                  <a:gd name="connsiteY0" fmla="*/ 4097 h 8193"/>
                  <a:gd name="connsiteX1" fmla="*/ 166330 w 169334"/>
                  <a:gd name="connsiteY1" fmla="*/ 4097 h 8193"/>
                </a:gdLst>
                <a:ahLst/>
                <a:cxnLst>
                  <a:cxn ang="0">
                    <a:pos x="connsiteX0" y="connsiteY0"/>
                  </a:cxn>
                  <a:cxn ang="0">
                    <a:pos x="connsiteX1" y="connsiteY1"/>
                  </a:cxn>
                </a:cxnLst>
                <a:rect l="l" t="t" r="r" b="b"/>
                <a:pathLst>
                  <a:path w="169334" h="8193">
                    <a:moveTo>
                      <a:pt x="4097" y="4097"/>
                    </a:moveTo>
                    <a:lnTo>
                      <a:pt x="166330" y="4097"/>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54" name="Freeform: Shape 253">
                <a:extLst>
                  <a:ext uri="{FF2B5EF4-FFF2-40B4-BE49-F238E27FC236}">
                    <a16:creationId xmlns:a16="http://schemas.microsoft.com/office/drawing/2014/main" id="{6AF7B619-6C99-4926-AB11-5A7C44FDE5BC}"/>
                  </a:ext>
                </a:extLst>
              </p:cNvPr>
              <p:cNvSpPr/>
              <p:nvPr/>
            </p:nvSpPr>
            <p:spPr>
              <a:xfrm>
                <a:off x="4359919" y="3216344"/>
                <a:ext cx="169335" cy="8194"/>
              </a:xfrm>
              <a:custGeom>
                <a:avLst/>
                <a:gdLst>
                  <a:gd name="connsiteX0" fmla="*/ 4097 w 169334"/>
                  <a:gd name="connsiteY0" fmla="*/ 4097 h 8193"/>
                  <a:gd name="connsiteX1" fmla="*/ 166330 w 169334"/>
                  <a:gd name="connsiteY1" fmla="*/ 4097 h 8193"/>
                </a:gdLst>
                <a:ahLst/>
                <a:cxnLst>
                  <a:cxn ang="0">
                    <a:pos x="connsiteX0" y="connsiteY0"/>
                  </a:cxn>
                  <a:cxn ang="0">
                    <a:pos x="connsiteX1" y="connsiteY1"/>
                  </a:cxn>
                </a:cxnLst>
                <a:rect l="l" t="t" r="r" b="b"/>
                <a:pathLst>
                  <a:path w="169334" h="8193">
                    <a:moveTo>
                      <a:pt x="4097" y="4097"/>
                    </a:moveTo>
                    <a:lnTo>
                      <a:pt x="166330" y="4097"/>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55" name="Freeform: Shape 254">
                <a:extLst>
                  <a:ext uri="{FF2B5EF4-FFF2-40B4-BE49-F238E27FC236}">
                    <a16:creationId xmlns:a16="http://schemas.microsoft.com/office/drawing/2014/main" id="{7E52BD90-E319-4CBB-9046-6E2FE626F333}"/>
                  </a:ext>
                </a:extLst>
              </p:cNvPr>
              <p:cNvSpPr/>
              <p:nvPr/>
            </p:nvSpPr>
            <p:spPr>
              <a:xfrm>
                <a:off x="4359919" y="3036357"/>
                <a:ext cx="98323" cy="8194"/>
              </a:xfrm>
              <a:custGeom>
                <a:avLst/>
                <a:gdLst>
                  <a:gd name="connsiteX0" fmla="*/ 4097 w 98323"/>
                  <a:gd name="connsiteY0" fmla="*/ 4097 h 8193"/>
                  <a:gd name="connsiteX1" fmla="*/ 96138 w 98323"/>
                  <a:gd name="connsiteY1" fmla="*/ 4097 h 8193"/>
                </a:gdLst>
                <a:ahLst/>
                <a:cxnLst>
                  <a:cxn ang="0">
                    <a:pos x="connsiteX0" y="connsiteY0"/>
                  </a:cxn>
                  <a:cxn ang="0">
                    <a:pos x="connsiteX1" y="connsiteY1"/>
                  </a:cxn>
                </a:cxnLst>
                <a:rect l="l" t="t" r="r" b="b"/>
                <a:pathLst>
                  <a:path w="98323" h="8193">
                    <a:moveTo>
                      <a:pt x="4097" y="4097"/>
                    </a:moveTo>
                    <a:lnTo>
                      <a:pt x="96138" y="4097"/>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grpSp>
        <p:grpSp>
          <p:nvGrpSpPr>
            <p:cNvPr id="256" name="Group 255">
              <a:extLst>
                <a:ext uri="{FF2B5EF4-FFF2-40B4-BE49-F238E27FC236}">
                  <a16:creationId xmlns:a16="http://schemas.microsoft.com/office/drawing/2014/main" id="{42FC4D00-5F61-44D9-B4FC-8B01AB1979C3}"/>
                </a:ext>
              </a:extLst>
            </p:cNvPr>
            <p:cNvGrpSpPr/>
            <p:nvPr/>
          </p:nvGrpSpPr>
          <p:grpSpPr>
            <a:xfrm>
              <a:off x="2021930" y="2452416"/>
              <a:ext cx="340390" cy="366828"/>
              <a:chOff x="2760810" y="4102560"/>
              <a:chExt cx="340390" cy="366828"/>
            </a:xfrm>
          </p:grpSpPr>
          <p:sp>
            <p:nvSpPr>
              <p:cNvPr id="257" name="Freeform: Shape 256">
                <a:extLst>
                  <a:ext uri="{FF2B5EF4-FFF2-40B4-BE49-F238E27FC236}">
                    <a16:creationId xmlns:a16="http://schemas.microsoft.com/office/drawing/2014/main" id="{69978C13-DCAC-4EC5-AD2B-C56CBB48D0E7}"/>
                  </a:ext>
                </a:extLst>
              </p:cNvPr>
              <p:cNvSpPr/>
              <p:nvPr/>
            </p:nvSpPr>
            <p:spPr>
              <a:xfrm>
                <a:off x="2760810" y="4102560"/>
                <a:ext cx="340390" cy="95838"/>
              </a:xfrm>
              <a:custGeom>
                <a:avLst/>
                <a:gdLst>
                  <a:gd name="connsiteX0" fmla="*/ 328824 w 340390"/>
                  <a:gd name="connsiteY0" fmla="*/ 93194 h 95838"/>
                  <a:gd name="connsiteX1" fmla="*/ 11567 w 340390"/>
                  <a:gd name="connsiteY1" fmla="*/ 93194 h 95838"/>
                  <a:gd name="connsiteX2" fmla="*/ 4957 w 340390"/>
                  <a:gd name="connsiteY2" fmla="*/ 86585 h 95838"/>
                  <a:gd name="connsiteX3" fmla="*/ 4957 w 340390"/>
                  <a:gd name="connsiteY3" fmla="*/ 11567 h 95838"/>
                  <a:gd name="connsiteX4" fmla="*/ 11567 w 340390"/>
                  <a:gd name="connsiteY4" fmla="*/ 4957 h 95838"/>
                  <a:gd name="connsiteX5" fmla="*/ 328824 w 340390"/>
                  <a:gd name="connsiteY5" fmla="*/ 4957 h 95838"/>
                  <a:gd name="connsiteX6" fmla="*/ 335433 w 340390"/>
                  <a:gd name="connsiteY6" fmla="*/ 11567 h 95838"/>
                  <a:gd name="connsiteX7" fmla="*/ 335433 w 340390"/>
                  <a:gd name="connsiteY7" fmla="*/ 86585 h 95838"/>
                  <a:gd name="connsiteX8" fmla="*/ 328824 w 340390"/>
                  <a:gd name="connsiteY8" fmla="*/ 93194 h 95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0390" h="95838">
                    <a:moveTo>
                      <a:pt x="328824" y="93194"/>
                    </a:moveTo>
                    <a:lnTo>
                      <a:pt x="11567" y="93194"/>
                    </a:lnTo>
                    <a:cubicBezTo>
                      <a:pt x="7931" y="93194"/>
                      <a:pt x="4957" y="90220"/>
                      <a:pt x="4957" y="86585"/>
                    </a:cubicBezTo>
                    <a:lnTo>
                      <a:pt x="4957" y="11567"/>
                    </a:lnTo>
                    <a:cubicBezTo>
                      <a:pt x="4957" y="7931"/>
                      <a:pt x="7931" y="4957"/>
                      <a:pt x="11567" y="4957"/>
                    </a:cubicBezTo>
                    <a:lnTo>
                      <a:pt x="328824" y="4957"/>
                    </a:lnTo>
                    <a:cubicBezTo>
                      <a:pt x="332459" y="4957"/>
                      <a:pt x="335433" y="7931"/>
                      <a:pt x="335433" y="11567"/>
                    </a:cubicBezTo>
                    <a:lnTo>
                      <a:pt x="335433" y="86585"/>
                    </a:lnTo>
                    <a:cubicBezTo>
                      <a:pt x="335433" y="90220"/>
                      <a:pt x="332459" y="93194"/>
                      <a:pt x="328824" y="93194"/>
                    </a:cubicBez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58" name="Freeform: Shape 257">
                <a:extLst>
                  <a:ext uri="{FF2B5EF4-FFF2-40B4-BE49-F238E27FC236}">
                    <a16:creationId xmlns:a16="http://schemas.microsoft.com/office/drawing/2014/main" id="{46BC2B24-8883-416A-B535-F9F059D658F2}"/>
                  </a:ext>
                </a:extLst>
              </p:cNvPr>
              <p:cNvSpPr/>
              <p:nvPr/>
            </p:nvSpPr>
            <p:spPr>
              <a:xfrm>
                <a:off x="2760810" y="4222192"/>
                <a:ext cx="340390" cy="95838"/>
              </a:xfrm>
              <a:custGeom>
                <a:avLst/>
                <a:gdLst>
                  <a:gd name="connsiteX0" fmla="*/ 329154 w 340390"/>
                  <a:gd name="connsiteY0" fmla="*/ 92864 h 95838"/>
                  <a:gd name="connsiteX1" fmla="*/ 11236 w 340390"/>
                  <a:gd name="connsiteY1" fmla="*/ 92864 h 95838"/>
                  <a:gd name="connsiteX2" fmla="*/ 4957 w 340390"/>
                  <a:gd name="connsiteY2" fmla="*/ 86585 h 95838"/>
                  <a:gd name="connsiteX3" fmla="*/ 4957 w 340390"/>
                  <a:gd name="connsiteY3" fmla="*/ 11236 h 95838"/>
                  <a:gd name="connsiteX4" fmla="*/ 11236 w 340390"/>
                  <a:gd name="connsiteY4" fmla="*/ 4957 h 95838"/>
                  <a:gd name="connsiteX5" fmla="*/ 329154 w 340390"/>
                  <a:gd name="connsiteY5" fmla="*/ 4957 h 95838"/>
                  <a:gd name="connsiteX6" fmla="*/ 335433 w 340390"/>
                  <a:gd name="connsiteY6" fmla="*/ 11236 h 95838"/>
                  <a:gd name="connsiteX7" fmla="*/ 335433 w 340390"/>
                  <a:gd name="connsiteY7" fmla="*/ 86585 h 95838"/>
                  <a:gd name="connsiteX8" fmla="*/ 329154 w 340390"/>
                  <a:gd name="connsiteY8" fmla="*/ 92864 h 95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0390" h="95838">
                    <a:moveTo>
                      <a:pt x="329154" y="92864"/>
                    </a:moveTo>
                    <a:lnTo>
                      <a:pt x="11236" y="92864"/>
                    </a:lnTo>
                    <a:cubicBezTo>
                      <a:pt x="7601" y="92864"/>
                      <a:pt x="4957" y="89889"/>
                      <a:pt x="4957" y="86585"/>
                    </a:cubicBezTo>
                    <a:lnTo>
                      <a:pt x="4957" y="11236"/>
                    </a:lnTo>
                    <a:cubicBezTo>
                      <a:pt x="4957" y="7601"/>
                      <a:pt x="7931" y="4957"/>
                      <a:pt x="11236" y="4957"/>
                    </a:cubicBezTo>
                    <a:lnTo>
                      <a:pt x="329154" y="4957"/>
                    </a:lnTo>
                    <a:cubicBezTo>
                      <a:pt x="332789" y="4957"/>
                      <a:pt x="335433" y="7931"/>
                      <a:pt x="335433" y="11236"/>
                    </a:cubicBezTo>
                    <a:lnTo>
                      <a:pt x="335433" y="86585"/>
                    </a:lnTo>
                    <a:cubicBezTo>
                      <a:pt x="335433" y="90220"/>
                      <a:pt x="332789" y="92864"/>
                      <a:pt x="329154" y="92864"/>
                    </a:cubicBez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59" name="Freeform: Shape 258">
                <a:extLst>
                  <a:ext uri="{FF2B5EF4-FFF2-40B4-BE49-F238E27FC236}">
                    <a16:creationId xmlns:a16="http://schemas.microsoft.com/office/drawing/2014/main" id="{7FEE7C6A-8A02-41F3-8258-1595DB2D0A3F}"/>
                  </a:ext>
                </a:extLst>
              </p:cNvPr>
              <p:cNvSpPr/>
              <p:nvPr/>
            </p:nvSpPr>
            <p:spPr>
              <a:xfrm>
                <a:off x="2804763" y="4190797"/>
                <a:ext cx="251162" cy="39657"/>
              </a:xfrm>
              <a:custGeom>
                <a:avLst/>
                <a:gdLst>
                  <a:gd name="connsiteX0" fmla="*/ 4957 w 251161"/>
                  <a:gd name="connsiteY0" fmla="*/ 4957 h 39657"/>
                  <a:gd name="connsiteX1" fmla="*/ 247527 w 251161"/>
                  <a:gd name="connsiteY1" fmla="*/ 4957 h 39657"/>
                  <a:gd name="connsiteX2" fmla="*/ 247527 w 251161"/>
                  <a:gd name="connsiteY2" fmla="*/ 34700 h 39657"/>
                  <a:gd name="connsiteX3" fmla="*/ 4957 w 251161"/>
                  <a:gd name="connsiteY3" fmla="*/ 34700 h 39657"/>
                </a:gdLst>
                <a:ahLst/>
                <a:cxnLst>
                  <a:cxn ang="0">
                    <a:pos x="connsiteX0" y="connsiteY0"/>
                  </a:cxn>
                  <a:cxn ang="0">
                    <a:pos x="connsiteX1" y="connsiteY1"/>
                  </a:cxn>
                  <a:cxn ang="0">
                    <a:pos x="connsiteX2" y="connsiteY2"/>
                  </a:cxn>
                  <a:cxn ang="0">
                    <a:pos x="connsiteX3" y="connsiteY3"/>
                  </a:cxn>
                </a:cxnLst>
                <a:rect l="l" t="t" r="r" b="b"/>
                <a:pathLst>
                  <a:path w="251161" h="39657">
                    <a:moveTo>
                      <a:pt x="4957" y="4957"/>
                    </a:moveTo>
                    <a:lnTo>
                      <a:pt x="247527" y="4957"/>
                    </a:lnTo>
                    <a:lnTo>
                      <a:pt x="247527" y="34700"/>
                    </a:lnTo>
                    <a:lnTo>
                      <a:pt x="4957" y="34700"/>
                    </a:ln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60" name="Freeform: Shape 259">
                <a:extLst>
                  <a:ext uri="{FF2B5EF4-FFF2-40B4-BE49-F238E27FC236}">
                    <a16:creationId xmlns:a16="http://schemas.microsoft.com/office/drawing/2014/main" id="{63FCAD40-47A6-4822-9CF7-949073B06418}"/>
                  </a:ext>
                </a:extLst>
              </p:cNvPr>
              <p:cNvSpPr/>
              <p:nvPr/>
            </p:nvSpPr>
            <p:spPr>
              <a:xfrm>
                <a:off x="2760810" y="4341494"/>
                <a:ext cx="340390" cy="95838"/>
              </a:xfrm>
              <a:custGeom>
                <a:avLst/>
                <a:gdLst>
                  <a:gd name="connsiteX0" fmla="*/ 328824 w 340390"/>
                  <a:gd name="connsiteY0" fmla="*/ 93194 h 95838"/>
                  <a:gd name="connsiteX1" fmla="*/ 11567 w 340390"/>
                  <a:gd name="connsiteY1" fmla="*/ 93194 h 95838"/>
                  <a:gd name="connsiteX2" fmla="*/ 4957 w 340390"/>
                  <a:gd name="connsiteY2" fmla="*/ 86585 h 95838"/>
                  <a:gd name="connsiteX3" fmla="*/ 4957 w 340390"/>
                  <a:gd name="connsiteY3" fmla="*/ 11567 h 95838"/>
                  <a:gd name="connsiteX4" fmla="*/ 11567 w 340390"/>
                  <a:gd name="connsiteY4" fmla="*/ 4957 h 95838"/>
                  <a:gd name="connsiteX5" fmla="*/ 328824 w 340390"/>
                  <a:gd name="connsiteY5" fmla="*/ 4957 h 95838"/>
                  <a:gd name="connsiteX6" fmla="*/ 335433 w 340390"/>
                  <a:gd name="connsiteY6" fmla="*/ 11567 h 95838"/>
                  <a:gd name="connsiteX7" fmla="*/ 335433 w 340390"/>
                  <a:gd name="connsiteY7" fmla="*/ 86585 h 95838"/>
                  <a:gd name="connsiteX8" fmla="*/ 328824 w 340390"/>
                  <a:gd name="connsiteY8" fmla="*/ 93194 h 95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0390" h="95838">
                    <a:moveTo>
                      <a:pt x="328824" y="93194"/>
                    </a:moveTo>
                    <a:lnTo>
                      <a:pt x="11567" y="93194"/>
                    </a:lnTo>
                    <a:cubicBezTo>
                      <a:pt x="7931" y="93194"/>
                      <a:pt x="4957" y="90220"/>
                      <a:pt x="4957" y="86585"/>
                    </a:cubicBezTo>
                    <a:lnTo>
                      <a:pt x="4957" y="11567"/>
                    </a:lnTo>
                    <a:cubicBezTo>
                      <a:pt x="4957" y="7931"/>
                      <a:pt x="7931" y="4957"/>
                      <a:pt x="11567" y="4957"/>
                    </a:cubicBezTo>
                    <a:lnTo>
                      <a:pt x="328824" y="4957"/>
                    </a:lnTo>
                    <a:cubicBezTo>
                      <a:pt x="332459" y="4957"/>
                      <a:pt x="335433" y="7931"/>
                      <a:pt x="335433" y="11567"/>
                    </a:cubicBezTo>
                    <a:lnTo>
                      <a:pt x="335433" y="86585"/>
                    </a:lnTo>
                    <a:cubicBezTo>
                      <a:pt x="335433" y="90220"/>
                      <a:pt x="332459" y="93194"/>
                      <a:pt x="328824" y="93194"/>
                    </a:cubicBez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61" name="Freeform: Shape 260">
                <a:extLst>
                  <a:ext uri="{FF2B5EF4-FFF2-40B4-BE49-F238E27FC236}">
                    <a16:creationId xmlns:a16="http://schemas.microsoft.com/office/drawing/2014/main" id="{A126E033-8FEC-4401-8650-73633D104727}"/>
                  </a:ext>
                </a:extLst>
              </p:cNvPr>
              <p:cNvSpPr/>
              <p:nvPr/>
            </p:nvSpPr>
            <p:spPr>
              <a:xfrm>
                <a:off x="2810712" y="4131311"/>
                <a:ext cx="39657" cy="39657"/>
              </a:xfrm>
              <a:custGeom>
                <a:avLst/>
                <a:gdLst>
                  <a:gd name="connsiteX0" fmla="*/ 4957 w 39657"/>
                  <a:gd name="connsiteY0" fmla="*/ 4957 h 39657"/>
                  <a:gd name="connsiteX1" fmla="*/ 36022 w 39657"/>
                  <a:gd name="connsiteY1" fmla="*/ 4957 h 39657"/>
                  <a:gd name="connsiteX2" fmla="*/ 36022 w 39657"/>
                  <a:gd name="connsiteY2" fmla="*/ 36022 h 39657"/>
                  <a:gd name="connsiteX3" fmla="*/ 4957 w 39657"/>
                  <a:gd name="connsiteY3" fmla="*/ 36022 h 39657"/>
                </a:gdLst>
                <a:ahLst/>
                <a:cxnLst>
                  <a:cxn ang="0">
                    <a:pos x="connsiteX0" y="connsiteY0"/>
                  </a:cxn>
                  <a:cxn ang="0">
                    <a:pos x="connsiteX1" y="connsiteY1"/>
                  </a:cxn>
                  <a:cxn ang="0">
                    <a:pos x="connsiteX2" y="connsiteY2"/>
                  </a:cxn>
                  <a:cxn ang="0">
                    <a:pos x="connsiteX3" y="connsiteY3"/>
                  </a:cxn>
                </a:cxnLst>
                <a:rect l="l" t="t" r="r" b="b"/>
                <a:pathLst>
                  <a:path w="39657" h="39657">
                    <a:moveTo>
                      <a:pt x="4957" y="4957"/>
                    </a:moveTo>
                    <a:lnTo>
                      <a:pt x="36022" y="4957"/>
                    </a:lnTo>
                    <a:lnTo>
                      <a:pt x="36022" y="36022"/>
                    </a:lnTo>
                    <a:lnTo>
                      <a:pt x="4957" y="36022"/>
                    </a:ln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62" name="Freeform: Shape 261">
                <a:extLst>
                  <a:ext uri="{FF2B5EF4-FFF2-40B4-BE49-F238E27FC236}">
                    <a16:creationId xmlns:a16="http://schemas.microsoft.com/office/drawing/2014/main" id="{04F00A1E-B340-481B-A9E6-ED2C0BB7ED05}"/>
                  </a:ext>
                </a:extLst>
              </p:cNvPr>
              <p:cNvSpPr/>
              <p:nvPr/>
            </p:nvSpPr>
            <p:spPr>
              <a:xfrm>
                <a:off x="2884077" y="4131311"/>
                <a:ext cx="39657" cy="39657"/>
              </a:xfrm>
              <a:custGeom>
                <a:avLst/>
                <a:gdLst>
                  <a:gd name="connsiteX0" fmla="*/ 4957 w 39657"/>
                  <a:gd name="connsiteY0" fmla="*/ 4957 h 39657"/>
                  <a:gd name="connsiteX1" fmla="*/ 36022 w 39657"/>
                  <a:gd name="connsiteY1" fmla="*/ 4957 h 39657"/>
                  <a:gd name="connsiteX2" fmla="*/ 36022 w 39657"/>
                  <a:gd name="connsiteY2" fmla="*/ 36022 h 39657"/>
                  <a:gd name="connsiteX3" fmla="*/ 4957 w 39657"/>
                  <a:gd name="connsiteY3" fmla="*/ 36022 h 39657"/>
                </a:gdLst>
                <a:ahLst/>
                <a:cxnLst>
                  <a:cxn ang="0">
                    <a:pos x="connsiteX0" y="connsiteY0"/>
                  </a:cxn>
                  <a:cxn ang="0">
                    <a:pos x="connsiteX1" y="connsiteY1"/>
                  </a:cxn>
                  <a:cxn ang="0">
                    <a:pos x="connsiteX2" y="connsiteY2"/>
                  </a:cxn>
                  <a:cxn ang="0">
                    <a:pos x="connsiteX3" y="connsiteY3"/>
                  </a:cxn>
                </a:cxnLst>
                <a:rect l="l" t="t" r="r" b="b"/>
                <a:pathLst>
                  <a:path w="39657" h="39657">
                    <a:moveTo>
                      <a:pt x="4957" y="4957"/>
                    </a:moveTo>
                    <a:lnTo>
                      <a:pt x="36022" y="4957"/>
                    </a:lnTo>
                    <a:lnTo>
                      <a:pt x="36022" y="36022"/>
                    </a:lnTo>
                    <a:lnTo>
                      <a:pt x="4957" y="36022"/>
                    </a:ln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63" name="Freeform: Shape 262">
                <a:extLst>
                  <a:ext uri="{FF2B5EF4-FFF2-40B4-BE49-F238E27FC236}">
                    <a16:creationId xmlns:a16="http://schemas.microsoft.com/office/drawing/2014/main" id="{C6950F02-8002-4D43-91AB-FC0742E87431}"/>
                  </a:ext>
                </a:extLst>
              </p:cNvPr>
              <p:cNvSpPr/>
              <p:nvPr/>
            </p:nvSpPr>
            <p:spPr>
              <a:xfrm>
                <a:off x="2804763" y="4311751"/>
                <a:ext cx="251162" cy="39657"/>
              </a:xfrm>
              <a:custGeom>
                <a:avLst/>
                <a:gdLst>
                  <a:gd name="connsiteX0" fmla="*/ 4957 w 251161"/>
                  <a:gd name="connsiteY0" fmla="*/ 4957 h 39657"/>
                  <a:gd name="connsiteX1" fmla="*/ 247527 w 251161"/>
                  <a:gd name="connsiteY1" fmla="*/ 4957 h 39657"/>
                  <a:gd name="connsiteX2" fmla="*/ 247527 w 251161"/>
                  <a:gd name="connsiteY2" fmla="*/ 34700 h 39657"/>
                  <a:gd name="connsiteX3" fmla="*/ 4957 w 251161"/>
                  <a:gd name="connsiteY3" fmla="*/ 34700 h 39657"/>
                </a:gdLst>
                <a:ahLst/>
                <a:cxnLst>
                  <a:cxn ang="0">
                    <a:pos x="connsiteX0" y="connsiteY0"/>
                  </a:cxn>
                  <a:cxn ang="0">
                    <a:pos x="connsiteX1" y="connsiteY1"/>
                  </a:cxn>
                  <a:cxn ang="0">
                    <a:pos x="connsiteX2" y="connsiteY2"/>
                  </a:cxn>
                  <a:cxn ang="0">
                    <a:pos x="connsiteX3" y="connsiteY3"/>
                  </a:cxn>
                </a:cxnLst>
                <a:rect l="l" t="t" r="r" b="b"/>
                <a:pathLst>
                  <a:path w="251161" h="39657">
                    <a:moveTo>
                      <a:pt x="4957" y="4957"/>
                    </a:moveTo>
                    <a:lnTo>
                      <a:pt x="247527" y="4957"/>
                    </a:lnTo>
                    <a:lnTo>
                      <a:pt x="247527" y="34700"/>
                    </a:lnTo>
                    <a:lnTo>
                      <a:pt x="4957" y="34700"/>
                    </a:ln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64" name="Freeform: Shape 263">
                <a:extLst>
                  <a:ext uri="{FF2B5EF4-FFF2-40B4-BE49-F238E27FC236}">
                    <a16:creationId xmlns:a16="http://schemas.microsoft.com/office/drawing/2014/main" id="{EC60EC32-A483-4F42-A213-A1CAC99FBA23}"/>
                  </a:ext>
                </a:extLst>
              </p:cNvPr>
              <p:cNvSpPr/>
              <p:nvPr/>
            </p:nvSpPr>
            <p:spPr>
              <a:xfrm>
                <a:off x="2947198" y="4250613"/>
                <a:ext cx="39657" cy="39657"/>
              </a:xfrm>
              <a:custGeom>
                <a:avLst/>
                <a:gdLst>
                  <a:gd name="connsiteX0" fmla="*/ 4957 w 39657"/>
                  <a:gd name="connsiteY0" fmla="*/ 4957 h 39657"/>
                  <a:gd name="connsiteX1" fmla="*/ 36022 w 39657"/>
                  <a:gd name="connsiteY1" fmla="*/ 4957 h 39657"/>
                  <a:gd name="connsiteX2" fmla="*/ 36022 w 39657"/>
                  <a:gd name="connsiteY2" fmla="*/ 36022 h 39657"/>
                  <a:gd name="connsiteX3" fmla="*/ 4957 w 39657"/>
                  <a:gd name="connsiteY3" fmla="*/ 36022 h 39657"/>
                </a:gdLst>
                <a:ahLst/>
                <a:cxnLst>
                  <a:cxn ang="0">
                    <a:pos x="connsiteX0" y="connsiteY0"/>
                  </a:cxn>
                  <a:cxn ang="0">
                    <a:pos x="connsiteX1" y="connsiteY1"/>
                  </a:cxn>
                  <a:cxn ang="0">
                    <a:pos x="connsiteX2" y="connsiteY2"/>
                  </a:cxn>
                  <a:cxn ang="0">
                    <a:pos x="connsiteX3" y="connsiteY3"/>
                  </a:cxn>
                </a:cxnLst>
                <a:rect l="l" t="t" r="r" b="b"/>
                <a:pathLst>
                  <a:path w="39657" h="39657">
                    <a:moveTo>
                      <a:pt x="4957" y="4957"/>
                    </a:moveTo>
                    <a:lnTo>
                      <a:pt x="36022" y="4957"/>
                    </a:lnTo>
                    <a:lnTo>
                      <a:pt x="36022" y="36022"/>
                    </a:lnTo>
                    <a:lnTo>
                      <a:pt x="4957" y="36022"/>
                    </a:ln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65" name="Freeform: Shape 264">
                <a:extLst>
                  <a:ext uri="{FF2B5EF4-FFF2-40B4-BE49-F238E27FC236}">
                    <a16:creationId xmlns:a16="http://schemas.microsoft.com/office/drawing/2014/main" id="{A37888AF-C9B8-44AB-B573-5E857EC5E93D}"/>
                  </a:ext>
                </a:extLst>
              </p:cNvPr>
              <p:cNvSpPr/>
              <p:nvPr/>
            </p:nvSpPr>
            <p:spPr>
              <a:xfrm>
                <a:off x="3020564" y="4250613"/>
                <a:ext cx="39657" cy="39657"/>
              </a:xfrm>
              <a:custGeom>
                <a:avLst/>
                <a:gdLst>
                  <a:gd name="connsiteX0" fmla="*/ 4957 w 39657"/>
                  <a:gd name="connsiteY0" fmla="*/ 4957 h 39657"/>
                  <a:gd name="connsiteX1" fmla="*/ 36022 w 39657"/>
                  <a:gd name="connsiteY1" fmla="*/ 4957 h 39657"/>
                  <a:gd name="connsiteX2" fmla="*/ 36022 w 39657"/>
                  <a:gd name="connsiteY2" fmla="*/ 36022 h 39657"/>
                  <a:gd name="connsiteX3" fmla="*/ 4957 w 39657"/>
                  <a:gd name="connsiteY3" fmla="*/ 36022 h 39657"/>
                </a:gdLst>
                <a:ahLst/>
                <a:cxnLst>
                  <a:cxn ang="0">
                    <a:pos x="connsiteX0" y="connsiteY0"/>
                  </a:cxn>
                  <a:cxn ang="0">
                    <a:pos x="connsiteX1" y="connsiteY1"/>
                  </a:cxn>
                  <a:cxn ang="0">
                    <a:pos x="connsiteX2" y="connsiteY2"/>
                  </a:cxn>
                  <a:cxn ang="0">
                    <a:pos x="connsiteX3" y="connsiteY3"/>
                  </a:cxn>
                </a:cxnLst>
                <a:rect l="l" t="t" r="r" b="b"/>
                <a:pathLst>
                  <a:path w="39657" h="39657">
                    <a:moveTo>
                      <a:pt x="4957" y="4957"/>
                    </a:moveTo>
                    <a:lnTo>
                      <a:pt x="36022" y="4957"/>
                    </a:lnTo>
                    <a:lnTo>
                      <a:pt x="36022" y="36022"/>
                    </a:lnTo>
                    <a:lnTo>
                      <a:pt x="4957" y="36022"/>
                    </a:ln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66" name="Freeform: Shape 265">
                <a:extLst>
                  <a:ext uri="{FF2B5EF4-FFF2-40B4-BE49-F238E27FC236}">
                    <a16:creationId xmlns:a16="http://schemas.microsoft.com/office/drawing/2014/main" id="{164B1DA3-3685-4EF8-ADC2-49CCBDBD7702}"/>
                  </a:ext>
                </a:extLst>
              </p:cNvPr>
              <p:cNvSpPr/>
              <p:nvPr/>
            </p:nvSpPr>
            <p:spPr>
              <a:xfrm>
                <a:off x="2810712" y="4369915"/>
                <a:ext cx="39657" cy="39657"/>
              </a:xfrm>
              <a:custGeom>
                <a:avLst/>
                <a:gdLst>
                  <a:gd name="connsiteX0" fmla="*/ 4957 w 39657"/>
                  <a:gd name="connsiteY0" fmla="*/ 4957 h 39657"/>
                  <a:gd name="connsiteX1" fmla="*/ 36022 w 39657"/>
                  <a:gd name="connsiteY1" fmla="*/ 4957 h 39657"/>
                  <a:gd name="connsiteX2" fmla="*/ 36022 w 39657"/>
                  <a:gd name="connsiteY2" fmla="*/ 36022 h 39657"/>
                  <a:gd name="connsiteX3" fmla="*/ 4957 w 39657"/>
                  <a:gd name="connsiteY3" fmla="*/ 36022 h 39657"/>
                </a:gdLst>
                <a:ahLst/>
                <a:cxnLst>
                  <a:cxn ang="0">
                    <a:pos x="connsiteX0" y="connsiteY0"/>
                  </a:cxn>
                  <a:cxn ang="0">
                    <a:pos x="connsiteX1" y="connsiteY1"/>
                  </a:cxn>
                  <a:cxn ang="0">
                    <a:pos x="connsiteX2" y="connsiteY2"/>
                  </a:cxn>
                  <a:cxn ang="0">
                    <a:pos x="connsiteX3" y="connsiteY3"/>
                  </a:cxn>
                </a:cxnLst>
                <a:rect l="l" t="t" r="r" b="b"/>
                <a:pathLst>
                  <a:path w="39657" h="39657">
                    <a:moveTo>
                      <a:pt x="4957" y="4957"/>
                    </a:moveTo>
                    <a:lnTo>
                      <a:pt x="36022" y="4957"/>
                    </a:lnTo>
                    <a:lnTo>
                      <a:pt x="36022" y="36022"/>
                    </a:lnTo>
                    <a:lnTo>
                      <a:pt x="4957" y="36022"/>
                    </a:ln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67" name="Freeform: Shape 266">
                <a:extLst>
                  <a:ext uri="{FF2B5EF4-FFF2-40B4-BE49-F238E27FC236}">
                    <a16:creationId xmlns:a16="http://schemas.microsoft.com/office/drawing/2014/main" id="{2065BF29-DB00-4890-BDD8-6DC30F1FE191}"/>
                  </a:ext>
                </a:extLst>
              </p:cNvPr>
              <p:cNvSpPr/>
              <p:nvPr/>
            </p:nvSpPr>
            <p:spPr>
              <a:xfrm>
                <a:off x="2884077" y="4369915"/>
                <a:ext cx="39657" cy="39657"/>
              </a:xfrm>
              <a:custGeom>
                <a:avLst/>
                <a:gdLst>
                  <a:gd name="connsiteX0" fmla="*/ 4957 w 39657"/>
                  <a:gd name="connsiteY0" fmla="*/ 4957 h 39657"/>
                  <a:gd name="connsiteX1" fmla="*/ 36022 w 39657"/>
                  <a:gd name="connsiteY1" fmla="*/ 4957 h 39657"/>
                  <a:gd name="connsiteX2" fmla="*/ 36022 w 39657"/>
                  <a:gd name="connsiteY2" fmla="*/ 36022 h 39657"/>
                  <a:gd name="connsiteX3" fmla="*/ 4957 w 39657"/>
                  <a:gd name="connsiteY3" fmla="*/ 36022 h 39657"/>
                </a:gdLst>
                <a:ahLst/>
                <a:cxnLst>
                  <a:cxn ang="0">
                    <a:pos x="connsiteX0" y="connsiteY0"/>
                  </a:cxn>
                  <a:cxn ang="0">
                    <a:pos x="connsiteX1" y="connsiteY1"/>
                  </a:cxn>
                  <a:cxn ang="0">
                    <a:pos x="connsiteX2" y="connsiteY2"/>
                  </a:cxn>
                  <a:cxn ang="0">
                    <a:pos x="connsiteX3" y="connsiteY3"/>
                  </a:cxn>
                </a:cxnLst>
                <a:rect l="l" t="t" r="r" b="b"/>
                <a:pathLst>
                  <a:path w="39657" h="39657">
                    <a:moveTo>
                      <a:pt x="4957" y="4957"/>
                    </a:moveTo>
                    <a:lnTo>
                      <a:pt x="36022" y="4957"/>
                    </a:lnTo>
                    <a:lnTo>
                      <a:pt x="36022" y="36022"/>
                    </a:lnTo>
                    <a:lnTo>
                      <a:pt x="4957" y="36022"/>
                    </a:ln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68" name="Freeform: Shape 267">
                <a:extLst>
                  <a:ext uri="{FF2B5EF4-FFF2-40B4-BE49-F238E27FC236}">
                    <a16:creationId xmlns:a16="http://schemas.microsoft.com/office/drawing/2014/main" id="{B097436E-8AC9-443F-B43F-51040C3C9E88}"/>
                  </a:ext>
                </a:extLst>
              </p:cNvPr>
              <p:cNvSpPr/>
              <p:nvPr/>
            </p:nvSpPr>
            <p:spPr>
              <a:xfrm>
                <a:off x="2794188" y="4429731"/>
                <a:ext cx="89229" cy="39657"/>
              </a:xfrm>
              <a:custGeom>
                <a:avLst/>
                <a:gdLst>
                  <a:gd name="connsiteX0" fmla="*/ 4957 w 89228"/>
                  <a:gd name="connsiteY0" fmla="*/ 4957 h 39657"/>
                  <a:gd name="connsiteX1" fmla="*/ 84932 w 89228"/>
                  <a:gd name="connsiteY1" fmla="*/ 4957 h 39657"/>
                  <a:gd name="connsiteX2" fmla="*/ 84932 w 89228"/>
                  <a:gd name="connsiteY2" fmla="*/ 34700 h 39657"/>
                  <a:gd name="connsiteX3" fmla="*/ 4957 w 89228"/>
                  <a:gd name="connsiteY3" fmla="*/ 34700 h 39657"/>
                </a:gdLst>
                <a:ahLst/>
                <a:cxnLst>
                  <a:cxn ang="0">
                    <a:pos x="connsiteX0" y="connsiteY0"/>
                  </a:cxn>
                  <a:cxn ang="0">
                    <a:pos x="connsiteX1" y="connsiteY1"/>
                  </a:cxn>
                  <a:cxn ang="0">
                    <a:pos x="connsiteX2" y="connsiteY2"/>
                  </a:cxn>
                  <a:cxn ang="0">
                    <a:pos x="connsiteX3" y="connsiteY3"/>
                  </a:cxn>
                </a:cxnLst>
                <a:rect l="l" t="t" r="r" b="b"/>
                <a:pathLst>
                  <a:path w="89228" h="39657">
                    <a:moveTo>
                      <a:pt x="4957" y="4957"/>
                    </a:moveTo>
                    <a:lnTo>
                      <a:pt x="84932" y="4957"/>
                    </a:lnTo>
                    <a:lnTo>
                      <a:pt x="84932" y="34700"/>
                    </a:lnTo>
                    <a:lnTo>
                      <a:pt x="4957" y="34700"/>
                    </a:ln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69" name="Freeform: Shape 268">
                <a:extLst>
                  <a:ext uri="{FF2B5EF4-FFF2-40B4-BE49-F238E27FC236}">
                    <a16:creationId xmlns:a16="http://schemas.microsoft.com/office/drawing/2014/main" id="{DB5A672D-9EC0-4E90-862A-946DF21D4A36}"/>
                  </a:ext>
                </a:extLst>
              </p:cNvPr>
              <p:cNvSpPr/>
              <p:nvPr/>
            </p:nvSpPr>
            <p:spPr>
              <a:xfrm>
                <a:off x="2979585" y="4429731"/>
                <a:ext cx="89229" cy="39657"/>
              </a:xfrm>
              <a:custGeom>
                <a:avLst/>
                <a:gdLst>
                  <a:gd name="connsiteX0" fmla="*/ 4957 w 89228"/>
                  <a:gd name="connsiteY0" fmla="*/ 4957 h 39657"/>
                  <a:gd name="connsiteX1" fmla="*/ 84932 w 89228"/>
                  <a:gd name="connsiteY1" fmla="*/ 4957 h 39657"/>
                  <a:gd name="connsiteX2" fmla="*/ 84932 w 89228"/>
                  <a:gd name="connsiteY2" fmla="*/ 34700 h 39657"/>
                  <a:gd name="connsiteX3" fmla="*/ 4957 w 89228"/>
                  <a:gd name="connsiteY3" fmla="*/ 34700 h 39657"/>
                </a:gdLst>
                <a:ahLst/>
                <a:cxnLst>
                  <a:cxn ang="0">
                    <a:pos x="connsiteX0" y="connsiteY0"/>
                  </a:cxn>
                  <a:cxn ang="0">
                    <a:pos x="connsiteX1" y="connsiteY1"/>
                  </a:cxn>
                  <a:cxn ang="0">
                    <a:pos x="connsiteX2" y="connsiteY2"/>
                  </a:cxn>
                  <a:cxn ang="0">
                    <a:pos x="connsiteX3" y="connsiteY3"/>
                  </a:cxn>
                </a:cxnLst>
                <a:rect l="l" t="t" r="r" b="b"/>
                <a:pathLst>
                  <a:path w="89228" h="39657">
                    <a:moveTo>
                      <a:pt x="4957" y="4957"/>
                    </a:moveTo>
                    <a:lnTo>
                      <a:pt x="84932" y="4957"/>
                    </a:lnTo>
                    <a:lnTo>
                      <a:pt x="84932" y="34700"/>
                    </a:lnTo>
                    <a:lnTo>
                      <a:pt x="4957" y="34700"/>
                    </a:ln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grpSp>
        <p:grpSp>
          <p:nvGrpSpPr>
            <p:cNvPr id="270" name="Group 269">
              <a:extLst>
                <a:ext uri="{FF2B5EF4-FFF2-40B4-BE49-F238E27FC236}">
                  <a16:creationId xmlns:a16="http://schemas.microsoft.com/office/drawing/2014/main" id="{00432BAE-0141-4778-881C-E77358950DB7}"/>
                </a:ext>
              </a:extLst>
            </p:cNvPr>
            <p:cNvGrpSpPr/>
            <p:nvPr/>
          </p:nvGrpSpPr>
          <p:grpSpPr>
            <a:xfrm>
              <a:off x="3396026" y="2491643"/>
              <a:ext cx="373438" cy="540040"/>
              <a:chOff x="7783610" y="3183270"/>
              <a:chExt cx="373438" cy="540040"/>
            </a:xfrm>
          </p:grpSpPr>
          <p:sp>
            <p:nvSpPr>
              <p:cNvPr id="271" name="Freeform: Shape 270">
                <a:extLst>
                  <a:ext uri="{FF2B5EF4-FFF2-40B4-BE49-F238E27FC236}">
                    <a16:creationId xmlns:a16="http://schemas.microsoft.com/office/drawing/2014/main" id="{77791ABE-34C9-489D-A056-31D8F765A009}"/>
                  </a:ext>
                </a:extLst>
              </p:cNvPr>
              <p:cNvSpPr/>
              <p:nvPr/>
            </p:nvSpPr>
            <p:spPr>
              <a:xfrm>
                <a:off x="7879143" y="3421916"/>
                <a:ext cx="175152" cy="112362"/>
              </a:xfrm>
              <a:custGeom>
                <a:avLst/>
                <a:gdLst>
                  <a:gd name="connsiteX0" fmla="*/ 4957 w 175152"/>
                  <a:gd name="connsiteY0" fmla="*/ 11897 h 112361"/>
                  <a:gd name="connsiteX1" fmla="*/ 83941 w 175152"/>
                  <a:gd name="connsiteY1" fmla="*/ 110379 h 112361"/>
                  <a:gd name="connsiteX2" fmla="*/ 172839 w 175152"/>
                  <a:gd name="connsiteY2" fmla="*/ 4957 h 112361"/>
                </a:gdLst>
                <a:ahLst/>
                <a:cxnLst>
                  <a:cxn ang="0">
                    <a:pos x="connsiteX0" y="connsiteY0"/>
                  </a:cxn>
                  <a:cxn ang="0">
                    <a:pos x="connsiteX1" y="connsiteY1"/>
                  </a:cxn>
                  <a:cxn ang="0">
                    <a:pos x="connsiteX2" y="connsiteY2"/>
                  </a:cxn>
                </a:cxnLst>
                <a:rect l="l" t="t" r="r" b="b"/>
                <a:pathLst>
                  <a:path w="175152" h="112361">
                    <a:moveTo>
                      <a:pt x="4957" y="11897"/>
                    </a:moveTo>
                    <a:cubicBezTo>
                      <a:pt x="5949" y="60147"/>
                      <a:pt x="18507" y="107735"/>
                      <a:pt x="83941" y="110379"/>
                    </a:cubicBezTo>
                    <a:cubicBezTo>
                      <a:pt x="156976" y="113353"/>
                      <a:pt x="171187" y="56511"/>
                      <a:pt x="172839" y="4957"/>
                    </a:cubicBezTo>
                  </a:path>
                </a:pathLst>
              </a:custGeom>
              <a:noFill/>
              <a:ln w="19050" cap="flat">
                <a:solidFill>
                  <a:schemeClr val="tx1"/>
                </a:solidFill>
                <a:prstDash val="solid"/>
                <a:miter/>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72" name="Freeform: Shape 271">
                <a:extLst>
                  <a:ext uri="{FF2B5EF4-FFF2-40B4-BE49-F238E27FC236}">
                    <a16:creationId xmlns:a16="http://schemas.microsoft.com/office/drawing/2014/main" id="{3673ECB3-38DF-41D6-B40F-761787BE26AC}"/>
                  </a:ext>
                </a:extLst>
              </p:cNvPr>
              <p:cNvSpPr/>
              <p:nvPr/>
            </p:nvSpPr>
            <p:spPr>
              <a:xfrm>
                <a:off x="7851796" y="3259981"/>
                <a:ext cx="231333" cy="178457"/>
              </a:xfrm>
              <a:custGeom>
                <a:avLst/>
                <a:gdLst>
                  <a:gd name="connsiteX0" fmla="*/ 159207 w 231333"/>
                  <a:gd name="connsiteY0" fmla="*/ 81298 h 178457"/>
                  <a:gd name="connsiteX1" fmla="*/ 77249 w 231333"/>
                  <a:gd name="connsiteY1" fmla="*/ 117981 h 178457"/>
                  <a:gd name="connsiteX2" fmla="*/ 30983 w 231333"/>
                  <a:gd name="connsiteY2" fmla="*/ 175815 h 178457"/>
                  <a:gd name="connsiteX3" fmla="*/ 5536 w 231333"/>
                  <a:gd name="connsiteY3" fmla="*/ 102118 h 178457"/>
                  <a:gd name="connsiteX4" fmla="*/ 112941 w 231333"/>
                  <a:gd name="connsiteY4" fmla="*/ 4959 h 178457"/>
                  <a:gd name="connsiteX5" fmla="*/ 225303 w 231333"/>
                  <a:gd name="connsiteY5" fmla="*/ 97822 h 178457"/>
                  <a:gd name="connsiteX6" fmla="*/ 201508 w 231333"/>
                  <a:gd name="connsiteY6" fmla="*/ 170527 h 178457"/>
                  <a:gd name="connsiteX7" fmla="*/ 183993 w 231333"/>
                  <a:gd name="connsiteY7" fmla="*/ 133844 h 178457"/>
                  <a:gd name="connsiteX8" fmla="*/ 159207 w 231333"/>
                  <a:gd name="connsiteY8" fmla="*/ 81298 h 178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333" h="178457">
                    <a:moveTo>
                      <a:pt x="159207" y="81298"/>
                    </a:moveTo>
                    <a:cubicBezTo>
                      <a:pt x="159207" y="81298"/>
                      <a:pt x="124177" y="127235"/>
                      <a:pt x="77249" y="117981"/>
                    </a:cubicBezTo>
                    <a:cubicBezTo>
                      <a:pt x="77249" y="117981"/>
                      <a:pt x="54116" y="170197"/>
                      <a:pt x="30983" y="175815"/>
                    </a:cubicBezTo>
                    <a:cubicBezTo>
                      <a:pt x="25365" y="177137"/>
                      <a:pt x="909" y="141115"/>
                      <a:pt x="5536" y="102118"/>
                    </a:cubicBezTo>
                    <a:cubicBezTo>
                      <a:pt x="9832" y="64114"/>
                      <a:pt x="45524" y="4628"/>
                      <a:pt x="112941" y="4959"/>
                    </a:cubicBezTo>
                    <a:cubicBezTo>
                      <a:pt x="149293" y="4959"/>
                      <a:pt x="211092" y="21152"/>
                      <a:pt x="225303" y="97822"/>
                    </a:cubicBezTo>
                    <a:cubicBezTo>
                      <a:pt x="228607" y="116659"/>
                      <a:pt x="232573" y="162596"/>
                      <a:pt x="201508" y="170527"/>
                    </a:cubicBezTo>
                    <a:cubicBezTo>
                      <a:pt x="197212" y="171518"/>
                      <a:pt x="207126" y="150037"/>
                      <a:pt x="183993" y="133844"/>
                    </a:cubicBezTo>
                    <a:cubicBezTo>
                      <a:pt x="160529" y="117981"/>
                      <a:pt x="179366" y="61800"/>
                      <a:pt x="159207" y="81298"/>
                    </a:cubicBezTo>
                    <a:close/>
                  </a:path>
                </a:pathLst>
              </a:custGeom>
              <a:noFill/>
              <a:ln w="19050" cap="flat">
                <a:solidFill>
                  <a:schemeClr val="tx1"/>
                </a:solidFill>
                <a:prstDash val="solid"/>
                <a:miter/>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73" name="Freeform: Shape 272">
                <a:extLst>
                  <a:ext uri="{FF2B5EF4-FFF2-40B4-BE49-F238E27FC236}">
                    <a16:creationId xmlns:a16="http://schemas.microsoft.com/office/drawing/2014/main" id="{0BFFA1A6-8352-4080-8C68-AF00E5ACBF2F}"/>
                  </a:ext>
                </a:extLst>
              </p:cNvPr>
              <p:cNvSpPr/>
              <p:nvPr/>
            </p:nvSpPr>
            <p:spPr>
              <a:xfrm>
                <a:off x="7883591" y="3183270"/>
                <a:ext cx="168543" cy="92533"/>
              </a:xfrm>
              <a:custGeom>
                <a:avLst/>
                <a:gdLst>
                  <a:gd name="connsiteX0" fmla="*/ 9432 w 168542"/>
                  <a:gd name="connsiteY0" fmla="*/ 88941 h 92533"/>
                  <a:gd name="connsiteX1" fmla="*/ 17364 w 168542"/>
                  <a:gd name="connsiteY1" fmla="*/ 35073 h 92533"/>
                  <a:gd name="connsiteX2" fmla="*/ 151868 w 168542"/>
                  <a:gd name="connsiteY2" fmla="*/ 29124 h 92533"/>
                  <a:gd name="connsiteX3" fmla="*/ 159138 w 168542"/>
                  <a:gd name="connsiteY3" fmla="*/ 88941 h 92533"/>
                </a:gdLst>
                <a:ahLst/>
                <a:cxnLst>
                  <a:cxn ang="0">
                    <a:pos x="connsiteX0" y="connsiteY0"/>
                  </a:cxn>
                  <a:cxn ang="0">
                    <a:pos x="connsiteX1" y="connsiteY1"/>
                  </a:cxn>
                  <a:cxn ang="0">
                    <a:pos x="connsiteX2" y="connsiteY2"/>
                  </a:cxn>
                  <a:cxn ang="0">
                    <a:pos x="connsiteX3" y="connsiteY3"/>
                  </a:cxn>
                </a:cxnLst>
                <a:rect l="l" t="t" r="r" b="b"/>
                <a:pathLst>
                  <a:path w="168542" h="92533">
                    <a:moveTo>
                      <a:pt x="9432" y="88941"/>
                    </a:moveTo>
                    <a:cubicBezTo>
                      <a:pt x="3484" y="76713"/>
                      <a:pt x="1170" y="58537"/>
                      <a:pt x="17364" y="35073"/>
                    </a:cubicBezTo>
                    <a:cubicBezTo>
                      <a:pt x="46776" y="-6567"/>
                      <a:pt x="119811" y="-1610"/>
                      <a:pt x="151868" y="29124"/>
                    </a:cubicBezTo>
                    <a:cubicBezTo>
                      <a:pt x="167069" y="43665"/>
                      <a:pt x="172357" y="67790"/>
                      <a:pt x="159138" y="88941"/>
                    </a:cubicBezTo>
                  </a:path>
                </a:pathLst>
              </a:custGeom>
              <a:noFill/>
              <a:ln w="19050" cap="flat">
                <a:solidFill>
                  <a:schemeClr val="tx1"/>
                </a:solidFill>
                <a:prstDash val="solid"/>
                <a:miter/>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74" name="Freeform: Shape 273">
                <a:extLst>
                  <a:ext uri="{FF2B5EF4-FFF2-40B4-BE49-F238E27FC236}">
                    <a16:creationId xmlns:a16="http://schemas.microsoft.com/office/drawing/2014/main" id="{EDD88145-3EFB-47CD-8D83-082184EABF57}"/>
                  </a:ext>
                </a:extLst>
              </p:cNvPr>
              <p:cNvSpPr/>
              <p:nvPr/>
            </p:nvSpPr>
            <p:spPr>
              <a:xfrm>
                <a:off x="7914174" y="3513788"/>
                <a:ext cx="105752" cy="115667"/>
              </a:xfrm>
              <a:custGeom>
                <a:avLst/>
                <a:gdLst>
                  <a:gd name="connsiteX0" fmla="*/ 4957 w 105752"/>
                  <a:gd name="connsiteY0" fmla="*/ 9253 h 115666"/>
                  <a:gd name="connsiteX1" fmla="*/ 5288 w 105752"/>
                  <a:gd name="connsiteY1" fmla="*/ 37013 h 115666"/>
                  <a:gd name="connsiteX2" fmla="*/ 39657 w 105752"/>
                  <a:gd name="connsiteY2" fmla="*/ 101456 h 115666"/>
                  <a:gd name="connsiteX3" fmla="*/ 69069 w 105752"/>
                  <a:gd name="connsiteY3" fmla="*/ 101456 h 115666"/>
                  <a:gd name="connsiteX4" fmla="*/ 103439 w 105752"/>
                  <a:gd name="connsiteY4" fmla="*/ 37013 h 115666"/>
                  <a:gd name="connsiteX5" fmla="*/ 102778 w 105752"/>
                  <a:gd name="connsiteY5" fmla="*/ 4957 h 11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752" h="115666">
                    <a:moveTo>
                      <a:pt x="4957" y="9253"/>
                    </a:moveTo>
                    <a:lnTo>
                      <a:pt x="5288" y="37013"/>
                    </a:lnTo>
                    <a:lnTo>
                      <a:pt x="39657" y="101456"/>
                    </a:lnTo>
                    <a:cubicBezTo>
                      <a:pt x="46267" y="114014"/>
                      <a:pt x="62460" y="114014"/>
                      <a:pt x="69069" y="101456"/>
                    </a:cubicBezTo>
                    <a:lnTo>
                      <a:pt x="103439" y="37013"/>
                    </a:lnTo>
                    <a:lnTo>
                      <a:pt x="102778" y="4957"/>
                    </a:lnTo>
                  </a:path>
                </a:pathLst>
              </a:custGeom>
              <a:noFill/>
              <a:ln w="19050" cap="flat">
                <a:solidFill>
                  <a:schemeClr val="tx1"/>
                </a:solidFill>
                <a:prstDash val="solid"/>
                <a:miter/>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75" name="Freeform: Shape 274">
                <a:extLst>
                  <a:ext uri="{FF2B5EF4-FFF2-40B4-BE49-F238E27FC236}">
                    <a16:creationId xmlns:a16="http://schemas.microsoft.com/office/drawing/2014/main" id="{54F8ACB7-40DC-4FD5-A91E-153CF3052332}"/>
                  </a:ext>
                </a:extLst>
              </p:cNvPr>
              <p:cNvSpPr/>
              <p:nvPr/>
            </p:nvSpPr>
            <p:spPr>
              <a:xfrm>
                <a:off x="7783610" y="3541548"/>
                <a:ext cx="373438" cy="181762"/>
              </a:xfrm>
              <a:custGeom>
                <a:avLst/>
                <a:gdLst>
                  <a:gd name="connsiteX0" fmla="*/ 135852 w 373437"/>
                  <a:gd name="connsiteY0" fmla="*/ 4957 h 181761"/>
                  <a:gd name="connsiteX1" fmla="*/ 22829 w 373437"/>
                  <a:gd name="connsiteY1" fmla="*/ 59816 h 181761"/>
                  <a:gd name="connsiteX2" fmla="*/ 4983 w 373437"/>
                  <a:gd name="connsiteY2" fmla="*/ 177466 h 181761"/>
                  <a:gd name="connsiteX3" fmla="*/ 368507 w 373437"/>
                  <a:gd name="connsiteY3" fmla="*/ 177466 h 181761"/>
                  <a:gd name="connsiteX4" fmla="*/ 350661 w 373437"/>
                  <a:gd name="connsiteY4" fmla="*/ 59816 h 181761"/>
                  <a:gd name="connsiteX5" fmla="*/ 235325 w 373437"/>
                  <a:gd name="connsiteY5" fmla="*/ 4957 h 181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437" h="181761">
                    <a:moveTo>
                      <a:pt x="135852" y="4957"/>
                    </a:moveTo>
                    <a:cubicBezTo>
                      <a:pt x="110405" y="8262"/>
                      <a:pt x="43649" y="23794"/>
                      <a:pt x="22829" y="59816"/>
                    </a:cubicBezTo>
                    <a:cubicBezTo>
                      <a:pt x="7297" y="87246"/>
                      <a:pt x="4653" y="101787"/>
                      <a:pt x="4983" y="177466"/>
                    </a:cubicBezTo>
                    <a:lnTo>
                      <a:pt x="368507" y="177466"/>
                    </a:lnTo>
                    <a:cubicBezTo>
                      <a:pt x="368837" y="101787"/>
                      <a:pt x="369829" y="93525"/>
                      <a:pt x="350661" y="59816"/>
                    </a:cubicBezTo>
                    <a:cubicBezTo>
                      <a:pt x="330172" y="23464"/>
                      <a:pt x="260772" y="8262"/>
                      <a:pt x="235325" y="4957"/>
                    </a:cubicBezTo>
                  </a:path>
                </a:pathLst>
              </a:custGeom>
              <a:noFill/>
              <a:ln w="19050" cap="flat">
                <a:solidFill>
                  <a:schemeClr val="tx1"/>
                </a:solidFill>
                <a:prstDash val="solid"/>
                <a:miter/>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76" name="Freeform: Shape 275">
                <a:extLst>
                  <a:ext uri="{FF2B5EF4-FFF2-40B4-BE49-F238E27FC236}">
                    <a16:creationId xmlns:a16="http://schemas.microsoft.com/office/drawing/2014/main" id="{B58ADB0E-51B4-42B2-B0C9-497872D26F0D}"/>
                  </a:ext>
                </a:extLst>
              </p:cNvPr>
              <p:cNvSpPr/>
              <p:nvPr/>
            </p:nvSpPr>
            <p:spPr>
              <a:xfrm>
                <a:off x="7859315" y="3638708"/>
                <a:ext cx="9914" cy="56181"/>
              </a:xfrm>
              <a:custGeom>
                <a:avLst/>
                <a:gdLst>
                  <a:gd name="connsiteX0" fmla="*/ 4957 w 9914"/>
                  <a:gd name="connsiteY0" fmla="*/ 4957 h 56180"/>
                  <a:gd name="connsiteX1" fmla="*/ 4957 w 9914"/>
                  <a:gd name="connsiteY1" fmla="*/ 52546 h 56180"/>
                </a:gdLst>
                <a:ahLst/>
                <a:cxnLst>
                  <a:cxn ang="0">
                    <a:pos x="connsiteX0" y="connsiteY0"/>
                  </a:cxn>
                  <a:cxn ang="0">
                    <a:pos x="connsiteX1" y="connsiteY1"/>
                  </a:cxn>
                </a:cxnLst>
                <a:rect l="l" t="t" r="r" b="b"/>
                <a:pathLst>
                  <a:path w="9914" h="56180">
                    <a:moveTo>
                      <a:pt x="4957" y="4957"/>
                    </a:moveTo>
                    <a:lnTo>
                      <a:pt x="4957" y="52546"/>
                    </a:lnTo>
                  </a:path>
                </a:pathLst>
              </a:custGeom>
              <a:ln w="19050" cap="flat">
                <a:solidFill>
                  <a:schemeClr val="tx1"/>
                </a:solidFill>
                <a:prstDash val="solid"/>
                <a:miter/>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77" name="Freeform: Shape 276">
                <a:extLst>
                  <a:ext uri="{FF2B5EF4-FFF2-40B4-BE49-F238E27FC236}">
                    <a16:creationId xmlns:a16="http://schemas.microsoft.com/office/drawing/2014/main" id="{1037C1BB-4685-4F20-A1BF-4BDACB7E7C01}"/>
                  </a:ext>
                </a:extLst>
              </p:cNvPr>
              <p:cNvSpPr/>
              <p:nvPr/>
            </p:nvSpPr>
            <p:spPr>
              <a:xfrm>
                <a:off x="8066523" y="3638708"/>
                <a:ext cx="9914" cy="56181"/>
              </a:xfrm>
              <a:custGeom>
                <a:avLst/>
                <a:gdLst>
                  <a:gd name="connsiteX0" fmla="*/ 4957 w 9914"/>
                  <a:gd name="connsiteY0" fmla="*/ 4957 h 56180"/>
                  <a:gd name="connsiteX1" fmla="*/ 4957 w 9914"/>
                  <a:gd name="connsiteY1" fmla="*/ 52546 h 56180"/>
                </a:gdLst>
                <a:ahLst/>
                <a:cxnLst>
                  <a:cxn ang="0">
                    <a:pos x="connsiteX0" y="connsiteY0"/>
                  </a:cxn>
                  <a:cxn ang="0">
                    <a:pos x="connsiteX1" y="connsiteY1"/>
                  </a:cxn>
                </a:cxnLst>
                <a:rect l="l" t="t" r="r" b="b"/>
                <a:pathLst>
                  <a:path w="9914" h="56180">
                    <a:moveTo>
                      <a:pt x="4957" y="4957"/>
                    </a:moveTo>
                    <a:lnTo>
                      <a:pt x="4957" y="52546"/>
                    </a:lnTo>
                  </a:path>
                </a:pathLst>
              </a:custGeom>
              <a:ln w="19050" cap="flat">
                <a:solidFill>
                  <a:schemeClr val="tx1"/>
                </a:solidFill>
                <a:prstDash val="solid"/>
                <a:miter/>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78" name="Freeform: Shape 277">
                <a:extLst>
                  <a:ext uri="{FF2B5EF4-FFF2-40B4-BE49-F238E27FC236}">
                    <a16:creationId xmlns:a16="http://schemas.microsoft.com/office/drawing/2014/main" id="{1E2186D1-D0A1-428F-A3DF-B58544721E4D}"/>
                  </a:ext>
                </a:extLst>
              </p:cNvPr>
              <p:cNvSpPr/>
              <p:nvPr/>
            </p:nvSpPr>
            <p:spPr>
              <a:xfrm>
                <a:off x="7995140" y="3563360"/>
                <a:ext cx="72705" cy="59486"/>
              </a:xfrm>
              <a:custGeom>
                <a:avLst/>
                <a:gdLst>
                  <a:gd name="connsiteX0" fmla="*/ 56842 w 72704"/>
                  <a:gd name="connsiteY0" fmla="*/ 4957 h 59485"/>
                  <a:gd name="connsiteX1" fmla="*/ 67748 w 72704"/>
                  <a:gd name="connsiteY1" fmla="*/ 17515 h 59485"/>
                  <a:gd name="connsiteX2" fmla="*/ 57833 w 72704"/>
                  <a:gd name="connsiteY2" fmla="*/ 43953 h 59485"/>
                  <a:gd name="connsiteX3" fmla="*/ 4957 w 72704"/>
                  <a:gd name="connsiteY3" fmla="*/ 54529 h 59485"/>
                </a:gdLst>
                <a:ahLst/>
                <a:cxnLst>
                  <a:cxn ang="0">
                    <a:pos x="connsiteX0" y="connsiteY0"/>
                  </a:cxn>
                  <a:cxn ang="0">
                    <a:pos x="connsiteX1" y="connsiteY1"/>
                  </a:cxn>
                  <a:cxn ang="0">
                    <a:pos x="connsiteX2" y="connsiteY2"/>
                  </a:cxn>
                  <a:cxn ang="0">
                    <a:pos x="connsiteX3" y="connsiteY3"/>
                  </a:cxn>
                </a:cxnLst>
                <a:rect l="l" t="t" r="r" b="b"/>
                <a:pathLst>
                  <a:path w="72704" h="59485">
                    <a:moveTo>
                      <a:pt x="56842" y="4957"/>
                    </a:moveTo>
                    <a:cubicBezTo>
                      <a:pt x="60808" y="8592"/>
                      <a:pt x="64773" y="12889"/>
                      <a:pt x="67748" y="17515"/>
                    </a:cubicBezTo>
                    <a:cubicBezTo>
                      <a:pt x="74688" y="27429"/>
                      <a:pt x="69400" y="40979"/>
                      <a:pt x="57833" y="43953"/>
                    </a:cubicBezTo>
                    <a:lnTo>
                      <a:pt x="4957" y="54529"/>
                    </a:lnTo>
                  </a:path>
                </a:pathLst>
              </a:custGeom>
              <a:noFill/>
              <a:ln w="19050" cap="flat">
                <a:solidFill>
                  <a:schemeClr val="tx1"/>
                </a:solidFill>
                <a:prstDash val="solid"/>
                <a:miter/>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79" name="Freeform: Shape 278">
                <a:extLst>
                  <a:ext uri="{FF2B5EF4-FFF2-40B4-BE49-F238E27FC236}">
                    <a16:creationId xmlns:a16="http://schemas.microsoft.com/office/drawing/2014/main" id="{B91E549C-F082-413F-A00C-9419B8522144}"/>
                  </a:ext>
                </a:extLst>
              </p:cNvPr>
              <p:cNvSpPr/>
              <p:nvPr/>
            </p:nvSpPr>
            <p:spPr>
              <a:xfrm>
                <a:off x="7869427" y="3563360"/>
                <a:ext cx="72705" cy="59486"/>
              </a:xfrm>
              <a:custGeom>
                <a:avLst/>
                <a:gdLst>
                  <a:gd name="connsiteX0" fmla="*/ 18969 w 72704"/>
                  <a:gd name="connsiteY0" fmla="*/ 4957 h 59485"/>
                  <a:gd name="connsiteX1" fmla="*/ 8064 w 72704"/>
                  <a:gd name="connsiteY1" fmla="*/ 17515 h 59485"/>
                  <a:gd name="connsiteX2" fmla="*/ 17978 w 72704"/>
                  <a:gd name="connsiteY2" fmla="*/ 43953 h 59485"/>
                  <a:gd name="connsiteX3" fmla="*/ 70854 w 72704"/>
                  <a:gd name="connsiteY3" fmla="*/ 54529 h 59485"/>
                </a:gdLst>
                <a:ahLst/>
                <a:cxnLst>
                  <a:cxn ang="0">
                    <a:pos x="connsiteX0" y="connsiteY0"/>
                  </a:cxn>
                  <a:cxn ang="0">
                    <a:pos x="connsiteX1" y="connsiteY1"/>
                  </a:cxn>
                  <a:cxn ang="0">
                    <a:pos x="connsiteX2" y="connsiteY2"/>
                  </a:cxn>
                  <a:cxn ang="0">
                    <a:pos x="connsiteX3" y="connsiteY3"/>
                  </a:cxn>
                </a:cxnLst>
                <a:rect l="l" t="t" r="r" b="b"/>
                <a:pathLst>
                  <a:path w="72704" h="59485">
                    <a:moveTo>
                      <a:pt x="18969" y="4957"/>
                    </a:moveTo>
                    <a:cubicBezTo>
                      <a:pt x="15004" y="8592"/>
                      <a:pt x="11038" y="12889"/>
                      <a:pt x="8064" y="17515"/>
                    </a:cubicBezTo>
                    <a:cubicBezTo>
                      <a:pt x="1124" y="27429"/>
                      <a:pt x="6411" y="40979"/>
                      <a:pt x="17978" y="43953"/>
                    </a:cubicBezTo>
                    <a:lnTo>
                      <a:pt x="70854" y="54529"/>
                    </a:lnTo>
                  </a:path>
                </a:pathLst>
              </a:custGeom>
              <a:noFill/>
              <a:ln w="19050" cap="flat">
                <a:solidFill>
                  <a:schemeClr val="tx1"/>
                </a:solidFill>
                <a:prstDash val="solid"/>
                <a:miter/>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80" name="Freeform: Shape 279">
                <a:extLst>
                  <a:ext uri="{FF2B5EF4-FFF2-40B4-BE49-F238E27FC236}">
                    <a16:creationId xmlns:a16="http://schemas.microsoft.com/office/drawing/2014/main" id="{5F3A1686-8298-4D5C-A733-0346C56E9113}"/>
                  </a:ext>
                </a:extLst>
              </p:cNvPr>
              <p:cNvSpPr/>
              <p:nvPr/>
            </p:nvSpPr>
            <p:spPr>
              <a:xfrm>
                <a:off x="7950856" y="3656554"/>
                <a:ext cx="39657" cy="39657"/>
              </a:xfrm>
              <a:custGeom>
                <a:avLst/>
                <a:gdLst>
                  <a:gd name="connsiteX0" fmla="*/ 34700 w 39657"/>
                  <a:gd name="connsiteY0" fmla="*/ 19829 h 39657"/>
                  <a:gd name="connsiteX1" fmla="*/ 19829 w 39657"/>
                  <a:gd name="connsiteY1" fmla="*/ 34700 h 39657"/>
                  <a:gd name="connsiteX2" fmla="*/ 4957 w 39657"/>
                  <a:gd name="connsiteY2" fmla="*/ 19829 h 39657"/>
                  <a:gd name="connsiteX3" fmla="*/ 19829 w 39657"/>
                  <a:gd name="connsiteY3" fmla="*/ 4957 h 39657"/>
                  <a:gd name="connsiteX4" fmla="*/ 34700 w 39657"/>
                  <a:gd name="connsiteY4" fmla="*/ 19829 h 39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57" h="39657">
                    <a:moveTo>
                      <a:pt x="34700" y="19829"/>
                    </a:moveTo>
                    <a:cubicBezTo>
                      <a:pt x="34700" y="28042"/>
                      <a:pt x="28042" y="34700"/>
                      <a:pt x="19829" y="34700"/>
                    </a:cubicBezTo>
                    <a:cubicBezTo>
                      <a:pt x="11615" y="34700"/>
                      <a:pt x="4957" y="28042"/>
                      <a:pt x="4957" y="19829"/>
                    </a:cubicBezTo>
                    <a:cubicBezTo>
                      <a:pt x="4957" y="11615"/>
                      <a:pt x="11615" y="4957"/>
                      <a:pt x="19829" y="4957"/>
                    </a:cubicBezTo>
                    <a:cubicBezTo>
                      <a:pt x="28042" y="4957"/>
                      <a:pt x="34700" y="11615"/>
                      <a:pt x="34700" y="19829"/>
                    </a:cubicBezTo>
                    <a:close/>
                  </a:path>
                </a:pathLst>
              </a:custGeom>
              <a:noFill/>
              <a:ln w="19050" cap="flat">
                <a:solidFill>
                  <a:schemeClr val="tx1"/>
                </a:solidFill>
                <a:prstDash val="solid"/>
                <a:miter/>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81" name="Freeform: Shape 280">
                <a:extLst>
                  <a:ext uri="{FF2B5EF4-FFF2-40B4-BE49-F238E27FC236}">
                    <a16:creationId xmlns:a16="http://schemas.microsoft.com/office/drawing/2014/main" id="{7C546D20-15DC-4E94-9C6C-05D45BB7DCCB}"/>
                  </a:ext>
                </a:extLst>
              </p:cNvPr>
              <p:cNvSpPr/>
              <p:nvPr/>
            </p:nvSpPr>
            <p:spPr>
              <a:xfrm>
                <a:off x="7919792" y="3401096"/>
                <a:ext cx="33048" cy="33048"/>
              </a:xfrm>
              <a:custGeom>
                <a:avLst/>
                <a:gdLst>
                  <a:gd name="connsiteX0" fmla="*/ 30073 w 33047"/>
                  <a:gd name="connsiteY0" fmla="*/ 17515 h 33047"/>
                  <a:gd name="connsiteX1" fmla="*/ 17515 w 33047"/>
                  <a:gd name="connsiteY1" fmla="*/ 30073 h 33047"/>
                  <a:gd name="connsiteX2" fmla="*/ 4957 w 33047"/>
                  <a:gd name="connsiteY2" fmla="*/ 17515 h 33047"/>
                  <a:gd name="connsiteX3" fmla="*/ 17515 w 33047"/>
                  <a:gd name="connsiteY3" fmla="*/ 4957 h 33047"/>
                  <a:gd name="connsiteX4" fmla="*/ 30073 w 33047"/>
                  <a:gd name="connsiteY4" fmla="*/ 17515 h 33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47" h="33047">
                    <a:moveTo>
                      <a:pt x="30073" y="17515"/>
                    </a:moveTo>
                    <a:cubicBezTo>
                      <a:pt x="30073" y="24451"/>
                      <a:pt x="24451" y="30073"/>
                      <a:pt x="17515" y="30073"/>
                    </a:cubicBezTo>
                    <a:cubicBezTo>
                      <a:pt x="10580" y="30073"/>
                      <a:pt x="4957" y="24451"/>
                      <a:pt x="4957" y="17515"/>
                    </a:cubicBezTo>
                    <a:cubicBezTo>
                      <a:pt x="4957" y="10580"/>
                      <a:pt x="10580" y="4957"/>
                      <a:pt x="17515" y="4957"/>
                    </a:cubicBezTo>
                    <a:cubicBezTo>
                      <a:pt x="24451" y="4957"/>
                      <a:pt x="30073" y="10580"/>
                      <a:pt x="30073" y="17515"/>
                    </a:cubicBez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82" name="Freeform: Shape 281">
                <a:extLst>
                  <a:ext uri="{FF2B5EF4-FFF2-40B4-BE49-F238E27FC236}">
                    <a16:creationId xmlns:a16="http://schemas.microsoft.com/office/drawing/2014/main" id="{30E0730D-4C8F-41ED-BB0D-512886F0515C}"/>
                  </a:ext>
                </a:extLst>
              </p:cNvPr>
              <p:cNvSpPr/>
              <p:nvPr/>
            </p:nvSpPr>
            <p:spPr>
              <a:xfrm>
                <a:off x="7979277" y="3401096"/>
                <a:ext cx="33048" cy="33048"/>
              </a:xfrm>
              <a:custGeom>
                <a:avLst/>
                <a:gdLst>
                  <a:gd name="connsiteX0" fmla="*/ 30073 w 33047"/>
                  <a:gd name="connsiteY0" fmla="*/ 17515 h 33047"/>
                  <a:gd name="connsiteX1" fmla="*/ 17515 w 33047"/>
                  <a:gd name="connsiteY1" fmla="*/ 30073 h 33047"/>
                  <a:gd name="connsiteX2" fmla="*/ 4957 w 33047"/>
                  <a:gd name="connsiteY2" fmla="*/ 17515 h 33047"/>
                  <a:gd name="connsiteX3" fmla="*/ 17515 w 33047"/>
                  <a:gd name="connsiteY3" fmla="*/ 4957 h 33047"/>
                  <a:gd name="connsiteX4" fmla="*/ 30073 w 33047"/>
                  <a:gd name="connsiteY4" fmla="*/ 17515 h 33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47" h="33047">
                    <a:moveTo>
                      <a:pt x="30073" y="17515"/>
                    </a:moveTo>
                    <a:cubicBezTo>
                      <a:pt x="30073" y="24451"/>
                      <a:pt x="24451" y="30073"/>
                      <a:pt x="17515" y="30073"/>
                    </a:cubicBezTo>
                    <a:cubicBezTo>
                      <a:pt x="10580" y="30073"/>
                      <a:pt x="4957" y="24451"/>
                      <a:pt x="4957" y="17515"/>
                    </a:cubicBezTo>
                    <a:cubicBezTo>
                      <a:pt x="4957" y="10580"/>
                      <a:pt x="10580" y="4957"/>
                      <a:pt x="17515" y="4957"/>
                    </a:cubicBezTo>
                    <a:cubicBezTo>
                      <a:pt x="24451" y="4957"/>
                      <a:pt x="30073" y="10580"/>
                      <a:pt x="30073" y="17515"/>
                    </a:cubicBez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83" name="Freeform: Shape 282">
                <a:extLst>
                  <a:ext uri="{FF2B5EF4-FFF2-40B4-BE49-F238E27FC236}">
                    <a16:creationId xmlns:a16="http://schemas.microsoft.com/office/drawing/2014/main" id="{90281929-44CB-4445-A4AD-5C7758D873CF}"/>
                  </a:ext>
                </a:extLst>
              </p:cNvPr>
              <p:cNvSpPr/>
              <p:nvPr/>
            </p:nvSpPr>
            <p:spPr>
              <a:xfrm>
                <a:off x="7891371" y="3349211"/>
                <a:ext cx="39657" cy="33048"/>
              </a:xfrm>
              <a:custGeom>
                <a:avLst/>
                <a:gdLst>
                  <a:gd name="connsiteX0" fmla="*/ 4957 w 39657"/>
                  <a:gd name="connsiteY0" fmla="*/ 4957 h 33047"/>
                  <a:gd name="connsiteX1" fmla="*/ 37674 w 39657"/>
                  <a:gd name="connsiteY1" fmla="*/ 28751 h 33047"/>
                </a:gdLst>
                <a:ahLst/>
                <a:cxnLst>
                  <a:cxn ang="0">
                    <a:pos x="connsiteX0" y="connsiteY0"/>
                  </a:cxn>
                  <a:cxn ang="0">
                    <a:pos x="connsiteX1" y="connsiteY1"/>
                  </a:cxn>
                </a:cxnLst>
                <a:rect l="l" t="t" r="r" b="b"/>
                <a:pathLst>
                  <a:path w="39657" h="33047">
                    <a:moveTo>
                      <a:pt x="4957" y="4957"/>
                    </a:moveTo>
                    <a:cubicBezTo>
                      <a:pt x="4957" y="4957"/>
                      <a:pt x="13550" y="23794"/>
                      <a:pt x="37674" y="28751"/>
                    </a:cubicBezTo>
                  </a:path>
                </a:pathLst>
              </a:custGeom>
              <a:noFill/>
              <a:ln w="19050" cap="flat">
                <a:solidFill>
                  <a:schemeClr val="tx1"/>
                </a:solidFill>
                <a:prstDash val="solid"/>
                <a:miter/>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grpSp>
      </p:grpSp>
      <p:grpSp>
        <p:nvGrpSpPr>
          <p:cNvPr id="4" name="Group 3">
            <a:extLst>
              <a:ext uri="{FF2B5EF4-FFF2-40B4-BE49-F238E27FC236}">
                <a16:creationId xmlns:a16="http://schemas.microsoft.com/office/drawing/2014/main" id="{885D6139-E3A6-4ED4-9F56-ED6A7B5C0790}"/>
              </a:ext>
            </a:extLst>
          </p:cNvPr>
          <p:cNvGrpSpPr/>
          <p:nvPr/>
        </p:nvGrpSpPr>
        <p:grpSpPr>
          <a:xfrm>
            <a:off x="489952" y="5745588"/>
            <a:ext cx="13578411" cy="1605070"/>
            <a:chOff x="429035" y="5388547"/>
            <a:chExt cx="13578411" cy="1605070"/>
          </a:xfrm>
        </p:grpSpPr>
        <p:pic>
          <p:nvPicPr>
            <p:cNvPr id="37" name="Picture 3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4526" y="5460303"/>
              <a:ext cx="768355" cy="472114"/>
            </a:xfrm>
            <a:prstGeom prst="rect">
              <a:avLst/>
            </a:prstGeom>
          </p:spPr>
        </p:pic>
        <p:pic>
          <p:nvPicPr>
            <p:cNvPr id="67" name="Picture 66">
              <a:extLst>
                <a:ext uri="{FF2B5EF4-FFF2-40B4-BE49-F238E27FC236}">
                  <a16:creationId xmlns:a16="http://schemas.microsoft.com/office/drawing/2014/main" id="{F6966F8D-F166-FF48-9EA1-115BC0080CD0}"/>
                </a:ext>
              </a:extLst>
            </p:cNvPr>
            <p:cNvPicPr>
              <a:picLocks noChangeAspect="1"/>
            </p:cNvPicPr>
            <p:nvPr/>
          </p:nvPicPr>
          <p:blipFill>
            <a:blip r:embed="rId4"/>
            <a:stretch>
              <a:fillRect/>
            </a:stretch>
          </p:blipFill>
          <p:spPr>
            <a:xfrm>
              <a:off x="2116030" y="6533937"/>
              <a:ext cx="2283538" cy="279281"/>
            </a:xfrm>
            <a:prstGeom prst="rect">
              <a:avLst/>
            </a:prstGeom>
          </p:spPr>
        </p:pic>
        <p:pic>
          <p:nvPicPr>
            <p:cNvPr id="73" name="atadata_white.png" descr="atadata_white.png"/>
            <p:cNvPicPr>
              <a:picLocks noChangeAspect="1"/>
            </p:cNvPicPr>
            <p:nvPr/>
          </p:nvPicPr>
          <p:blipFill rotWithShape="1">
            <a:blip r:embed="rId5"/>
            <a:srcRect t="25493" b="28846"/>
            <a:stretch/>
          </p:blipFill>
          <p:spPr>
            <a:xfrm>
              <a:off x="12605651" y="6353537"/>
              <a:ext cx="1401795" cy="640080"/>
            </a:xfrm>
            <a:prstGeom prst="rect">
              <a:avLst/>
            </a:prstGeom>
            <a:ln w="12700">
              <a:miter lim="400000"/>
            </a:ln>
          </p:spPr>
        </p:pic>
        <p:sp>
          <p:nvSpPr>
            <p:cNvPr id="66" name="TextBox 65"/>
            <p:cNvSpPr txBox="1"/>
            <p:nvPr/>
          </p:nvSpPr>
          <p:spPr>
            <a:xfrm>
              <a:off x="429035" y="5891679"/>
              <a:ext cx="1479572" cy="553998"/>
            </a:xfrm>
            <a:prstGeom prst="rect">
              <a:avLst/>
            </a:prstGeom>
            <a:noFill/>
          </p:spPr>
          <p:txBody>
            <a:bodyPr wrap="none" lIns="0" tIns="0" rIns="0" bIns="0" rtlCol="0">
              <a:spAutoFit/>
            </a:bodyPr>
            <a:lstStyle>
              <a:defPPr>
                <a:defRPr lang="en-US"/>
              </a:defPPr>
              <a:lvl1pPr algn="ctr">
                <a:lnSpc>
                  <a:spcPct val="90000"/>
                </a:lnSpc>
                <a:spcAft>
                  <a:spcPts val="1800"/>
                </a:spcAft>
                <a:defRPr sz="2000" b="1"/>
              </a:lvl1pPr>
            </a:lstStyle>
            <a:p>
              <a:pPr marL="0" marR="0" lvl="0" indent="0" algn="l" defTabSz="731520" rtl="0" eaLnBrk="1" fontAlgn="auto" latinLnBrk="0" hangingPunct="1">
                <a:lnSpc>
                  <a:spcPct val="90000"/>
                </a:lnSpc>
                <a:spcBef>
                  <a:spcPts val="0"/>
                </a:spcBef>
                <a:spcAft>
                  <a:spcPts val="1800"/>
                </a:spcAft>
                <a:buClrTx/>
                <a:buSzTx/>
                <a:buFontTx/>
                <a:buNone/>
                <a:tabLst/>
                <a:defRPr/>
              </a:pPr>
              <a:r>
                <a:rPr kumimoji="0" lang="en-US" sz="2000" b="1" i="0" u="none" strike="noStrike" kern="1200" cap="none" spc="0" normalizeH="0" baseline="0" noProof="0" dirty="0">
                  <a:ln>
                    <a:noFill/>
                  </a:ln>
                  <a:effectLst/>
                  <a:uLnTx/>
                  <a:uFillTx/>
                  <a:latin typeface="Amazon Ember"/>
                  <a:ea typeface="+mn-ea"/>
                  <a:cs typeface="+mn-cs"/>
                </a:rPr>
                <a:t>Automation</a:t>
              </a:r>
              <a:br>
                <a:rPr kumimoji="0" lang="en-US" sz="2000" b="1" i="0" u="none" strike="noStrike" kern="1200" cap="none" spc="0" normalizeH="0" baseline="0" noProof="0" dirty="0">
                  <a:ln>
                    <a:noFill/>
                  </a:ln>
                  <a:effectLst/>
                  <a:uLnTx/>
                  <a:uFillTx/>
                  <a:latin typeface="Amazon Ember"/>
                  <a:ea typeface="+mn-ea"/>
                  <a:cs typeface="+mn-cs"/>
                </a:rPr>
              </a:br>
              <a:r>
                <a:rPr kumimoji="0" lang="en-US" sz="2000" b="1" i="0" u="none" strike="noStrike" kern="1200" cap="none" spc="0" normalizeH="0" baseline="0" noProof="0" dirty="0">
                  <a:ln>
                    <a:noFill/>
                  </a:ln>
                  <a:effectLst/>
                  <a:uLnTx/>
                  <a:uFillTx/>
                  <a:latin typeface="Amazon Ember"/>
                  <a:ea typeface="+mn-ea"/>
                  <a:cs typeface="+mn-cs"/>
                </a:rPr>
                <a:t>and guidance </a:t>
              </a:r>
            </a:p>
          </p:txBody>
        </p:sp>
        <p:cxnSp>
          <p:nvCxnSpPr>
            <p:cNvPr id="34" name="Straight Connector 33"/>
            <p:cNvCxnSpPr>
              <a:cxnSpLocks/>
            </p:cNvCxnSpPr>
            <p:nvPr/>
          </p:nvCxnSpPr>
          <p:spPr>
            <a:xfrm>
              <a:off x="2258922" y="6168678"/>
              <a:ext cx="11729083"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09" name="Group 208">
              <a:extLst>
                <a:ext uri="{FF2B5EF4-FFF2-40B4-BE49-F238E27FC236}">
                  <a16:creationId xmlns:a16="http://schemas.microsoft.com/office/drawing/2014/main" id="{3133D86E-8C8D-4CB5-A3F2-8F63043D82E2}"/>
                </a:ext>
              </a:extLst>
            </p:cNvPr>
            <p:cNvGrpSpPr>
              <a:grpSpLocks noChangeAspect="1"/>
            </p:cNvGrpSpPr>
            <p:nvPr/>
          </p:nvGrpSpPr>
          <p:grpSpPr>
            <a:xfrm>
              <a:off x="3645758" y="5417517"/>
              <a:ext cx="1656291" cy="365760"/>
              <a:chOff x="-1797706" y="2571916"/>
              <a:chExt cx="2875504" cy="635000"/>
            </a:xfrm>
          </p:grpSpPr>
          <p:pic>
            <p:nvPicPr>
              <p:cNvPr id="210" name="Picture 209">
                <a:extLst>
                  <a:ext uri="{FF2B5EF4-FFF2-40B4-BE49-F238E27FC236}">
                    <a16:creationId xmlns:a16="http://schemas.microsoft.com/office/drawing/2014/main" id="{4AC1C88A-A647-475E-B115-D678FD0AA560}"/>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797706" y="2591731"/>
                <a:ext cx="1271816" cy="489858"/>
              </a:xfrm>
              <a:prstGeom prst="rect">
                <a:avLst/>
              </a:prstGeom>
            </p:spPr>
          </p:pic>
          <p:pic>
            <p:nvPicPr>
              <p:cNvPr id="211" name="Picture 210">
                <a:extLst>
                  <a:ext uri="{FF2B5EF4-FFF2-40B4-BE49-F238E27FC236}">
                    <a16:creationId xmlns:a16="http://schemas.microsoft.com/office/drawing/2014/main" id="{7F306B0E-A4B6-4DBC-8A07-66A8439F63D8}"/>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490651" y="2571916"/>
                <a:ext cx="1568449" cy="635000"/>
              </a:xfrm>
              <a:prstGeom prst="rect">
                <a:avLst/>
              </a:prstGeom>
            </p:spPr>
          </p:pic>
        </p:grpSp>
        <p:grpSp>
          <p:nvGrpSpPr>
            <p:cNvPr id="223" name="Group 222">
              <a:extLst>
                <a:ext uri="{FF2B5EF4-FFF2-40B4-BE49-F238E27FC236}">
                  <a16:creationId xmlns:a16="http://schemas.microsoft.com/office/drawing/2014/main" id="{60D434AF-2C5E-4E5A-AE1B-117EC7547FC7}"/>
                </a:ext>
              </a:extLst>
            </p:cNvPr>
            <p:cNvGrpSpPr/>
            <p:nvPr/>
          </p:nvGrpSpPr>
          <p:grpSpPr>
            <a:xfrm>
              <a:off x="5809980" y="5429437"/>
              <a:ext cx="2205365" cy="474133"/>
              <a:chOff x="5787608" y="5323748"/>
              <a:chExt cx="2205365" cy="474133"/>
            </a:xfrm>
          </p:grpSpPr>
          <p:sp>
            <p:nvSpPr>
              <p:cNvPr id="220" name="Freeform: Shape 219">
                <a:extLst>
                  <a:ext uri="{FF2B5EF4-FFF2-40B4-BE49-F238E27FC236}">
                    <a16:creationId xmlns:a16="http://schemas.microsoft.com/office/drawing/2014/main" id="{A8C27FC3-586F-4B71-A4C9-8FD823FA171E}"/>
                  </a:ext>
                </a:extLst>
              </p:cNvPr>
              <p:cNvSpPr>
                <a:spLocks noChangeAspect="1"/>
              </p:cNvSpPr>
              <p:nvPr/>
            </p:nvSpPr>
            <p:spPr>
              <a:xfrm>
                <a:off x="5787608" y="5323748"/>
                <a:ext cx="474133" cy="474133"/>
              </a:xfrm>
              <a:custGeom>
                <a:avLst/>
                <a:gdLst>
                  <a:gd name="connsiteX0" fmla="*/ 237750 w 474133"/>
                  <a:gd name="connsiteY0" fmla="*/ 388430 h 474133"/>
                  <a:gd name="connsiteX1" fmla="*/ 237750 w 474133"/>
                  <a:gd name="connsiteY1" fmla="*/ 465334 h 474133"/>
                  <a:gd name="connsiteX2" fmla="*/ 228268 w 474133"/>
                  <a:gd name="connsiteY2" fmla="*/ 474817 h 474133"/>
                  <a:gd name="connsiteX3" fmla="*/ 57580 w 474133"/>
                  <a:gd name="connsiteY3" fmla="*/ 474817 h 474133"/>
                  <a:gd name="connsiteX4" fmla="*/ 48097 w 474133"/>
                  <a:gd name="connsiteY4" fmla="*/ 465334 h 474133"/>
                  <a:gd name="connsiteX5" fmla="*/ 48097 w 474133"/>
                  <a:gd name="connsiteY5" fmla="*/ 339594 h 474133"/>
                  <a:gd name="connsiteX6" fmla="*/ 67062 w 474133"/>
                  <a:gd name="connsiteY6" fmla="*/ 355146 h 474133"/>
                  <a:gd name="connsiteX7" fmla="*/ 67062 w 474133"/>
                  <a:gd name="connsiteY7" fmla="*/ 455852 h 474133"/>
                  <a:gd name="connsiteX8" fmla="*/ 218785 w 474133"/>
                  <a:gd name="connsiteY8" fmla="*/ 455852 h 474133"/>
                  <a:gd name="connsiteX9" fmla="*/ 218785 w 474133"/>
                  <a:gd name="connsiteY9" fmla="*/ 392223 h 474133"/>
                  <a:gd name="connsiteX10" fmla="*/ 237750 w 474133"/>
                  <a:gd name="connsiteY10" fmla="*/ 388430 h 474133"/>
                  <a:gd name="connsiteX11" fmla="*/ 94657 w 474133"/>
                  <a:gd name="connsiteY11" fmla="*/ 152406 h 474133"/>
                  <a:gd name="connsiteX12" fmla="*/ 89441 w 474133"/>
                  <a:gd name="connsiteY12" fmla="*/ 171372 h 474133"/>
                  <a:gd name="connsiteX13" fmla="*/ 218785 w 474133"/>
                  <a:gd name="connsiteY13" fmla="*/ 171372 h 474133"/>
                  <a:gd name="connsiteX14" fmla="*/ 218785 w 474133"/>
                  <a:gd name="connsiteY14" fmla="*/ 152406 h 474133"/>
                  <a:gd name="connsiteX15" fmla="*/ 88683 w 474133"/>
                  <a:gd name="connsiteY15" fmla="*/ 199820 h 474133"/>
                  <a:gd name="connsiteX16" fmla="*/ 92855 w 474133"/>
                  <a:gd name="connsiteY16" fmla="*/ 218785 h 474133"/>
                  <a:gd name="connsiteX17" fmla="*/ 218785 w 474133"/>
                  <a:gd name="connsiteY17" fmla="*/ 218785 h 474133"/>
                  <a:gd name="connsiteX18" fmla="*/ 218785 w 474133"/>
                  <a:gd name="connsiteY18" fmla="*/ 199820 h 474133"/>
                  <a:gd name="connsiteX19" fmla="*/ 107648 w 474133"/>
                  <a:gd name="connsiteY19" fmla="*/ 247233 h 474133"/>
                  <a:gd name="connsiteX20" fmla="*/ 125950 w 474133"/>
                  <a:gd name="connsiteY20" fmla="*/ 266198 h 474133"/>
                  <a:gd name="connsiteX21" fmla="*/ 218785 w 474133"/>
                  <a:gd name="connsiteY21" fmla="*/ 266198 h 474133"/>
                  <a:gd name="connsiteX22" fmla="*/ 218785 w 474133"/>
                  <a:gd name="connsiteY22" fmla="*/ 247233 h 474133"/>
                  <a:gd name="connsiteX23" fmla="*/ 247233 w 474133"/>
                  <a:gd name="connsiteY23" fmla="*/ 114476 h 474133"/>
                  <a:gd name="connsiteX24" fmla="*/ 120544 w 474133"/>
                  <a:gd name="connsiteY24" fmla="*/ 114476 h 474133"/>
                  <a:gd name="connsiteX25" fmla="*/ 104424 w 474133"/>
                  <a:gd name="connsiteY25" fmla="*/ 133441 h 474133"/>
                  <a:gd name="connsiteX26" fmla="*/ 237750 w 474133"/>
                  <a:gd name="connsiteY26" fmla="*/ 133441 h 474133"/>
                  <a:gd name="connsiteX27" fmla="*/ 237750 w 474133"/>
                  <a:gd name="connsiteY27" fmla="*/ 274922 h 474133"/>
                  <a:gd name="connsiteX28" fmla="*/ 256716 w 474133"/>
                  <a:gd name="connsiteY28" fmla="*/ 260793 h 474133"/>
                  <a:gd name="connsiteX29" fmla="*/ 256716 w 474133"/>
                  <a:gd name="connsiteY29" fmla="*/ 123958 h 474133"/>
                  <a:gd name="connsiteX30" fmla="*/ 247233 w 474133"/>
                  <a:gd name="connsiteY30" fmla="*/ 114476 h 474133"/>
                  <a:gd name="connsiteX31" fmla="*/ 460688 w 474133"/>
                  <a:gd name="connsiteY31" fmla="*/ 460688 h 474133"/>
                  <a:gd name="connsiteX32" fmla="*/ 393835 w 474133"/>
                  <a:gd name="connsiteY32" fmla="*/ 461162 h 474133"/>
                  <a:gd name="connsiteX33" fmla="*/ 393835 w 474133"/>
                  <a:gd name="connsiteY33" fmla="*/ 460688 h 474133"/>
                  <a:gd name="connsiteX34" fmla="*/ 282698 w 474133"/>
                  <a:gd name="connsiteY34" fmla="*/ 350309 h 474133"/>
                  <a:gd name="connsiteX35" fmla="*/ 25645 w 474133"/>
                  <a:gd name="connsiteY35" fmla="*/ 282698 h 474133"/>
                  <a:gd name="connsiteX36" fmla="*/ 93256 w 474133"/>
                  <a:gd name="connsiteY36" fmla="*/ 25645 h 474133"/>
                  <a:gd name="connsiteX37" fmla="*/ 350309 w 474133"/>
                  <a:gd name="connsiteY37" fmla="*/ 93256 h 474133"/>
                  <a:gd name="connsiteX38" fmla="*/ 350309 w 474133"/>
                  <a:gd name="connsiteY38" fmla="*/ 282698 h 474133"/>
                  <a:gd name="connsiteX39" fmla="*/ 460688 w 474133"/>
                  <a:gd name="connsiteY39" fmla="*/ 393171 h 474133"/>
                  <a:gd name="connsiteX40" fmla="*/ 461162 w 474133"/>
                  <a:gd name="connsiteY40" fmla="*/ 460214 h 474133"/>
                  <a:gd name="connsiteX41" fmla="*/ 356378 w 474133"/>
                  <a:gd name="connsiteY41" fmla="*/ 188156 h 474133"/>
                  <a:gd name="connsiteX42" fmla="*/ 188630 w 474133"/>
                  <a:gd name="connsiteY42" fmla="*/ 19649 h 474133"/>
                  <a:gd name="connsiteX43" fmla="*/ 20124 w 474133"/>
                  <a:gd name="connsiteY43" fmla="*/ 187397 h 474133"/>
                  <a:gd name="connsiteX44" fmla="*/ 187872 w 474133"/>
                  <a:gd name="connsiteY44" fmla="*/ 355904 h 474133"/>
                  <a:gd name="connsiteX45" fmla="*/ 188156 w 474133"/>
                  <a:gd name="connsiteY45" fmla="*/ 355904 h 474133"/>
                  <a:gd name="connsiteX46" fmla="*/ 356378 w 474133"/>
                  <a:gd name="connsiteY46" fmla="*/ 188156 h 474133"/>
                  <a:gd name="connsiteX47" fmla="*/ 446369 w 474133"/>
                  <a:gd name="connsiteY47" fmla="*/ 407111 h 474133"/>
                  <a:gd name="connsiteX48" fmla="*/ 339215 w 474133"/>
                  <a:gd name="connsiteY48" fmla="*/ 299577 h 474133"/>
                  <a:gd name="connsiteX49" fmla="*/ 299577 w 474133"/>
                  <a:gd name="connsiteY49" fmla="*/ 339215 h 474133"/>
                  <a:gd name="connsiteX50" fmla="*/ 407111 w 474133"/>
                  <a:gd name="connsiteY50" fmla="*/ 446369 h 474133"/>
                  <a:gd name="connsiteX51" fmla="*/ 446612 w 474133"/>
                  <a:gd name="connsiteY51" fmla="*/ 453998 h 474133"/>
                  <a:gd name="connsiteX52" fmla="*/ 455093 w 474133"/>
                  <a:gd name="connsiteY52" fmla="*/ 415835 h 474133"/>
                  <a:gd name="connsiteX53" fmla="*/ 446369 w 474133"/>
                  <a:gd name="connsiteY53" fmla="*/ 407111 h 474133"/>
                  <a:gd name="connsiteX54" fmla="*/ 326508 w 474133"/>
                  <a:gd name="connsiteY54" fmla="*/ 188156 h 474133"/>
                  <a:gd name="connsiteX55" fmla="*/ 188156 w 474133"/>
                  <a:gd name="connsiteY55" fmla="*/ 49614 h 474133"/>
                  <a:gd name="connsiteX56" fmla="*/ 49614 w 474133"/>
                  <a:gd name="connsiteY56" fmla="*/ 187966 h 474133"/>
                  <a:gd name="connsiteX57" fmla="*/ 187966 w 474133"/>
                  <a:gd name="connsiteY57" fmla="*/ 326508 h 474133"/>
                  <a:gd name="connsiteX58" fmla="*/ 187966 w 474133"/>
                  <a:gd name="connsiteY58" fmla="*/ 326508 h 474133"/>
                  <a:gd name="connsiteX59" fmla="*/ 326508 w 474133"/>
                  <a:gd name="connsiteY59" fmla="*/ 188156 h 474133"/>
                  <a:gd name="connsiteX60" fmla="*/ 306784 w 474133"/>
                  <a:gd name="connsiteY60" fmla="*/ 188156 h 474133"/>
                  <a:gd name="connsiteX61" fmla="*/ 188061 w 474133"/>
                  <a:gd name="connsiteY61" fmla="*/ 306879 h 474133"/>
                  <a:gd name="connsiteX62" fmla="*/ 69338 w 474133"/>
                  <a:gd name="connsiteY62" fmla="*/ 188156 h 474133"/>
                  <a:gd name="connsiteX63" fmla="*/ 188061 w 474133"/>
                  <a:gd name="connsiteY63" fmla="*/ 69433 h 474133"/>
                  <a:gd name="connsiteX64" fmla="*/ 188061 w 474133"/>
                  <a:gd name="connsiteY64" fmla="*/ 69433 h 474133"/>
                  <a:gd name="connsiteX65" fmla="*/ 306784 w 474133"/>
                  <a:gd name="connsiteY65" fmla="*/ 188156 h 474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74133" h="474133">
                    <a:moveTo>
                      <a:pt x="237750" y="388430"/>
                    </a:moveTo>
                    <a:lnTo>
                      <a:pt x="237750" y="465334"/>
                    </a:lnTo>
                    <a:cubicBezTo>
                      <a:pt x="237750" y="470571"/>
                      <a:pt x="233505" y="474817"/>
                      <a:pt x="228268" y="474817"/>
                    </a:cubicBezTo>
                    <a:lnTo>
                      <a:pt x="57580" y="474817"/>
                    </a:lnTo>
                    <a:cubicBezTo>
                      <a:pt x="52342" y="474817"/>
                      <a:pt x="48097" y="470571"/>
                      <a:pt x="48097" y="465334"/>
                    </a:cubicBezTo>
                    <a:lnTo>
                      <a:pt x="48097" y="339594"/>
                    </a:lnTo>
                    <a:cubicBezTo>
                      <a:pt x="54073" y="345185"/>
                      <a:pt x="60409" y="350380"/>
                      <a:pt x="67062" y="355146"/>
                    </a:cubicBezTo>
                    <a:lnTo>
                      <a:pt x="67062" y="455852"/>
                    </a:lnTo>
                    <a:lnTo>
                      <a:pt x="218785" y="455852"/>
                    </a:lnTo>
                    <a:lnTo>
                      <a:pt x="218785" y="392223"/>
                    </a:lnTo>
                    <a:cubicBezTo>
                      <a:pt x="225168" y="391288"/>
                      <a:pt x="231498" y="390022"/>
                      <a:pt x="237750" y="388430"/>
                    </a:cubicBezTo>
                    <a:close/>
                    <a:moveTo>
                      <a:pt x="94657" y="152406"/>
                    </a:moveTo>
                    <a:cubicBezTo>
                      <a:pt x="92245" y="158523"/>
                      <a:pt x="90497" y="164882"/>
                      <a:pt x="89441" y="171372"/>
                    </a:cubicBezTo>
                    <a:lnTo>
                      <a:pt x="218785" y="171372"/>
                    </a:lnTo>
                    <a:lnTo>
                      <a:pt x="218785" y="152406"/>
                    </a:lnTo>
                    <a:close/>
                    <a:moveTo>
                      <a:pt x="88683" y="199820"/>
                    </a:moveTo>
                    <a:cubicBezTo>
                      <a:pt x="89407" y="206270"/>
                      <a:pt x="90805" y="212626"/>
                      <a:pt x="92855" y="218785"/>
                    </a:cubicBezTo>
                    <a:lnTo>
                      <a:pt x="218785" y="218785"/>
                    </a:lnTo>
                    <a:lnTo>
                      <a:pt x="218785" y="199820"/>
                    </a:lnTo>
                    <a:close/>
                    <a:moveTo>
                      <a:pt x="107648" y="247233"/>
                    </a:moveTo>
                    <a:cubicBezTo>
                      <a:pt x="112850" y="254364"/>
                      <a:pt x="119008" y="260746"/>
                      <a:pt x="125950" y="266198"/>
                    </a:cubicBezTo>
                    <a:lnTo>
                      <a:pt x="218785" y="266198"/>
                    </a:lnTo>
                    <a:lnTo>
                      <a:pt x="218785" y="247233"/>
                    </a:lnTo>
                    <a:close/>
                    <a:moveTo>
                      <a:pt x="247233" y="114476"/>
                    </a:moveTo>
                    <a:lnTo>
                      <a:pt x="120544" y="114476"/>
                    </a:lnTo>
                    <a:cubicBezTo>
                      <a:pt x="114300" y="120002"/>
                      <a:pt x="108873" y="126388"/>
                      <a:pt x="104424" y="133441"/>
                    </a:cubicBezTo>
                    <a:lnTo>
                      <a:pt x="237750" y="133441"/>
                    </a:lnTo>
                    <a:lnTo>
                      <a:pt x="237750" y="274922"/>
                    </a:lnTo>
                    <a:cubicBezTo>
                      <a:pt x="244637" y="271022"/>
                      <a:pt x="251008" y="266276"/>
                      <a:pt x="256716" y="260793"/>
                    </a:cubicBezTo>
                    <a:lnTo>
                      <a:pt x="256716" y="123958"/>
                    </a:lnTo>
                    <a:cubicBezTo>
                      <a:pt x="256716" y="118721"/>
                      <a:pt x="252470" y="114476"/>
                      <a:pt x="247233" y="114476"/>
                    </a:cubicBezTo>
                    <a:close/>
                    <a:moveTo>
                      <a:pt x="460688" y="460688"/>
                    </a:moveTo>
                    <a:cubicBezTo>
                      <a:pt x="442325" y="479203"/>
                      <a:pt x="412458" y="479415"/>
                      <a:pt x="393835" y="461162"/>
                    </a:cubicBezTo>
                    <a:lnTo>
                      <a:pt x="393835" y="460688"/>
                    </a:lnTo>
                    <a:lnTo>
                      <a:pt x="282698" y="350309"/>
                    </a:lnTo>
                    <a:cubicBezTo>
                      <a:pt x="193044" y="402622"/>
                      <a:pt x="77958" y="372352"/>
                      <a:pt x="25645" y="282698"/>
                    </a:cubicBezTo>
                    <a:cubicBezTo>
                      <a:pt x="-26668" y="193044"/>
                      <a:pt x="3602" y="77958"/>
                      <a:pt x="93256" y="25645"/>
                    </a:cubicBezTo>
                    <a:cubicBezTo>
                      <a:pt x="182910" y="-26668"/>
                      <a:pt x="297996" y="3602"/>
                      <a:pt x="350309" y="93256"/>
                    </a:cubicBezTo>
                    <a:cubicBezTo>
                      <a:pt x="384462" y="151786"/>
                      <a:pt x="384462" y="224168"/>
                      <a:pt x="350309" y="282698"/>
                    </a:cubicBezTo>
                    <a:lnTo>
                      <a:pt x="460688" y="393171"/>
                    </a:lnTo>
                    <a:cubicBezTo>
                      <a:pt x="479329" y="411555"/>
                      <a:pt x="479541" y="441568"/>
                      <a:pt x="461162" y="460214"/>
                    </a:cubicBezTo>
                    <a:close/>
                    <a:moveTo>
                      <a:pt x="356378" y="188156"/>
                    </a:moveTo>
                    <a:cubicBezTo>
                      <a:pt x="356588" y="95302"/>
                      <a:pt x="281484" y="19859"/>
                      <a:pt x="188630" y="19649"/>
                    </a:cubicBezTo>
                    <a:cubicBezTo>
                      <a:pt x="95776" y="19440"/>
                      <a:pt x="20333" y="94543"/>
                      <a:pt x="20124" y="187397"/>
                    </a:cubicBezTo>
                    <a:cubicBezTo>
                      <a:pt x="19914" y="280251"/>
                      <a:pt x="95018" y="355694"/>
                      <a:pt x="187872" y="355904"/>
                    </a:cubicBezTo>
                    <a:cubicBezTo>
                      <a:pt x="187966" y="355904"/>
                      <a:pt x="188061" y="355904"/>
                      <a:pt x="188156" y="355904"/>
                    </a:cubicBezTo>
                    <a:cubicBezTo>
                      <a:pt x="280899" y="355957"/>
                      <a:pt x="356169" y="280899"/>
                      <a:pt x="356378" y="188156"/>
                    </a:cubicBezTo>
                    <a:close/>
                    <a:moveTo>
                      <a:pt x="446369" y="407111"/>
                    </a:moveTo>
                    <a:lnTo>
                      <a:pt x="339215" y="299577"/>
                    </a:lnTo>
                    <a:cubicBezTo>
                      <a:pt x="328017" y="314662"/>
                      <a:pt x="314662" y="328017"/>
                      <a:pt x="299577" y="339215"/>
                    </a:cubicBezTo>
                    <a:lnTo>
                      <a:pt x="407111" y="446369"/>
                    </a:lnTo>
                    <a:cubicBezTo>
                      <a:pt x="415912" y="459384"/>
                      <a:pt x="433598" y="462799"/>
                      <a:pt x="446612" y="453998"/>
                    </a:cubicBezTo>
                    <a:cubicBezTo>
                      <a:pt x="459117" y="445541"/>
                      <a:pt x="462839" y="428791"/>
                      <a:pt x="455093" y="415835"/>
                    </a:cubicBezTo>
                    <a:cubicBezTo>
                      <a:pt x="452886" y="412301"/>
                      <a:pt x="449902" y="409318"/>
                      <a:pt x="446369" y="407111"/>
                    </a:cubicBezTo>
                    <a:close/>
                    <a:moveTo>
                      <a:pt x="326508" y="188156"/>
                    </a:moveTo>
                    <a:cubicBezTo>
                      <a:pt x="326560" y="111694"/>
                      <a:pt x="264618" y="49666"/>
                      <a:pt x="188156" y="49614"/>
                    </a:cubicBezTo>
                    <a:cubicBezTo>
                      <a:pt x="111694" y="49562"/>
                      <a:pt x="49666" y="111504"/>
                      <a:pt x="49614" y="187966"/>
                    </a:cubicBezTo>
                    <a:cubicBezTo>
                      <a:pt x="49562" y="264428"/>
                      <a:pt x="111504" y="326456"/>
                      <a:pt x="187966" y="326508"/>
                    </a:cubicBezTo>
                    <a:lnTo>
                      <a:pt x="187966" y="326508"/>
                    </a:lnTo>
                    <a:cubicBezTo>
                      <a:pt x="264364" y="326404"/>
                      <a:pt x="326299" y="264553"/>
                      <a:pt x="326508" y="188156"/>
                    </a:cubicBezTo>
                    <a:close/>
                    <a:moveTo>
                      <a:pt x="306784" y="188156"/>
                    </a:moveTo>
                    <a:cubicBezTo>
                      <a:pt x="306784" y="253725"/>
                      <a:pt x="253630" y="306879"/>
                      <a:pt x="188061" y="306879"/>
                    </a:cubicBezTo>
                    <a:cubicBezTo>
                      <a:pt x="122492" y="306879"/>
                      <a:pt x="69338" y="253725"/>
                      <a:pt x="69338" y="188156"/>
                    </a:cubicBezTo>
                    <a:cubicBezTo>
                      <a:pt x="69338" y="122587"/>
                      <a:pt x="122492" y="69433"/>
                      <a:pt x="188061" y="69433"/>
                    </a:cubicBezTo>
                    <a:lnTo>
                      <a:pt x="188061" y="69433"/>
                    </a:lnTo>
                    <a:cubicBezTo>
                      <a:pt x="253630" y="69433"/>
                      <a:pt x="306784" y="122587"/>
                      <a:pt x="306784" y="188156"/>
                    </a:cubicBezTo>
                    <a:close/>
                  </a:path>
                </a:pathLst>
              </a:custGeom>
              <a:solidFill>
                <a:srgbClr val="FFFFFF"/>
              </a:solidFill>
              <a:ln w="9398" cap="flat">
                <a:noFill/>
                <a:prstDash val="solid"/>
                <a:miter/>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21" name="TextBox 220">
                <a:extLst>
                  <a:ext uri="{FF2B5EF4-FFF2-40B4-BE49-F238E27FC236}">
                    <a16:creationId xmlns:a16="http://schemas.microsoft.com/office/drawing/2014/main" id="{130913DB-B7B4-40F7-A28F-64083EE440D3}"/>
                  </a:ext>
                </a:extLst>
              </p:cNvPr>
              <p:cNvSpPr txBox="1"/>
              <p:nvPr/>
            </p:nvSpPr>
            <p:spPr>
              <a:xfrm>
                <a:off x="6385161" y="5339215"/>
                <a:ext cx="1607812" cy="443198"/>
              </a:xfrm>
              <a:prstGeom prst="rect">
                <a:avLst/>
              </a:prstGeom>
              <a:noFill/>
            </p:spPr>
            <p:txBody>
              <a:bodyPr wrap="none" lIns="0" tIns="0" rIns="0" bIns="0" rtlCol="0">
                <a:spAutoFit/>
              </a:bodyPr>
              <a:lstStyle/>
              <a:p>
                <a:pPr marL="0" marR="0" lvl="0" indent="0" algn="l" defTabSz="731520" rtl="0" eaLnBrk="1" fontAlgn="auto" latinLnBrk="0" hangingPunct="1">
                  <a:lnSpc>
                    <a:spcPct val="90000"/>
                  </a:lnSpc>
                  <a:spcBef>
                    <a:spcPts val="0"/>
                  </a:spcBef>
                  <a:spcAft>
                    <a:spcPts val="18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mazon Ember"/>
                    <a:ea typeface="+mn-ea"/>
                    <a:cs typeface="+mn-cs"/>
                  </a:rPr>
                  <a:t>AWS Application</a:t>
                </a:r>
                <a:br>
                  <a:rPr kumimoji="0" lang="en-US" sz="1600" b="0" i="0" u="none" strike="noStrike" kern="1200" cap="none" spc="0" normalizeH="0" baseline="0" noProof="0" dirty="0">
                    <a:ln>
                      <a:noFill/>
                    </a:ln>
                    <a:solidFill>
                      <a:srgbClr val="FFFFFF"/>
                    </a:solidFill>
                    <a:effectLst/>
                    <a:uLnTx/>
                    <a:uFillTx/>
                    <a:latin typeface="Amazon Ember"/>
                    <a:ea typeface="+mn-ea"/>
                    <a:cs typeface="+mn-cs"/>
                  </a:rPr>
                </a:br>
                <a:r>
                  <a:rPr kumimoji="0" lang="en-US" sz="1600" b="0" i="0" u="none" strike="noStrike" kern="1200" cap="none" spc="0" normalizeH="0" baseline="0" noProof="0" dirty="0">
                    <a:ln>
                      <a:noFill/>
                    </a:ln>
                    <a:solidFill>
                      <a:srgbClr val="FFFFFF"/>
                    </a:solidFill>
                    <a:effectLst/>
                    <a:uLnTx/>
                    <a:uFillTx/>
                    <a:latin typeface="Amazon Ember"/>
                    <a:ea typeface="+mn-ea"/>
                    <a:cs typeface="+mn-cs"/>
                  </a:rPr>
                  <a:t>Discovery Service</a:t>
                </a:r>
              </a:p>
            </p:txBody>
          </p:sp>
        </p:grpSp>
        <p:grpSp>
          <p:nvGrpSpPr>
            <p:cNvPr id="224" name="Group 223">
              <a:extLst>
                <a:ext uri="{FF2B5EF4-FFF2-40B4-BE49-F238E27FC236}">
                  <a16:creationId xmlns:a16="http://schemas.microsoft.com/office/drawing/2014/main" id="{D123F24B-237B-48E6-9924-E64672D39E74}"/>
                </a:ext>
              </a:extLst>
            </p:cNvPr>
            <p:cNvGrpSpPr/>
            <p:nvPr/>
          </p:nvGrpSpPr>
          <p:grpSpPr>
            <a:xfrm>
              <a:off x="8313962" y="5388547"/>
              <a:ext cx="5073134" cy="474133"/>
              <a:chOff x="5531386" y="5923893"/>
              <a:chExt cx="5073134" cy="474133"/>
            </a:xfrm>
          </p:grpSpPr>
          <p:grpSp>
            <p:nvGrpSpPr>
              <p:cNvPr id="214" name="Graphic 211">
                <a:extLst>
                  <a:ext uri="{FF2B5EF4-FFF2-40B4-BE49-F238E27FC236}">
                    <a16:creationId xmlns:a16="http://schemas.microsoft.com/office/drawing/2014/main" id="{64F672CB-1FE3-444F-B7FB-C1D517295775}"/>
                  </a:ext>
                </a:extLst>
              </p:cNvPr>
              <p:cNvGrpSpPr>
                <a:grpSpLocks noChangeAspect="1"/>
              </p:cNvGrpSpPr>
              <p:nvPr/>
            </p:nvGrpSpPr>
            <p:grpSpPr>
              <a:xfrm>
                <a:off x="5531386" y="5923893"/>
                <a:ext cx="474133" cy="474133"/>
                <a:chOff x="-3498481" y="647324"/>
                <a:chExt cx="474133" cy="474133"/>
              </a:xfrm>
            </p:grpSpPr>
            <p:sp>
              <p:nvSpPr>
                <p:cNvPr id="216" name="Freeform: Shape 215">
                  <a:extLst>
                    <a:ext uri="{FF2B5EF4-FFF2-40B4-BE49-F238E27FC236}">
                      <a16:creationId xmlns:a16="http://schemas.microsoft.com/office/drawing/2014/main" id="{57228E17-416F-4493-A331-ECC383A4EEC8}"/>
                    </a:ext>
                  </a:extLst>
                </p:cNvPr>
                <p:cNvSpPr/>
                <p:nvPr/>
              </p:nvSpPr>
              <p:spPr>
                <a:xfrm>
                  <a:off x="-3498481" y="647324"/>
                  <a:ext cx="474133" cy="474133"/>
                </a:xfrm>
                <a:custGeom>
                  <a:avLst/>
                  <a:gdLst>
                    <a:gd name="connsiteX0" fmla="*/ 461047 w 474133"/>
                    <a:gd name="connsiteY0" fmla="*/ 397513 h 474133"/>
                    <a:gd name="connsiteX1" fmla="*/ 417617 w 474133"/>
                    <a:gd name="connsiteY1" fmla="*/ 353798 h 474133"/>
                    <a:gd name="connsiteX2" fmla="*/ 354452 w 474133"/>
                    <a:gd name="connsiteY2" fmla="*/ 38205 h 474133"/>
                    <a:gd name="connsiteX3" fmla="*/ 228437 w 474133"/>
                    <a:gd name="connsiteY3" fmla="*/ 0 h 474133"/>
                    <a:gd name="connsiteX4" fmla="*/ 23707 w 474133"/>
                    <a:gd name="connsiteY4" fmla="*/ 129249 h 474133"/>
                    <a:gd name="connsiteX5" fmla="*/ 40775 w 474133"/>
                    <a:gd name="connsiteY5" fmla="*/ 137404 h 474133"/>
                    <a:gd name="connsiteX6" fmla="*/ 319162 w 474133"/>
                    <a:gd name="connsiteY6" fmla="*/ 39707 h 474133"/>
                    <a:gd name="connsiteX7" fmla="*/ 437435 w 474133"/>
                    <a:gd name="connsiteY7" fmla="*/ 227489 h 474133"/>
                    <a:gd name="connsiteX8" fmla="*/ 404341 w 474133"/>
                    <a:gd name="connsiteY8" fmla="*/ 340048 h 474133"/>
                    <a:gd name="connsiteX9" fmla="*/ 368402 w 474133"/>
                    <a:gd name="connsiteY9" fmla="*/ 304014 h 474133"/>
                    <a:gd name="connsiteX10" fmla="*/ 297109 w 474133"/>
                    <a:gd name="connsiteY10" fmla="*/ 94682 h 474133"/>
                    <a:gd name="connsiteX11" fmla="*/ 87777 w 474133"/>
                    <a:gd name="connsiteY11" fmla="*/ 165975 h 474133"/>
                    <a:gd name="connsiteX12" fmla="*/ 81646 w 474133"/>
                    <a:gd name="connsiteY12" fmla="*/ 180171 h 474133"/>
                    <a:gd name="connsiteX13" fmla="*/ 18965 w 474133"/>
                    <a:gd name="connsiteY13" fmla="*/ 180171 h 474133"/>
                    <a:gd name="connsiteX14" fmla="*/ 18965 w 474133"/>
                    <a:gd name="connsiteY14" fmla="*/ 199136 h 474133"/>
                    <a:gd name="connsiteX15" fmla="*/ 76335 w 474133"/>
                    <a:gd name="connsiteY15" fmla="*/ 199136 h 474133"/>
                    <a:gd name="connsiteX16" fmla="*/ 72827 w 474133"/>
                    <a:gd name="connsiteY16" fmla="*/ 227584 h 474133"/>
                    <a:gd name="connsiteX17" fmla="*/ 0 w 474133"/>
                    <a:gd name="connsiteY17" fmla="*/ 227584 h 474133"/>
                    <a:gd name="connsiteX18" fmla="*/ 0 w 474133"/>
                    <a:gd name="connsiteY18" fmla="*/ 246549 h 474133"/>
                    <a:gd name="connsiteX19" fmla="*/ 73491 w 474133"/>
                    <a:gd name="connsiteY19" fmla="*/ 246549 h 474133"/>
                    <a:gd name="connsiteX20" fmla="*/ 78706 w 474133"/>
                    <a:gd name="connsiteY20" fmla="*/ 274997 h 474133"/>
                    <a:gd name="connsiteX21" fmla="*/ 20008 w 474133"/>
                    <a:gd name="connsiteY21" fmla="*/ 274997 h 474133"/>
                    <a:gd name="connsiteX22" fmla="*/ 20008 w 474133"/>
                    <a:gd name="connsiteY22" fmla="*/ 293963 h 474133"/>
                    <a:gd name="connsiteX23" fmla="*/ 85534 w 474133"/>
                    <a:gd name="connsiteY23" fmla="*/ 293963 h 474133"/>
                    <a:gd name="connsiteX24" fmla="*/ 290457 w 474133"/>
                    <a:gd name="connsiteY24" fmla="*/ 376008 h 474133"/>
                    <a:gd name="connsiteX25" fmla="*/ 305152 w 474133"/>
                    <a:gd name="connsiteY25" fmla="*/ 368781 h 474133"/>
                    <a:gd name="connsiteX26" fmla="*/ 339954 w 474133"/>
                    <a:gd name="connsiteY26" fmla="*/ 403582 h 474133"/>
                    <a:gd name="connsiteX27" fmla="*/ 54715 w 474133"/>
                    <a:gd name="connsiteY27" fmla="*/ 342893 h 474133"/>
                    <a:gd name="connsiteX28" fmla="*/ 38974 w 474133"/>
                    <a:gd name="connsiteY28" fmla="*/ 353419 h 474133"/>
                    <a:gd name="connsiteX29" fmla="*/ 353703 w 474133"/>
                    <a:gd name="connsiteY29" fmla="*/ 417332 h 474133"/>
                    <a:gd name="connsiteX30" fmla="*/ 397419 w 474133"/>
                    <a:gd name="connsiteY30" fmla="*/ 461047 h 474133"/>
                    <a:gd name="connsiteX31" fmla="*/ 461000 w 474133"/>
                    <a:gd name="connsiteY31" fmla="*/ 461095 h 474133"/>
                    <a:gd name="connsiteX32" fmla="*/ 461047 w 474133"/>
                    <a:gd name="connsiteY32" fmla="*/ 397513 h 474133"/>
                    <a:gd name="connsiteX33" fmla="*/ 229101 w 474133"/>
                    <a:gd name="connsiteY33" fmla="*/ 369634 h 474133"/>
                    <a:gd name="connsiteX34" fmla="*/ 91697 w 474133"/>
                    <a:gd name="connsiteY34" fmla="*/ 232230 h 474133"/>
                    <a:gd name="connsiteX35" fmla="*/ 229101 w 474133"/>
                    <a:gd name="connsiteY35" fmla="*/ 94827 h 474133"/>
                    <a:gd name="connsiteX36" fmla="*/ 366505 w 474133"/>
                    <a:gd name="connsiteY36" fmla="*/ 232231 h 474133"/>
                    <a:gd name="connsiteX37" fmla="*/ 366505 w 474133"/>
                    <a:gd name="connsiteY37" fmla="*/ 232325 h 474133"/>
                    <a:gd name="connsiteX38" fmla="*/ 229101 w 474133"/>
                    <a:gd name="connsiteY38" fmla="*/ 369634 h 474133"/>
                    <a:gd name="connsiteX39" fmla="*/ 447203 w 474133"/>
                    <a:gd name="connsiteY39" fmla="*/ 447487 h 474133"/>
                    <a:gd name="connsiteX40" fmla="*/ 410599 w 474133"/>
                    <a:gd name="connsiteY40" fmla="*/ 447487 h 474133"/>
                    <a:gd name="connsiteX41" fmla="*/ 321273 w 474133"/>
                    <a:gd name="connsiteY41" fmla="*/ 358160 h 474133"/>
                    <a:gd name="connsiteX42" fmla="*/ 357591 w 474133"/>
                    <a:gd name="connsiteY42" fmla="*/ 320230 h 474133"/>
                    <a:gd name="connsiteX43" fmla="*/ 447297 w 474133"/>
                    <a:gd name="connsiteY43" fmla="*/ 410410 h 474133"/>
                    <a:gd name="connsiteX44" fmla="*/ 447424 w 474133"/>
                    <a:gd name="connsiteY44" fmla="*/ 446886 h 474133"/>
                    <a:gd name="connsiteX45" fmla="*/ 447297 w 474133"/>
                    <a:gd name="connsiteY45" fmla="*/ 447013 h 474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74133" h="474133">
                      <a:moveTo>
                        <a:pt x="461047" y="397513"/>
                      </a:moveTo>
                      <a:lnTo>
                        <a:pt x="417617" y="353798"/>
                      </a:lnTo>
                      <a:cubicBezTo>
                        <a:pt x="487323" y="249207"/>
                        <a:pt x="459043" y="107911"/>
                        <a:pt x="354452" y="38205"/>
                      </a:cubicBezTo>
                      <a:cubicBezTo>
                        <a:pt x="317130" y="13331"/>
                        <a:pt x="273289" y="39"/>
                        <a:pt x="228437" y="0"/>
                      </a:cubicBezTo>
                      <a:cubicBezTo>
                        <a:pt x="141117" y="469"/>
                        <a:pt x="61683" y="50617"/>
                        <a:pt x="23707" y="129249"/>
                      </a:cubicBezTo>
                      <a:lnTo>
                        <a:pt x="40775" y="137404"/>
                      </a:lnTo>
                      <a:cubicBezTo>
                        <a:pt x="90671" y="33551"/>
                        <a:pt x="215309" y="-10189"/>
                        <a:pt x="319162" y="39707"/>
                      </a:cubicBezTo>
                      <a:cubicBezTo>
                        <a:pt x="391371" y="74400"/>
                        <a:pt x="437336" y="147378"/>
                        <a:pt x="437435" y="227489"/>
                      </a:cubicBezTo>
                      <a:cubicBezTo>
                        <a:pt x="437544" y="267423"/>
                        <a:pt x="426046" y="306528"/>
                        <a:pt x="404341" y="340048"/>
                      </a:cubicBezTo>
                      <a:lnTo>
                        <a:pt x="368402" y="304014"/>
                      </a:lnTo>
                      <a:cubicBezTo>
                        <a:pt x="406520" y="226522"/>
                        <a:pt x="374601" y="132801"/>
                        <a:pt x="297109" y="94682"/>
                      </a:cubicBezTo>
                      <a:cubicBezTo>
                        <a:pt x="219617" y="56563"/>
                        <a:pt x="125895" y="88482"/>
                        <a:pt x="87777" y="165975"/>
                      </a:cubicBezTo>
                      <a:cubicBezTo>
                        <a:pt x="85500" y="170603"/>
                        <a:pt x="83454" y="175340"/>
                        <a:pt x="81646" y="180171"/>
                      </a:cubicBezTo>
                      <a:lnTo>
                        <a:pt x="18965" y="180171"/>
                      </a:lnTo>
                      <a:lnTo>
                        <a:pt x="18965" y="199136"/>
                      </a:lnTo>
                      <a:lnTo>
                        <a:pt x="76335" y="199136"/>
                      </a:lnTo>
                      <a:cubicBezTo>
                        <a:pt x="74247" y="208483"/>
                        <a:pt x="73072" y="218010"/>
                        <a:pt x="72827" y="227584"/>
                      </a:cubicBezTo>
                      <a:lnTo>
                        <a:pt x="0" y="227584"/>
                      </a:lnTo>
                      <a:lnTo>
                        <a:pt x="0" y="246549"/>
                      </a:lnTo>
                      <a:lnTo>
                        <a:pt x="73491" y="246549"/>
                      </a:lnTo>
                      <a:cubicBezTo>
                        <a:pt x="74248" y="256186"/>
                        <a:pt x="75996" y="265719"/>
                        <a:pt x="78706" y="274997"/>
                      </a:cubicBezTo>
                      <a:lnTo>
                        <a:pt x="20008" y="274997"/>
                      </a:lnTo>
                      <a:lnTo>
                        <a:pt x="20008" y="293963"/>
                      </a:lnTo>
                      <a:lnTo>
                        <a:pt x="85534" y="293963"/>
                      </a:lnTo>
                      <a:cubicBezTo>
                        <a:pt x="119465" y="373207"/>
                        <a:pt x="211213" y="409940"/>
                        <a:pt x="290457" y="376008"/>
                      </a:cubicBezTo>
                      <a:cubicBezTo>
                        <a:pt x="295478" y="373858"/>
                        <a:pt x="300384" y="371445"/>
                        <a:pt x="305152" y="368781"/>
                      </a:cubicBezTo>
                      <a:lnTo>
                        <a:pt x="339954" y="403582"/>
                      </a:lnTo>
                      <a:cubicBezTo>
                        <a:pt x="244175" y="464202"/>
                        <a:pt x="117519" y="437254"/>
                        <a:pt x="54715" y="342893"/>
                      </a:cubicBezTo>
                      <a:lnTo>
                        <a:pt x="38974" y="353419"/>
                      </a:lnTo>
                      <a:cubicBezTo>
                        <a:pt x="108399" y="457734"/>
                        <a:pt x="249088" y="486304"/>
                        <a:pt x="353703" y="417332"/>
                      </a:cubicBezTo>
                      <a:lnTo>
                        <a:pt x="397419" y="461047"/>
                      </a:lnTo>
                      <a:cubicBezTo>
                        <a:pt x="414963" y="478618"/>
                        <a:pt x="443429" y="478639"/>
                        <a:pt x="461000" y="461095"/>
                      </a:cubicBezTo>
                      <a:cubicBezTo>
                        <a:pt x="478570" y="443550"/>
                        <a:pt x="478592" y="415084"/>
                        <a:pt x="461047" y="397513"/>
                      </a:cubicBezTo>
                      <a:close/>
                      <a:moveTo>
                        <a:pt x="229101" y="369634"/>
                      </a:moveTo>
                      <a:cubicBezTo>
                        <a:pt x="153215" y="369634"/>
                        <a:pt x="91697" y="308117"/>
                        <a:pt x="91697" y="232230"/>
                      </a:cubicBezTo>
                      <a:cubicBezTo>
                        <a:pt x="91697" y="156344"/>
                        <a:pt x="153215" y="94827"/>
                        <a:pt x="229101" y="94827"/>
                      </a:cubicBezTo>
                      <a:cubicBezTo>
                        <a:pt x="304987" y="94827"/>
                        <a:pt x="366505" y="156345"/>
                        <a:pt x="366505" y="232231"/>
                      </a:cubicBezTo>
                      <a:cubicBezTo>
                        <a:pt x="366505" y="232262"/>
                        <a:pt x="366505" y="232294"/>
                        <a:pt x="366505" y="232325"/>
                      </a:cubicBezTo>
                      <a:cubicBezTo>
                        <a:pt x="366348" y="308131"/>
                        <a:pt x="304907" y="369530"/>
                        <a:pt x="229101" y="369634"/>
                      </a:cubicBezTo>
                      <a:close/>
                      <a:moveTo>
                        <a:pt x="447203" y="447487"/>
                      </a:moveTo>
                      <a:cubicBezTo>
                        <a:pt x="436990" y="457338"/>
                        <a:pt x="420812" y="457338"/>
                        <a:pt x="410599" y="447487"/>
                      </a:cubicBezTo>
                      <a:lnTo>
                        <a:pt x="321273" y="358160"/>
                      </a:lnTo>
                      <a:cubicBezTo>
                        <a:pt x="335445" y="347671"/>
                        <a:pt x="347727" y="334844"/>
                        <a:pt x="357591" y="320230"/>
                      </a:cubicBezTo>
                      <a:lnTo>
                        <a:pt x="447297" y="410410"/>
                      </a:lnTo>
                      <a:cubicBezTo>
                        <a:pt x="457405" y="420447"/>
                        <a:pt x="457462" y="436779"/>
                        <a:pt x="447424" y="446886"/>
                      </a:cubicBezTo>
                      <a:cubicBezTo>
                        <a:pt x="447382" y="446929"/>
                        <a:pt x="447340" y="446971"/>
                        <a:pt x="447297" y="447013"/>
                      </a:cubicBezTo>
                      <a:close/>
                    </a:path>
                  </a:pathLst>
                </a:custGeom>
                <a:solidFill>
                  <a:srgbClr val="FFFFFF"/>
                </a:solidFill>
                <a:ln w="9398" cap="flat">
                  <a:noFill/>
                  <a:prstDash val="solid"/>
                  <a:miter/>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17" name="Freeform: Shape 216">
                  <a:extLst>
                    <a:ext uri="{FF2B5EF4-FFF2-40B4-BE49-F238E27FC236}">
                      <a16:creationId xmlns:a16="http://schemas.microsoft.com/office/drawing/2014/main" id="{40FA4936-C29C-47BD-AAA9-8AD68E83A9F7}"/>
                    </a:ext>
                  </a:extLst>
                </p:cNvPr>
                <p:cNvSpPr/>
                <p:nvPr/>
              </p:nvSpPr>
              <p:spPr>
                <a:xfrm>
                  <a:off x="-3354858" y="791271"/>
                  <a:ext cx="170688" cy="170688"/>
                </a:xfrm>
                <a:custGeom>
                  <a:avLst/>
                  <a:gdLst>
                    <a:gd name="connsiteX0" fmla="*/ 172908 w 170688"/>
                    <a:gd name="connsiteY0" fmla="*/ 102128 h 170688"/>
                    <a:gd name="connsiteX1" fmla="*/ 155081 w 170688"/>
                    <a:gd name="connsiteY1" fmla="*/ 80887 h 170688"/>
                    <a:gd name="connsiteX2" fmla="*/ 161340 w 170688"/>
                    <a:gd name="connsiteY2" fmla="*/ 34707 h 170688"/>
                    <a:gd name="connsiteX3" fmla="*/ 161340 w 170688"/>
                    <a:gd name="connsiteY3" fmla="*/ 34707 h 170688"/>
                    <a:gd name="connsiteX4" fmla="*/ 161340 w 170688"/>
                    <a:gd name="connsiteY4" fmla="*/ 34707 h 170688"/>
                    <a:gd name="connsiteX5" fmla="*/ 161340 w 170688"/>
                    <a:gd name="connsiteY5" fmla="*/ 33474 h 170688"/>
                    <a:gd name="connsiteX6" fmla="*/ 161340 w 170688"/>
                    <a:gd name="connsiteY6" fmla="*/ 32146 h 170688"/>
                    <a:gd name="connsiteX7" fmla="*/ 161340 w 170688"/>
                    <a:gd name="connsiteY7" fmla="*/ 30819 h 170688"/>
                    <a:gd name="connsiteX8" fmla="*/ 80642 w 170688"/>
                    <a:gd name="connsiteY8" fmla="*/ 0 h 170688"/>
                    <a:gd name="connsiteX9" fmla="*/ 39 w 170688"/>
                    <a:gd name="connsiteY9" fmla="*/ 30819 h 170688"/>
                    <a:gd name="connsiteX10" fmla="*/ 39 w 170688"/>
                    <a:gd name="connsiteY10" fmla="*/ 32146 h 170688"/>
                    <a:gd name="connsiteX11" fmla="*/ 39 w 170688"/>
                    <a:gd name="connsiteY11" fmla="*/ 33474 h 170688"/>
                    <a:gd name="connsiteX12" fmla="*/ 39 w 170688"/>
                    <a:gd name="connsiteY12" fmla="*/ 34707 h 170688"/>
                    <a:gd name="connsiteX13" fmla="*/ 39 w 170688"/>
                    <a:gd name="connsiteY13" fmla="*/ 34707 h 170688"/>
                    <a:gd name="connsiteX14" fmla="*/ 39 w 170688"/>
                    <a:gd name="connsiteY14" fmla="*/ 34707 h 170688"/>
                    <a:gd name="connsiteX15" fmla="*/ 15875 w 170688"/>
                    <a:gd name="connsiteY15" fmla="*/ 152766 h 170688"/>
                    <a:gd name="connsiteX16" fmla="*/ 80358 w 170688"/>
                    <a:gd name="connsiteY16" fmla="*/ 176947 h 170688"/>
                    <a:gd name="connsiteX17" fmla="*/ 116961 w 170688"/>
                    <a:gd name="connsiteY17" fmla="*/ 173153 h 170688"/>
                    <a:gd name="connsiteX18" fmla="*/ 128719 w 170688"/>
                    <a:gd name="connsiteY18" fmla="*/ 169550 h 170688"/>
                    <a:gd name="connsiteX19" fmla="*/ 144840 w 170688"/>
                    <a:gd name="connsiteY19" fmla="*/ 152766 h 170688"/>
                    <a:gd name="connsiteX20" fmla="*/ 149771 w 170688"/>
                    <a:gd name="connsiteY20" fmla="*/ 115878 h 170688"/>
                    <a:gd name="connsiteX21" fmla="*/ 159253 w 170688"/>
                    <a:gd name="connsiteY21" fmla="*/ 116921 h 170688"/>
                    <a:gd name="connsiteX22" fmla="*/ 171391 w 170688"/>
                    <a:gd name="connsiteY22" fmla="*/ 111042 h 170688"/>
                    <a:gd name="connsiteX23" fmla="*/ 172908 w 170688"/>
                    <a:gd name="connsiteY23" fmla="*/ 102128 h 170688"/>
                    <a:gd name="connsiteX24" fmla="*/ 134409 w 170688"/>
                    <a:gd name="connsiteY24" fmla="*/ 91223 h 170688"/>
                    <a:gd name="connsiteX25" fmla="*/ 93633 w 170688"/>
                    <a:gd name="connsiteY25" fmla="*/ 73491 h 170688"/>
                    <a:gd name="connsiteX26" fmla="*/ 76432 w 170688"/>
                    <a:gd name="connsiteY26" fmla="*/ 65013 h 170688"/>
                    <a:gd name="connsiteX27" fmla="*/ 67954 w 170688"/>
                    <a:gd name="connsiteY27" fmla="*/ 82215 h 170688"/>
                    <a:gd name="connsiteX28" fmla="*/ 80737 w 170688"/>
                    <a:gd name="connsiteY28" fmla="*/ 91413 h 170688"/>
                    <a:gd name="connsiteX29" fmla="*/ 85289 w 170688"/>
                    <a:gd name="connsiteY29" fmla="*/ 90559 h 170688"/>
                    <a:gd name="connsiteX30" fmla="*/ 131849 w 170688"/>
                    <a:gd name="connsiteY30" fmla="*/ 110663 h 170688"/>
                    <a:gd name="connsiteX31" fmla="*/ 126633 w 170688"/>
                    <a:gd name="connsiteY31" fmla="*/ 149731 h 170688"/>
                    <a:gd name="connsiteX32" fmla="*/ 122271 w 170688"/>
                    <a:gd name="connsiteY32" fmla="*/ 151912 h 170688"/>
                    <a:gd name="connsiteX33" fmla="*/ 112788 w 170688"/>
                    <a:gd name="connsiteY33" fmla="*/ 154662 h 170688"/>
                    <a:gd name="connsiteX34" fmla="*/ 80547 w 170688"/>
                    <a:gd name="connsiteY34" fmla="*/ 157981 h 170688"/>
                    <a:gd name="connsiteX35" fmla="*/ 34841 w 170688"/>
                    <a:gd name="connsiteY35" fmla="*/ 149731 h 170688"/>
                    <a:gd name="connsiteX36" fmla="*/ 21565 w 170688"/>
                    <a:gd name="connsiteY36" fmla="*/ 51017 h 170688"/>
                    <a:gd name="connsiteX37" fmla="*/ 139624 w 170688"/>
                    <a:gd name="connsiteY37" fmla="*/ 51017 h 170688"/>
                    <a:gd name="connsiteX38" fmla="*/ 80737 w 170688"/>
                    <a:gd name="connsiteY38" fmla="*/ 39922 h 170688"/>
                    <a:gd name="connsiteX39" fmla="*/ 20996 w 170688"/>
                    <a:gd name="connsiteY39" fmla="*/ 30439 h 170688"/>
                    <a:gd name="connsiteX40" fmla="*/ 80737 w 170688"/>
                    <a:gd name="connsiteY40" fmla="*/ 18776 h 170688"/>
                    <a:gd name="connsiteX41" fmla="*/ 140478 w 170688"/>
                    <a:gd name="connsiteY41" fmla="*/ 30439 h 170688"/>
                    <a:gd name="connsiteX42" fmla="*/ 80737 w 170688"/>
                    <a:gd name="connsiteY42" fmla="*/ 39922 h 170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0688" h="170688">
                      <a:moveTo>
                        <a:pt x="172908" y="102128"/>
                      </a:moveTo>
                      <a:cubicBezTo>
                        <a:pt x="168881" y="93639"/>
                        <a:pt x="162743" y="86325"/>
                        <a:pt x="155081" y="80887"/>
                      </a:cubicBezTo>
                      <a:lnTo>
                        <a:pt x="161340" y="34707"/>
                      </a:lnTo>
                      <a:lnTo>
                        <a:pt x="161340" y="34707"/>
                      </a:lnTo>
                      <a:lnTo>
                        <a:pt x="161340" y="34707"/>
                      </a:lnTo>
                      <a:lnTo>
                        <a:pt x="161340" y="33474"/>
                      </a:lnTo>
                      <a:lnTo>
                        <a:pt x="161340" y="32146"/>
                      </a:lnTo>
                      <a:cubicBezTo>
                        <a:pt x="161340" y="31672"/>
                        <a:pt x="161340" y="31198"/>
                        <a:pt x="161340" y="30819"/>
                      </a:cubicBezTo>
                      <a:cubicBezTo>
                        <a:pt x="161340" y="8345"/>
                        <a:pt x="111840" y="0"/>
                        <a:pt x="80642" y="0"/>
                      </a:cubicBezTo>
                      <a:cubicBezTo>
                        <a:pt x="49444" y="0"/>
                        <a:pt x="39" y="8345"/>
                        <a:pt x="39" y="30819"/>
                      </a:cubicBezTo>
                      <a:cubicBezTo>
                        <a:pt x="-4" y="31260"/>
                        <a:pt x="-4" y="31705"/>
                        <a:pt x="39" y="32146"/>
                      </a:cubicBezTo>
                      <a:lnTo>
                        <a:pt x="39" y="33474"/>
                      </a:lnTo>
                      <a:cubicBezTo>
                        <a:pt x="-13" y="33883"/>
                        <a:pt x="-13" y="34297"/>
                        <a:pt x="39" y="34707"/>
                      </a:cubicBezTo>
                      <a:cubicBezTo>
                        <a:pt x="39" y="34707"/>
                        <a:pt x="39" y="34707"/>
                        <a:pt x="39" y="34707"/>
                      </a:cubicBezTo>
                      <a:lnTo>
                        <a:pt x="39" y="34707"/>
                      </a:lnTo>
                      <a:lnTo>
                        <a:pt x="15875" y="152766"/>
                      </a:lnTo>
                      <a:cubicBezTo>
                        <a:pt x="17108" y="176283"/>
                        <a:pt x="73815" y="176947"/>
                        <a:pt x="80358" y="176947"/>
                      </a:cubicBezTo>
                      <a:cubicBezTo>
                        <a:pt x="92660" y="177019"/>
                        <a:pt x="104934" y="175747"/>
                        <a:pt x="116961" y="173153"/>
                      </a:cubicBezTo>
                      <a:cubicBezTo>
                        <a:pt x="120957" y="172217"/>
                        <a:pt x="124885" y="171013"/>
                        <a:pt x="128719" y="169550"/>
                      </a:cubicBezTo>
                      <a:cubicBezTo>
                        <a:pt x="139055" y="165473"/>
                        <a:pt x="144460" y="160067"/>
                        <a:pt x="144840" y="152766"/>
                      </a:cubicBezTo>
                      <a:lnTo>
                        <a:pt x="149771" y="115878"/>
                      </a:lnTo>
                      <a:cubicBezTo>
                        <a:pt x="152887" y="116553"/>
                        <a:pt x="156065" y="116903"/>
                        <a:pt x="159253" y="116921"/>
                      </a:cubicBezTo>
                      <a:cubicBezTo>
                        <a:pt x="164120" y="117623"/>
                        <a:pt x="168925" y="115296"/>
                        <a:pt x="171391" y="111042"/>
                      </a:cubicBezTo>
                      <a:cubicBezTo>
                        <a:pt x="173128" y="108417"/>
                        <a:pt x="173679" y="105181"/>
                        <a:pt x="172908" y="102128"/>
                      </a:cubicBezTo>
                      <a:close/>
                      <a:moveTo>
                        <a:pt x="134409" y="91223"/>
                      </a:moveTo>
                      <a:cubicBezTo>
                        <a:pt x="122271" y="86577"/>
                        <a:pt x="107573" y="80223"/>
                        <a:pt x="93633" y="73491"/>
                      </a:cubicBezTo>
                      <a:cubicBezTo>
                        <a:pt x="91224" y="66400"/>
                        <a:pt x="83523" y="62604"/>
                        <a:pt x="76432" y="65013"/>
                      </a:cubicBezTo>
                      <a:cubicBezTo>
                        <a:pt x="69341" y="67423"/>
                        <a:pt x="65545" y="75124"/>
                        <a:pt x="67954" y="82215"/>
                      </a:cubicBezTo>
                      <a:cubicBezTo>
                        <a:pt x="69816" y="87694"/>
                        <a:pt x="74950" y="91389"/>
                        <a:pt x="80737" y="91413"/>
                      </a:cubicBezTo>
                      <a:cubicBezTo>
                        <a:pt x="82295" y="91423"/>
                        <a:pt x="83840" y="91133"/>
                        <a:pt x="85289" y="90559"/>
                      </a:cubicBezTo>
                      <a:cubicBezTo>
                        <a:pt x="100426" y="98113"/>
                        <a:pt x="115970" y="104825"/>
                        <a:pt x="131849" y="110663"/>
                      </a:cubicBezTo>
                      <a:lnTo>
                        <a:pt x="126633" y="149731"/>
                      </a:lnTo>
                      <a:cubicBezTo>
                        <a:pt x="125265" y="150619"/>
                        <a:pt x="123802" y="151351"/>
                        <a:pt x="122271" y="151912"/>
                      </a:cubicBezTo>
                      <a:cubicBezTo>
                        <a:pt x="119181" y="153059"/>
                        <a:pt x="116012" y="153978"/>
                        <a:pt x="112788" y="154662"/>
                      </a:cubicBezTo>
                      <a:cubicBezTo>
                        <a:pt x="102197" y="156958"/>
                        <a:pt x="91384" y="158071"/>
                        <a:pt x="80547" y="157981"/>
                      </a:cubicBezTo>
                      <a:cubicBezTo>
                        <a:pt x="64873" y="158898"/>
                        <a:pt x="49205" y="156070"/>
                        <a:pt x="34841" y="149731"/>
                      </a:cubicBezTo>
                      <a:lnTo>
                        <a:pt x="21565" y="51017"/>
                      </a:lnTo>
                      <a:cubicBezTo>
                        <a:pt x="60219" y="61510"/>
                        <a:pt x="100971" y="61510"/>
                        <a:pt x="139624" y="51017"/>
                      </a:cubicBezTo>
                      <a:close/>
                      <a:moveTo>
                        <a:pt x="80737" y="39922"/>
                      </a:moveTo>
                      <a:cubicBezTo>
                        <a:pt x="60382" y="40929"/>
                        <a:pt x="40039" y="37700"/>
                        <a:pt x="20996" y="30439"/>
                      </a:cubicBezTo>
                      <a:cubicBezTo>
                        <a:pt x="39715" y="21906"/>
                        <a:pt x="60183" y="17910"/>
                        <a:pt x="80737" y="18776"/>
                      </a:cubicBezTo>
                      <a:cubicBezTo>
                        <a:pt x="101291" y="17910"/>
                        <a:pt x="121759" y="21906"/>
                        <a:pt x="140478" y="30439"/>
                      </a:cubicBezTo>
                      <a:cubicBezTo>
                        <a:pt x="121438" y="37711"/>
                        <a:pt x="101093" y="40940"/>
                        <a:pt x="80737" y="39922"/>
                      </a:cubicBezTo>
                      <a:close/>
                    </a:path>
                  </a:pathLst>
                </a:custGeom>
                <a:solidFill>
                  <a:srgbClr val="FFFFFF"/>
                </a:solidFill>
                <a:ln w="9398" cap="flat">
                  <a:noFill/>
                  <a:prstDash val="solid"/>
                  <a:miter/>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grpSp>
          <p:sp>
            <p:nvSpPr>
              <p:cNvPr id="222" name="TextBox 221">
                <a:extLst>
                  <a:ext uri="{FF2B5EF4-FFF2-40B4-BE49-F238E27FC236}">
                    <a16:creationId xmlns:a16="http://schemas.microsoft.com/office/drawing/2014/main" id="{8212942E-B999-4A3E-B3CB-C2F60CDF9E3E}"/>
                  </a:ext>
                </a:extLst>
              </p:cNvPr>
              <p:cNvSpPr txBox="1"/>
              <p:nvPr/>
            </p:nvSpPr>
            <p:spPr>
              <a:xfrm>
                <a:off x="10070720" y="6002014"/>
                <a:ext cx="533800" cy="276999"/>
              </a:xfrm>
              <a:prstGeom prst="rect">
                <a:avLst/>
              </a:prstGeom>
              <a:noFill/>
            </p:spPr>
            <p:txBody>
              <a:bodyPr wrap="none" lIns="0" tIns="0" rIns="0" bIns="0" rtlCol="0">
                <a:spAutoFit/>
              </a:bodyPr>
              <a:lstStyle/>
              <a:p>
                <a:pPr marL="0" marR="0" lvl="0" indent="0" algn="l" defTabSz="731520" rtl="0" eaLnBrk="1" fontAlgn="auto" latinLnBrk="0" hangingPunct="1">
                  <a:lnSpc>
                    <a:spcPct val="90000"/>
                  </a:lnSpc>
                  <a:spcBef>
                    <a:spcPts val="0"/>
                  </a:spcBef>
                  <a:spcAft>
                    <a:spcPts val="18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mazon Ember"/>
                    <a:ea typeface="+mn-ea"/>
                    <a:cs typeface="+mn-cs"/>
                  </a:rPr>
                  <a:t>MPA</a:t>
                </a:r>
              </a:p>
            </p:txBody>
          </p:sp>
        </p:grpSp>
        <p:pic>
          <p:nvPicPr>
            <p:cNvPr id="8194" name="Picture 2"/>
            <p:cNvPicPr>
              <a:picLocks noChangeAspect="1" noChangeArrowheads="1"/>
            </p:cNvPicPr>
            <p:nvPr/>
          </p:nvPicPr>
          <p:blipFill>
            <a:blip r:embed="rId8"/>
            <a:srcRect/>
            <a:stretch/>
          </p:blipFill>
          <p:spPr bwMode="auto">
            <a:xfrm>
              <a:off x="10913494" y="6381853"/>
              <a:ext cx="1400276" cy="583448"/>
            </a:xfrm>
            <a:prstGeom prst="rect">
              <a:avLst/>
            </a:prstGeom>
            <a:noFill/>
            <a:extLst>
              <a:ext uri="{909E8E84-426E-40DD-AFC4-6F175D3DCCD1}">
                <a14:hiddenFill xmlns:a14="http://schemas.microsoft.com/office/drawing/2010/main">
                  <a:solidFill>
                    <a:srgbClr val="FFFFFF"/>
                  </a:solidFill>
                </a14:hiddenFill>
              </a:ext>
            </a:extLst>
          </p:spPr>
        </p:pic>
      </p:grpSp>
      <p:sp>
        <p:nvSpPr>
          <p:cNvPr id="144" name="TextBox 143">
            <a:extLst>
              <a:ext uri="{FF2B5EF4-FFF2-40B4-BE49-F238E27FC236}">
                <a16:creationId xmlns:a16="http://schemas.microsoft.com/office/drawing/2014/main" id="{7D6F68CF-44C3-884E-8B78-DFBA88992767}"/>
              </a:ext>
            </a:extLst>
          </p:cNvPr>
          <p:cNvSpPr txBox="1"/>
          <p:nvPr/>
        </p:nvSpPr>
        <p:spPr>
          <a:xfrm>
            <a:off x="3654813" y="6109171"/>
            <a:ext cx="1838645" cy="221599"/>
          </a:xfrm>
          <a:prstGeom prst="rect">
            <a:avLst/>
          </a:prstGeom>
          <a:noFill/>
        </p:spPr>
        <p:txBody>
          <a:bodyPr wrap="none" lIns="0" tIns="0" rIns="0" bIns="0" rtlCol="0">
            <a:spAutoFit/>
          </a:bodyPr>
          <a:lstStyle/>
          <a:p>
            <a:pPr marL="0" marR="0" lvl="0" indent="0" algn="l" defTabSz="731520" rtl="0" eaLnBrk="1" fontAlgn="auto" latinLnBrk="0" hangingPunct="1">
              <a:lnSpc>
                <a:spcPct val="90000"/>
              </a:lnSpc>
              <a:spcBef>
                <a:spcPts val="0"/>
              </a:spcBef>
              <a:spcAft>
                <a:spcPts val="18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mazon Ember"/>
                <a:ea typeface="+mn-ea"/>
                <a:cs typeface="+mn-cs"/>
              </a:rPr>
              <a:t>Migration Evaluator</a:t>
            </a:r>
          </a:p>
        </p:txBody>
      </p:sp>
      <p:sp>
        <p:nvSpPr>
          <p:cNvPr id="145" name="TextBox 144">
            <a:extLst>
              <a:ext uri="{FF2B5EF4-FFF2-40B4-BE49-F238E27FC236}">
                <a16:creationId xmlns:a16="http://schemas.microsoft.com/office/drawing/2014/main" id="{EA621334-7CBE-2943-886A-7123F68BA068}"/>
              </a:ext>
            </a:extLst>
          </p:cNvPr>
          <p:cNvSpPr txBox="1"/>
          <p:nvPr/>
        </p:nvSpPr>
        <p:spPr>
          <a:xfrm>
            <a:off x="8935328" y="5901610"/>
            <a:ext cx="1479572" cy="221599"/>
          </a:xfrm>
          <a:prstGeom prst="rect">
            <a:avLst/>
          </a:prstGeom>
          <a:noFill/>
        </p:spPr>
        <p:txBody>
          <a:bodyPr wrap="none" lIns="0" tIns="0" rIns="0" bIns="0" rtlCol="0">
            <a:spAutoFit/>
          </a:bodyPr>
          <a:lstStyle/>
          <a:p>
            <a:pPr marL="0" marR="0" lvl="0" indent="0" algn="l" defTabSz="731520" rtl="0" eaLnBrk="1" fontAlgn="auto" latinLnBrk="0" hangingPunct="1">
              <a:lnSpc>
                <a:spcPct val="90000"/>
              </a:lnSpc>
              <a:spcBef>
                <a:spcPts val="0"/>
              </a:spcBef>
              <a:spcAft>
                <a:spcPts val="18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mazon Ember"/>
                <a:ea typeface="+mn-ea"/>
                <a:cs typeface="+mn-cs"/>
              </a:rPr>
              <a:t>Amazon Athena</a:t>
            </a:r>
          </a:p>
        </p:txBody>
      </p:sp>
      <p:sp>
        <p:nvSpPr>
          <p:cNvPr id="146" name="TextBox 145">
            <a:extLst>
              <a:ext uri="{FF2B5EF4-FFF2-40B4-BE49-F238E27FC236}">
                <a16:creationId xmlns:a16="http://schemas.microsoft.com/office/drawing/2014/main" id="{50EDBBD0-4A37-7D4E-80E8-4B469BB58206}"/>
              </a:ext>
            </a:extLst>
          </p:cNvPr>
          <p:cNvSpPr txBox="1"/>
          <p:nvPr/>
        </p:nvSpPr>
        <p:spPr>
          <a:xfrm>
            <a:off x="12439782" y="6090945"/>
            <a:ext cx="1578958" cy="193899"/>
          </a:xfrm>
          <a:prstGeom prst="rect">
            <a:avLst/>
          </a:prstGeom>
          <a:noFill/>
        </p:spPr>
        <p:txBody>
          <a:bodyPr wrap="none" lIns="0" tIns="0" rIns="0" bIns="0" rtlCol="0">
            <a:spAutoFit/>
          </a:bodyPr>
          <a:lstStyle/>
          <a:p>
            <a:pPr marL="0" marR="0" lvl="0" indent="0" algn="l" defTabSz="731520" rtl="0" eaLnBrk="1" fontAlgn="auto" latinLnBrk="0" hangingPunct="1">
              <a:lnSpc>
                <a:spcPct val="90000"/>
              </a:lnSpc>
              <a:spcBef>
                <a:spcPts val="0"/>
              </a:spcBef>
              <a:spcAft>
                <a:spcPts val="18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mazon Ember"/>
                <a:ea typeface="+mn-ea"/>
                <a:cs typeface="+mn-cs"/>
              </a:rPr>
              <a:t>(AWS and Partners)</a:t>
            </a:r>
          </a:p>
        </p:txBody>
      </p:sp>
      <p:sp>
        <p:nvSpPr>
          <p:cNvPr id="148" name="Freeform: Shape 233">
            <a:extLst>
              <a:ext uri="{FF2B5EF4-FFF2-40B4-BE49-F238E27FC236}">
                <a16:creationId xmlns:a16="http://schemas.microsoft.com/office/drawing/2014/main" id="{056BF21D-90B6-E949-A708-2F27E0FB821E}"/>
              </a:ext>
            </a:extLst>
          </p:cNvPr>
          <p:cNvSpPr/>
          <p:nvPr/>
        </p:nvSpPr>
        <p:spPr>
          <a:xfrm>
            <a:off x="1003672" y="2758095"/>
            <a:ext cx="95838" cy="9914"/>
          </a:xfrm>
          <a:custGeom>
            <a:avLst/>
            <a:gdLst>
              <a:gd name="connsiteX0" fmla="*/ 4957 w 95838"/>
              <a:gd name="connsiteY0" fmla="*/ 4957 h 9914"/>
              <a:gd name="connsiteX1" fmla="*/ 93855 w 95838"/>
              <a:gd name="connsiteY1" fmla="*/ 4957 h 9914"/>
            </a:gdLst>
            <a:ahLst/>
            <a:cxnLst>
              <a:cxn ang="0">
                <a:pos x="connsiteX0" y="connsiteY0"/>
              </a:cxn>
              <a:cxn ang="0">
                <a:pos x="connsiteX1" y="connsiteY1"/>
              </a:cxn>
            </a:cxnLst>
            <a:rect l="l" t="t" r="r" b="b"/>
            <a:pathLst>
              <a:path w="95838" h="9914">
                <a:moveTo>
                  <a:pt x="4957" y="4957"/>
                </a:moveTo>
                <a:lnTo>
                  <a:pt x="93855" y="4957"/>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49" name="Freeform: Shape 234">
            <a:extLst>
              <a:ext uri="{FF2B5EF4-FFF2-40B4-BE49-F238E27FC236}">
                <a16:creationId xmlns:a16="http://schemas.microsoft.com/office/drawing/2014/main" id="{488A1918-7033-D34F-9002-FB74116C58A2}"/>
              </a:ext>
            </a:extLst>
          </p:cNvPr>
          <p:cNvSpPr/>
          <p:nvPr/>
        </p:nvSpPr>
        <p:spPr>
          <a:xfrm>
            <a:off x="986818" y="2726700"/>
            <a:ext cx="66095" cy="9914"/>
          </a:xfrm>
          <a:custGeom>
            <a:avLst/>
            <a:gdLst>
              <a:gd name="connsiteX0" fmla="*/ 4957 w 66095"/>
              <a:gd name="connsiteY0" fmla="*/ 4957 h 9914"/>
              <a:gd name="connsiteX1" fmla="*/ 63782 w 66095"/>
              <a:gd name="connsiteY1" fmla="*/ 4957 h 9914"/>
            </a:gdLst>
            <a:ahLst/>
            <a:cxnLst>
              <a:cxn ang="0">
                <a:pos x="connsiteX0" y="connsiteY0"/>
              </a:cxn>
              <a:cxn ang="0">
                <a:pos x="connsiteX1" y="connsiteY1"/>
              </a:cxn>
            </a:cxnLst>
            <a:rect l="l" t="t" r="r" b="b"/>
            <a:pathLst>
              <a:path w="66095" h="9914">
                <a:moveTo>
                  <a:pt x="4957" y="4957"/>
                </a:moveTo>
                <a:lnTo>
                  <a:pt x="63782" y="4957"/>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50" name="Freeform: Shape 235">
            <a:extLst>
              <a:ext uri="{FF2B5EF4-FFF2-40B4-BE49-F238E27FC236}">
                <a16:creationId xmlns:a16="http://schemas.microsoft.com/office/drawing/2014/main" id="{C8D482C3-21D8-B049-B3A4-45A77E73FB03}"/>
              </a:ext>
            </a:extLst>
          </p:cNvPr>
          <p:cNvSpPr/>
          <p:nvPr/>
        </p:nvSpPr>
        <p:spPr>
          <a:xfrm>
            <a:off x="1058861" y="2726700"/>
            <a:ext cx="33048" cy="9914"/>
          </a:xfrm>
          <a:custGeom>
            <a:avLst/>
            <a:gdLst>
              <a:gd name="connsiteX0" fmla="*/ 4957 w 33047"/>
              <a:gd name="connsiteY0" fmla="*/ 4957 h 9914"/>
              <a:gd name="connsiteX1" fmla="*/ 30073 w 33047"/>
              <a:gd name="connsiteY1" fmla="*/ 4957 h 9914"/>
            </a:gdLst>
            <a:ahLst/>
            <a:cxnLst>
              <a:cxn ang="0">
                <a:pos x="connsiteX0" y="connsiteY0"/>
              </a:cxn>
              <a:cxn ang="0">
                <a:pos x="connsiteX1" y="connsiteY1"/>
              </a:cxn>
            </a:cxnLst>
            <a:rect l="l" t="t" r="r" b="b"/>
            <a:pathLst>
              <a:path w="33047" h="9914">
                <a:moveTo>
                  <a:pt x="4957" y="4957"/>
                </a:moveTo>
                <a:lnTo>
                  <a:pt x="30073" y="4957"/>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51" name="Freeform: Shape 236">
            <a:extLst>
              <a:ext uri="{FF2B5EF4-FFF2-40B4-BE49-F238E27FC236}">
                <a16:creationId xmlns:a16="http://schemas.microsoft.com/office/drawing/2014/main" id="{590A4A28-97DE-BD49-AF10-E96E206410E4}"/>
              </a:ext>
            </a:extLst>
          </p:cNvPr>
          <p:cNvSpPr/>
          <p:nvPr/>
        </p:nvSpPr>
        <p:spPr>
          <a:xfrm>
            <a:off x="1024822" y="2695635"/>
            <a:ext cx="92533" cy="9914"/>
          </a:xfrm>
          <a:custGeom>
            <a:avLst/>
            <a:gdLst>
              <a:gd name="connsiteX0" fmla="*/ 4957 w 92533"/>
              <a:gd name="connsiteY0" fmla="*/ 4957 h 9914"/>
              <a:gd name="connsiteX1" fmla="*/ 89229 w 92533"/>
              <a:gd name="connsiteY1" fmla="*/ 4957 h 9914"/>
            </a:gdLst>
            <a:ahLst/>
            <a:cxnLst>
              <a:cxn ang="0">
                <a:pos x="connsiteX0" y="connsiteY0"/>
              </a:cxn>
              <a:cxn ang="0">
                <a:pos x="connsiteX1" y="connsiteY1"/>
              </a:cxn>
            </a:cxnLst>
            <a:rect l="l" t="t" r="r" b="b"/>
            <a:pathLst>
              <a:path w="92533" h="9914">
                <a:moveTo>
                  <a:pt x="4957" y="4957"/>
                </a:moveTo>
                <a:lnTo>
                  <a:pt x="89229" y="4957"/>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52" name="Freeform: Shape 237">
            <a:extLst>
              <a:ext uri="{FF2B5EF4-FFF2-40B4-BE49-F238E27FC236}">
                <a16:creationId xmlns:a16="http://schemas.microsoft.com/office/drawing/2014/main" id="{1468832C-0A1A-C64E-88D5-E27544396536}"/>
              </a:ext>
            </a:extLst>
          </p:cNvPr>
          <p:cNvSpPr/>
          <p:nvPr/>
        </p:nvSpPr>
        <p:spPr>
          <a:xfrm>
            <a:off x="813318" y="2427289"/>
            <a:ext cx="175152" cy="366828"/>
          </a:xfrm>
          <a:custGeom>
            <a:avLst/>
            <a:gdLst>
              <a:gd name="connsiteX0" fmla="*/ 172178 w 175152"/>
              <a:gd name="connsiteY0" fmla="*/ 4957 h 366828"/>
              <a:gd name="connsiteX1" fmla="*/ 14871 w 175152"/>
              <a:gd name="connsiteY1" fmla="*/ 4957 h 366828"/>
              <a:gd name="connsiteX2" fmla="*/ 4957 w 175152"/>
              <a:gd name="connsiteY2" fmla="*/ 14871 h 366828"/>
              <a:gd name="connsiteX3" fmla="*/ 4957 w 175152"/>
              <a:gd name="connsiteY3" fmla="*/ 355262 h 366828"/>
              <a:gd name="connsiteX4" fmla="*/ 14871 w 175152"/>
              <a:gd name="connsiteY4" fmla="*/ 365176 h 366828"/>
              <a:gd name="connsiteX5" fmla="*/ 135495 w 175152"/>
              <a:gd name="connsiteY5" fmla="*/ 365176 h 36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152" h="366828">
                <a:moveTo>
                  <a:pt x="172178" y="4957"/>
                </a:moveTo>
                <a:lnTo>
                  <a:pt x="14871" y="4957"/>
                </a:lnTo>
                <a:cubicBezTo>
                  <a:pt x="9584" y="4957"/>
                  <a:pt x="4957" y="9253"/>
                  <a:pt x="4957" y="14871"/>
                </a:cubicBezTo>
                <a:lnTo>
                  <a:pt x="4957" y="355262"/>
                </a:lnTo>
                <a:cubicBezTo>
                  <a:pt x="4957" y="360549"/>
                  <a:pt x="9253" y="365176"/>
                  <a:pt x="14871" y="365176"/>
                </a:cubicBezTo>
                <a:lnTo>
                  <a:pt x="135495" y="365176"/>
                </a:lnTo>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53" name="Freeform: Shape 238">
            <a:extLst>
              <a:ext uri="{FF2B5EF4-FFF2-40B4-BE49-F238E27FC236}">
                <a16:creationId xmlns:a16="http://schemas.microsoft.com/office/drawing/2014/main" id="{EBAAEF9B-AE71-8E4C-A352-8312283A679C}"/>
              </a:ext>
            </a:extLst>
          </p:cNvPr>
          <p:cNvSpPr/>
          <p:nvPr/>
        </p:nvSpPr>
        <p:spPr>
          <a:xfrm>
            <a:off x="980539" y="2427289"/>
            <a:ext cx="92533" cy="92533"/>
          </a:xfrm>
          <a:custGeom>
            <a:avLst/>
            <a:gdLst>
              <a:gd name="connsiteX0" fmla="*/ 4957 w 92533"/>
              <a:gd name="connsiteY0" fmla="*/ 88898 h 92533"/>
              <a:gd name="connsiteX1" fmla="*/ 88568 w 92533"/>
              <a:gd name="connsiteY1" fmla="*/ 88898 h 92533"/>
              <a:gd name="connsiteX2" fmla="*/ 4957 w 92533"/>
              <a:gd name="connsiteY2" fmla="*/ 4957 h 92533"/>
            </a:gdLst>
            <a:ahLst/>
            <a:cxnLst>
              <a:cxn ang="0">
                <a:pos x="connsiteX0" y="connsiteY0"/>
              </a:cxn>
              <a:cxn ang="0">
                <a:pos x="connsiteX1" y="connsiteY1"/>
              </a:cxn>
              <a:cxn ang="0">
                <a:pos x="connsiteX2" y="connsiteY2"/>
              </a:cxn>
            </a:cxnLst>
            <a:rect l="l" t="t" r="r" b="b"/>
            <a:pathLst>
              <a:path w="92533" h="92533">
                <a:moveTo>
                  <a:pt x="4957" y="88898"/>
                </a:moveTo>
                <a:lnTo>
                  <a:pt x="88568" y="88898"/>
                </a:lnTo>
                <a:lnTo>
                  <a:pt x="4957" y="4957"/>
                </a:ln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54" name="Freeform: Shape 239">
            <a:extLst>
              <a:ext uri="{FF2B5EF4-FFF2-40B4-BE49-F238E27FC236}">
                <a16:creationId xmlns:a16="http://schemas.microsoft.com/office/drawing/2014/main" id="{A49C8E4A-D1AD-7549-A708-F9D1F1F18768}"/>
              </a:ext>
            </a:extLst>
          </p:cNvPr>
          <p:cNvSpPr/>
          <p:nvPr/>
        </p:nvSpPr>
        <p:spPr>
          <a:xfrm>
            <a:off x="850001" y="2574020"/>
            <a:ext cx="185067" cy="9914"/>
          </a:xfrm>
          <a:custGeom>
            <a:avLst/>
            <a:gdLst>
              <a:gd name="connsiteX0" fmla="*/ 4957 w 185066"/>
              <a:gd name="connsiteY0" fmla="*/ 4957 h 9914"/>
              <a:gd name="connsiteX1" fmla="*/ 182092 w 185066"/>
              <a:gd name="connsiteY1" fmla="*/ 4957 h 9914"/>
            </a:gdLst>
            <a:ahLst/>
            <a:cxnLst>
              <a:cxn ang="0">
                <a:pos x="connsiteX0" y="connsiteY0"/>
              </a:cxn>
              <a:cxn ang="0">
                <a:pos x="connsiteX1" y="connsiteY1"/>
              </a:cxn>
            </a:cxnLst>
            <a:rect l="l" t="t" r="r" b="b"/>
            <a:pathLst>
              <a:path w="185066" h="9914">
                <a:moveTo>
                  <a:pt x="4957" y="4957"/>
                </a:moveTo>
                <a:lnTo>
                  <a:pt x="182092" y="4957"/>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55" name="Freeform: Shape 240">
            <a:extLst>
              <a:ext uri="{FF2B5EF4-FFF2-40B4-BE49-F238E27FC236}">
                <a16:creationId xmlns:a16="http://schemas.microsoft.com/office/drawing/2014/main" id="{F8276707-5ADD-E742-9BD5-3C5793D1754C}"/>
              </a:ext>
            </a:extLst>
          </p:cNvPr>
          <p:cNvSpPr/>
          <p:nvPr/>
        </p:nvSpPr>
        <p:spPr>
          <a:xfrm>
            <a:off x="850001" y="2622931"/>
            <a:ext cx="118971" cy="9914"/>
          </a:xfrm>
          <a:custGeom>
            <a:avLst/>
            <a:gdLst>
              <a:gd name="connsiteX0" fmla="*/ 4957 w 118971"/>
              <a:gd name="connsiteY0" fmla="*/ 4957 h 9914"/>
              <a:gd name="connsiteX1" fmla="*/ 114014 w 118971"/>
              <a:gd name="connsiteY1" fmla="*/ 4957 h 9914"/>
            </a:gdLst>
            <a:ahLst/>
            <a:cxnLst>
              <a:cxn ang="0">
                <a:pos x="connsiteX0" y="connsiteY0"/>
              </a:cxn>
              <a:cxn ang="0">
                <a:pos x="connsiteX1" y="connsiteY1"/>
              </a:cxn>
            </a:cxnLst>
            <a:rect l="l" t="t" r="r" b="b"/>
            <a:pathLst>
              <a:path w="118971" h="9914">
                <a:moveTo>
                  <a:pt x="4957" y="4957"/>
                </a:moveTo>
                <a:lnTo>
                  <a:pt x="114014" y="4957"/>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56" name="Freeform: Shape 241">
            <a:extLst>
              <a:ext uri="{FF2B5EF4-FFF2-40B4-BE49-F238E27FC236}">
                <a16:creationId xmlns:a16="http://schemas.microsoft.com/office/drawing/2014/main" id="{C9FF63EF-F7E9-5446-A155-BEC5BDEA3AD9}"/>
              </a:ext>
            </a:extLst>
          </p:cNvPr>
          <p:cNvSpPr/>
          <p:nvPr/>
        </p:nvSpPr>
        <p:spPr>
          <a:xfrm>
            <a:off x="850001" y="2672172"/>
            <a:ext cx="82619" cy="9914"/>
          </a:xfrm>
          <a:custGeom>
            <a:avLst/>
            <a:gdLst>
              <a:gd name="connsiteX0" fmla="*/ 4957 w 82619"/>
              <a:gd name="connsiteY0" fmla="*/ 4957 h 9914"/>
              <a:gd name="connsiteX1" fmla="*/ 78653 w 82619"/>
              <a:gd name="connsiteY1" fmla="*/ 4957 h 9914"/>
            </a:gdLst>
            <a:ahLst/>
            <a:cxnLst>
              <a:cxn ang="0">
                <a:pos x="connsiteX0" y="connsiteY0"/>
              </a:cxn>
              <a:cxn ang="0">
                <a:pos x="connsiteX1" y="connsiteY1"/>
              </a:cxn>
            </a:cxnLst>
            <a:rect l="l" t="t" r="r" b="b"/>
            <a:pathLst>
              <a:path w="82619" h="9914">
                <a:moveTo>
                  <a:pt x="4957" y="4957"/>
                </a:moveTo>
                <a:lnTo>
                  <a:pt x="78653" y="4957"/>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57" name="Freeform: Shape 242">
            <a:extLst>
              <a:ext uri="{FF2B5EF4-FFF2-40B4-BE49-F238E27FC236}">
                <a16:creationId xmlns:a16="http://schemas.microsoft.com/office/drawing/2014/main" id="{713745F5-961F-5643-BE48-06C591017347}"/>
              </a:ext>
            </a:extLst>
          </p:cNvPr>
          <p:cNvSpPr/>
          <p:nvPr/>
        </p:nvSpPr>
        <p:spPr>
          <a:xfrm>
            <a:off x="850001" y="2721412"/>
            <a:ext cx="85924" cy="9914"/>
          </a:xfrm>
          <a:custGeom>
            <a:avLst/>
            <a:gdLst>
              <a:gd name="connsiteX0" fmla="*/ 4957 w 85923"/>
              <a:gd name="connsiteY0" fmla="*/ 4957 h 9914"/>
              <a:gd name="connsiteX1" fmla="*/ 81628 w 85923"/>
              <a:gd name="connsiteY1" fmla="*/ 4957 h 9914"/>
            </a:gdLst>
            <a:ahLst/>
            <a:cxnLst>
              <a:cxn ang="0">
                <a:pos x="connsiteX0" y="connsiteY0"/>
              </a:cxn>
              <a:cxn ang="0">
                <a:pos x="connsiteX1" y="connsiteY1"/>
              </a:cxn>
            </a:cxnLst>
            <a:rect l="l" t="t" r="r" b="b"/>
            <a:pathLst>
              <a:path w="85923" h="9914">
                <a:moveTo>
                  <a:pt x="4957" y="4957"/>
                </a:moveTo>
                <a:lnTo>
                  <a:pt x="81628" y="4957"/>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58" name="Freeform: Shape 243">
            <a:extLst>
              <a:ext uri="{FF2B5EF4-FFF2-40B4-BE49-F238E27FC236}">
                <a16:creationId xmlns:a16="http://schemas.microsoft.com/office/drawing/2014/main" id="{47EC5E7C-1443-3841-A821-918B4A547716}"/>
              </a:ext>
            </a:extLst>
          </p:cNvPr>
          <p:cNvSpPr/>
          <p:nvPr/>
        </p:nvSpPr>
        <p:spPr>
          <a:xfrm>
            <a:off x="850001" y="2524779"/>
            <a:ext cx="109057" cy="9914"/>
          </a:xfrm>
          <a:custGeom>
            <a:avLst/>
            <a:gdLst>
              <a:gd name="connsiteX0" fmla="*/ 4957 w 109057"/>
              <a:gd name="connsiteY0" fmla="*/ 4957 h 9914"/>
              <a:gd name="connsiteX1" fmla="*/ 105091 w 109057"/>
              <a:gd name="connsiteY1" fmla="*/ 4957 h 9914"/>
            </a:gdLst>
            <a:ahLst/>
            <a:cxnLst>
              <a:cxn ang="0">
                <a:pos x="connsiteX0" y="connsiteY0"/>
              </a:cxn>
              <a:cxn ang="0">
                <a:pos x="connsiteX1" y="connsiteY1"/>
              </a:cxn>
            </a:cxnLst>
            <a:rect l="l" t="t" r="r" b="b"/>
            <a:pathLst>
              <a:path w="109057" h="9914">
                <a:moveTo>
                  <a:pt x="4957" y="4957"/>
                </a:moveTo>
                <a:lnTo>
                  <a:pt x="105091" y="4957"/>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59" name="Freeform: Shape 244">
            <a:extLst>
              <a:ext uri="{FF2B5EF4-FFF2-40B4-BE49-F238E27FC236}">
                <a16:creationId xmlns:a16="http://schemas.microsoft.com/office/drawing/2014/main" id="{EC816480-45C6-7D4E-8F59-683EC97B8832}"/>
              </a:ext>
            </a:extLst>
          </p:cNvPr>
          <p:cNvSpPr/>
          <p:nvPr/>
        </p:nvSpPr>
        <p:spPr>
          <a:xfrm>
            <a:off x="1064149" y="2511230"/>
            <a:ext cx="9914" cy="95838"/>
          </a:xfrm>
          <a:custGeom>
            <a:avLst/>
            <a:gdLst>
              <a:gd name="connsiteX0" fmla="*/ 4957 w 9914"/>
              <a:gd name="connsiteY0" fmla="*/ 94186 h 95838"/>
              <a:gd name="connsiteX1" fmla="*/ 4957 w 9914"/>
              <a:gd name="connsiteY1" fmla="*/ 4957 h 95838"/>
            </a:gdLst>
            <a:ahLst/>
            <a:cxnLst>
              <a:cxn ang="0">
                <a:pos x="connsiteX0" y="connsiteY0"/>
              </a:cxn>
              <a:cxn ang="0">
                <a:pos x="connsiteX1" y="connsiteY1"/>
              </a:cxn>
            </a:cxnLst>
            <a:rect l="l" t="t" r="r" b="b"/>
            <a:pathLst>
              <a:path w="9914" h="95838">
                <a:moveTo>
                  <a:pt x="4957" y="94186"/>
                </a:moveTo>
                <a:lnTo>
                  <a:pt x="4957" y="4957"/>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60" name="Freeform: Shape 245">
            <a:extLst>
              <a:ext uri="{FF2B5EF4-FFF2-40B4-BE49-F238E27FC236}">
                <a16:creationId xmlns:a16="http://schemas.microsoft.com/office/drawing/2014/main" id="{7F0411FD-F84C-6245-A940-CBD57D6DB814}"/>
              </a:ext>
            </a:extLst>
          </p:cNvPr>
          <p:cNvSpPr/>
          <p:nvPr/>
        </p:nvSpPr>
        <p:spPr>
          <a:xfrm>
            <a:off x="949804" y="2625574"/>
            <a:ext cx="211505" cy="208200"/>
          </a:xfrm>
          <a:custGeom>
            <a:avLst/>
            <a:gdLst>
              <a:gd name="connsiteX0" fmla="*/ 206548 w 211504"/>
              <a:gd name="connsiteY0" fmla="*/ 105752 h 208199"/>
              <a:gd name="connsiteX1" fmla="*/ 105752 w 211504"/>
              <a:gd name="connsiteY1" fmla="*/ 206547 h 208199"/>
              <a:gd name="connsiteX2" fmla="*/ 4957 w 211504"/>
              <a:gd name="connsiteY2" fmla="*/ 105752 h 208199"/>
              <a:gd name="connsiteX3" fmla="*/ 105752 w 211504"/>
              <a:gd name="connsiteY3" fmla="*/ 4957 h 208199"/>
              <a:gd name="connsiteX4" fmla="*/ 206548 w 211504"/>
              <a:gd name="connsiteY4" fmla="*/ 105752 h 208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504" h="208199">
                <a:moveTo>
                  <a:pt x="206548" y="105752"/>
                </a:moveTo>
                <a:cubicBezTo>
                  <a:pt x="206548" y="161420"/>
                  <a:pt x="161420" y="206547"/>
                  <a:pt x="105752" y="206547"/>
                </a:cubicBezTo>
                <a:cubicBezTo>
                  <a:pt x="50085" y="206547"/>
                  <a:pt x="4957" y="161420"/>
                  <a:pt x="4957" y="105752"/>
                </a:cubicBezTo>
                <a:cubicBezTo>
                  <a:pt x="4957" y="50085"/>
                  <a:pt x="50085" y="4957"/>
                  <a:pt x="105752" y="4957"/>
                </a:cubicBezTo>
                <a:cubicBezTo>
                  <a:pt x="161420" y="4957"/>
                  <a:pt x="206548" y="50085"/>
                  <a:pt x="206548" y="105752"/>
                </a:cubicBez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161" name="Freeform: Shape 246">
            <a:extLst>
              <a:ext uri="{FF2B5EF4-FFF2-40B4-BE49-F238E27FC236}">
                <a16:creationId xmlns:a16="http://schemas.microsoft.com/office/drawing/2014/main" id="{D4C9D303-7B3C-034D-9AB4-5B2D0BE12A8E}"/>
              </a:ext>
            </a:extLst>
          </p:cNvPr>
          <p:cNvSpPr/>
          <p:nvPr/>
        </p:nvSpPr>
        <p:spPr>
          <a:xfrm>
            <a:off x="1104798" y="2773958"/>
            <a:ext cx="128886" cy="128886"/>
          </a:xfrm>
          <a:custGeom>
            <a:avLst/>
            <a:gdLst>
              <a:gd name="connsiteX0" fmla="*/ 40979 w 128885"/>
              <a:gd name="connsiteY0" fmla="*/ 4957 h 128885"/>
              <a:gd name="connsiteX1" fmla="*/ 117319 w 128885"/>
              <a:gd name="connsiteY1" fmla="*/ 81628 h 128885"/>
              <a:gd name="connsiteX2" fmla="*/ 116658 w 128885"/>
              <a:gd name="connsiteY2" fmla="*/ 117980 h 128885"/>
              <a:gd name="connsiteX3" fmla="*/ 116658 w 128885"/>
              <a:gd name="connsiteY3" fmla="*/ 117980 h 128885"/>
              <a:gd name="connsiteX4" fmla="*/ 80306 w 128885"/>
              <a:gd name="connsiteY4" fmla="*/ 118641 h 128885"/>
              <a:gd name="connsiteX5" fmla="*/ 4957 w 128885"/>
              <a:gd name="connsiteY5" fmla="*/ 43292 h 12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885" h="128885">
                <a:moveTo>
                  <a:pt x="40979" y="4957"/>
                </a:moveTo>
                <a:lnTo>
                  <a:pt x="117319" y="81628"/>
                </a:lnTo>
                <a:cubicBezTo>
                  <a:pt x="127233" y="91542"/>
                  <a:pt x="126903" y="107735"/>
                  <a:pt x="116658" y="117980"/>
                </a:cubicBezTo>
                <a:lnTo>
                  <a:pt x="116658" y="117980"/>
                </a:lnTo>
                <a:cubicBezTo>
                  <a:pt x="106413" y="128225"/>
                  <a:pt x="90220" y="128555"/>
                  <a:pt x="80306" y="118641"/>
                </a:cubicBezTo>
                <a:lnTo>
                  <a:pt x="4957" y="43292"/>
                </a:lnTo>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90" name="Freeform: Shape 248">
            <a:extLst>
              <a:ext uri="{FF2B5EF4-FFF2-40B4-BE49-F238E27FC236}">
                <a16:creationId xmlns:a16="http://schemas.microsoft.com/office/drawing/2014/main" id="{DC3B9FD0-C266-8948-B28E-AED5BFCFA132}"/>
              </a:ext>
            </a:extLst>
          </p:cNvPr>
          <p:cNvSpPr/>
          <p:nvPr/>
        </p:nvSpPr>
        <p:spPr>
          <a:xfrm>
            <a:off x="1535232" y="4488977"/>
            <a:ext cx="237615" cy="335938"/>
          </a:xfrm>
          <a:custGeom>
            <a:avLst/>
            <a:gdLst>
              <a:gd name="connsiteX0" fmla="*/ 4097 w 237614"/>
              <a:gd name="connsiteY0" fmla="*/ 325013 h 335938"/>
              <a:gd name="connsiteX1" fmla="*/ 4097 w 237614"/>
              <a:gd name="connsiteY1" fmla="*/ 13110 h 335938"/>
              <a:gd name="connsiteX2" fmla="*/ 13110 w 237614"/>
              <a:gd name="connsiteY2" fmla="*/ 4097 h 335938"/>
              <a:gd name="connsiteX3" fmla="*/ 157317 w 237614"/>
              <a:gd name="connsiteY3" fmla="*/ 4097 h 335938"/>
              <a:gd name="connsiteX4" fmla="*/ 234064 w 237614"/>
              <a:gd name="connsiteY4" fmla="*/ 80844 h 335938"/>
              <a:gd name="connsiteX5" fmla="*/ 234064 w 237614"/>
              <a:gd name="connsiteY5" fmla="*/ 325013 h 335938"/>
              <a:gd name="connsiteX6" fmla="*/ 225051 w 237614"/>
              <a:gd name="connsiteY6" fmla="*/ 334026 h 335938"/>
              <a:gd name="connsiteX7" fmla="*/ 13110 w 237614"/>
              <a:gd name="connsiteY7" fmla="*/ 334026 h 335938"/>
              <a:gd name="connsiteX8" fmla="*/ 4097 w 237614"/>
              <a:gd name="connsiteY8" fmla="*/ 325013 h 33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614" h="335938">
                <a:moveTo>
                  <a:pt x="4097" y="325013"/>
                </a:moveTo>
                <a:lnTo>
                  <a:pt x="4097" y="13110"/>
                </a:lnTo>
                <a:cubicBezTo>
                  <a:pt x="4097" y="8194"/>
                  <a:pt x="8194" y="4097"/>
                  <a:pt x="13110" y="4097"/>
                </a:cubicBezTo>
                <a:lnTo>
                  <a:pt x="157317" y="4097"/>
                </a:lnTo>
                <a:lnTo>
                  <a:pt x="234064" y="80844"/>
                </a:lnTo>
                <a:lnTo>
                  <a:pt x="234064" y="325013"/>
                </a:lnTo>
                <a:cubicBezTo>
                  <a:pt x="234064" y="329930"/>
                  <a:pt x="229967" y="334026"/>
                  <a:pt x="225051" y="334026"/>
                </a:cubicBezTo>
                <a:lnTo>
                  <a:pt x="13110" y="334026"/>
                </a:lnTo>
                <a:cubicBezTo>
                  <a:pt x="8194" y="334026"/>
                  <a:pt x="4097" y="329930"/>
                  <a:pt x="4097" y="325013"/>
                </a:cubicBez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91" name="Freeform: Shape 249">
            <a:extLst>
              <a:ext uri="{FF2B5EF4-FFF2-40B4-BE49-F238E27FC236}">
                <a16:creationId xmlns:a16="http://schemas.microsoft.com/office/drawing/2014/main" id="{3530E3ED-AF91-BD4B-BFB7-2791D57E19DC}"/>
              </a:ext>
            </a:extLst>
          </p:cNvPr>
          <p:cNvSpPr/>
          <p:nvPr/>
        </p:nvSpPr>
        <p:spPr>
          <a:xfrm>
            <a:off x="1688453" y="4488977"/>
            <a:ext cx="84667" cy="84667"/>
          </a:xfrm>
          <a:custGeom>
            <a:avLst/>
            <a:gdLst>
              <a:gd name="connsiteX0" fmla="*/ 4097 w 84667"/>
              <a:gd name="connsiteY0" fmla="*/ 80844 h 84667"/>
              <a:gd name="connsiteX1" fmla="*/ 80844 w 84667"/>
              <a:gd name="connsiteY1" fmla="*/ 80844 h 84667"/>
              <a:gd name="connsiteX2" fmla="*/ 4097 w 84667"/>
              <a:gd name="connsiteY2" fmla="*/ 4097 h 84667"/>
            </a:gdLst>
            <a:ahLst/>
            <a:cxnLst>
              <a:cxn ang="0">
                <a:pos x="connsiteX0" y="connsiteY0"/>
              </a:cxn>
              <a:cxn ang="0">
                <a:pos x="connsiteX1" y="connsiteY1"/>
              </a:cxn>
              <a:cxn ang="0">
                <a:pos x="connsiteX2" y="connsiteY2"/>
              </a:cxn>
            </a:cxnLst>
            <a:rect l="l" t="t" r="r" b="b"/>
            <a:pathLst>
              <a:path w="84667" h="84667">
                <a:moveTo>
                  <a:pt x="4097" y="80844"/>
                </a:moveTo>
                <a:lnTo>
                  <a:pt x="80844" y="80844"/>
                </a:lnTo>
                <a:lnTo>
                  <a:pt x="4097" y="4097"/>
                </a:ln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92" name="Freeform: Shape 250">
            <a:extLst>
              <a:ext uri="{FF2B5EF4-FFF2-40B4-BE49-F238E27FC236}">
                <a16:creationId xmlns:a16="http://schemas.microsoft.com/office/drawing/2014/main" id="{CFB82F8B-1D36-AC4C-A49C-51050B647B97}"/>
              </a:ext>
            </a:extLst>
          </p:cNvPr>
          <p:cNvSpPr/>
          <p:nvPr/>
        </p:nvSpPr>
        <p:spPr>
          <a:xfrm>
            <a:off x="1569099" y="4627722"/>
            <a:ext cx="169335" cy="8194"/>
          </a:xfrm>
          <a:custGeom>
            <a:avLst/>
            <a:gdLst>
              <a:gd name="connsiteX0" fmla="*/ 4097 w 169334"/>
              <a:gd name="connsiteY0" fmla="*/ 4097 h 8193"/>
              <a:gd name="connsiteX1" fmla="*/ 166330 w 169334"/>
              <a:gd name="connsiteY1" fmla="*/ 4097 h 8193"/>
            </a:gdLst>
            <a:ahLst/>
            <a:cxnLst>
              <a:cxn ang="0">
                <a:pos x="connsiteX0" y="connsiteY0"/>
              </a:cxn>
              <a:cxn ang="0">
                <a:pos x="connsiteX1" y="connsiteY1"/>
              </a:cxn>
            </a:cxnLst>
            <a:rect l="l" t="t" r="r" b="b"/>
            <a:pathLst>
              <a:path w="169334" h="8193">
                <a:moveTo>
                  <a:pt x="4097" y="4097"/>
                </a:moveTo>
                <a:lnTo>
                  <a:pt x="166330" y="4097"/>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93" name="Freeform: Shape 251">
            <a:extLst>
              <a:ext uri="{FF2B5EF4-FFF2-40B4-BE49-F238E27FC236}">
                <a16:creationId xmlns:a16="http://schemas.microsoft.com/office/drawing/2014/main" id="{D1738C58-2508-884C-8736-8DD168483E13}"/>
              </a:ext>
            </a:extLst>
          </p:cNvPr>
          <p:cNvSpPr/>
          <p:nvPr/>
        </p:nvSpPr>
        <p:spPr>
          <a:xfrm>
            <a:off x="1569099" y="4672514"/>
            <a:ext cx="169335" cy="8194"/>
          </a:xfrm>
          <a:custGeom>
            <a:avLst/>
            <a:gdLst>
              <a:gd name="connsiteX0" fmla="*/ 4097 w 169334"/>
              <a:gd name="connsiteY0" fmla="*/ 4097 h 8193"/>
              <a:gd name="connsiteX1" fmla="*/ 166330 w 169334"/>
              <a:gd name="connsiteY1" fmla="*/ 4097 h 8193"/>
            </a:gdLst>
            <a:ahLst/>
            <a:cxnLst>
              <a:cxn ang="0">
                <a:pos x="connsiteX0" y="connsiteY0"/>
              </a:cxn>
              <a:cxn ang="0">
                <a:pos x="connsiteX1" y="connsiteY1"/>
              </a:cxn>
            </a:cxnLst>
            <a:rect l="l" t="t" r="r" b="b"/>
            <a:pathLst>
              <a:path w="169334" h="8193">
                <a:moveTo>
                  <a:pt x="4097" y="4097"/>
                </a:moveTo>
                <a:lnTo>
                  <a:pt x="166330" y="4097"/>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94" name="Freeform: Shape 252">
            <a:extLst>
              <a:ext uri="{FF2B5EF4-FFF2-40B4-BE49-F238E27FC236}">
                <a16:creationId xmlns:a16="http://schemas.microsoft.com/office/drawing/2014/main" id="{D50EC9D1-DD4A-294F-9142-0C60239623C7}"/>
              </a:ext>
            </a:extLst>
          </p:cNvPr>
          <p:cNvSpPr/>
          <p:nvPr/>
        </p:nvSpPr>
        <p:spPr>
          <a:xfrm>
            <a:off x="1569099" y="4717579"/>
            <a:ext cx="169335" cy="8194"/>
          </a:xfrm>
          <a:custGeom>
            <a:avLst/>
            <a:gdLst>
              <a:gd name="connsiteX0" fmla="*/ 4097 w 169334"/>
              <a:gd name="connsiteY0" fmla="*/ 4097 h 8193"/>
              <a:gd name="connsiteX1" fmla="*/ 166330 w 169334"/>
              <a:gd name="connsiteY1" fmla="*/ 4097 h 8193"/>
            </a:gdLst>
            <a:ahLst/>
            <a:cxnLst>
              <a:cxn ang="0">
                <a:pos x="connsiteX0" y="connsiteY0"/>
              </a:cxn>
              <a:cxn ang="0">
                <a:pos x="connsiteX1" y="connsiteY1"/>
              </a:cxn>
            </a:cxnLst>
            <a:rect l="l" t="t" r="r" b="b"/>
            <a:pathLst>
              <a:path w="169334" h="8193">
                <a:moveTo>
                  <a:pt x="4097" y="4097"/>
                </a:moveTo>
                <a:lnTo>
                  <a:pt x="166330" y="4097"/>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95" name="Freeform: Shape 253">
            <a:extLst>
              <a:ext uri="{FF2B5EF4-FFF2-40B4-BE49-F238E27FC236}">
                <a16:creationId xmlns:a16="http://schemas.microsoft.com/office/drawing/2014/main" id="{28716FDB-ED80-D045-8DC4-3AFD90B6085F}"/>
              </a:ext>
            </a:extLst>
          </p:cNvPr>
          <p:cNvSpPr/>
          <p:nvPr/>
        </p:nvSpPr>
        <p:spPr>
          <a:xfrm>
            <a:off x="1569099" y="4762644"/>
            <a:ext cx="169335" cy="8194"/>
          </a:xfrm>
          <a:custGeom>
            <a:avLst/>
            <a:gdLst>
              <a:gd name="connsiteX0" fmla="*/ 4097 w 169334"/>
              <a:gd name="connsiteY0" fmla="*/ 4097 h 8193"/>
              <a:gd name="connsiteX1" fmla="*/ 166330 w 169334"/>
              <a:gd name="connsiteY1" fmla="*/ 4097 h 8193"/>
            </a:gdLst>
            <a:ahLst/>
            <a:cxnLst>
              <a:cxn ang="0">
                <a:pos x="connsiteX0" y="connsiteY0"/>
              </a:cxn>
              <a:cxn ang="0">
                <a:pos x="connsiteX1" y="connsiteY1"/>
              </a:cxn>
            </a:cxnLst>
            <a:rect l="l" t="t" r="r" b="b"/>
            <a:pathLst>
              <a:path w="169334" h="8193">
                <a:moveTo>
                  <a:pt x="4097" y="4097"/>
                </a:moveTo>
                <a:lnTo>
                  <a:pt x="166330" y="4097"/>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96" name="Freeform: Shape 254">
            <a:extLst>
              <a:ext uri="{FF2B5EF4-FFF2-40B4-BE49-F238E27FC236}">
                <a16:creationId xmlns:a16="http://schemas.microsoft.com/office/drawing/2014/main" id="{059AA951-7FBC-1A49-A817-80204E07DDF1}"/>
              </a:ext>
            </a:extLst>
          </p:cNvPr>
          <p:cNvSpPr/>
          <p:nvPr/>
        </p:nvSpPr>
        <p:spPr>
          <a:xfrm>
            <a:off x="1569099" y="4582657"/>
            <a:ext cx="98323" cy="8194"/>
          </a:xfrm>
          <a:custGeom>
            <a:avLst/>
            <a:gdLst>
              <a:gd name="connsiteX0" fmla="*/ 4097 w 98323"/>
              <a:gd name="connsiteY0" fmla="*/ 4097 h 8193"/>
              <a:gd name="connsiteX1" fmla="*/ 96138 w 98323"/>
              <a:gd name="connsiteY1" fmla="*/ 4097 h 8193"/>
            </a:gdLst>
            <a:ahLst/>
            <a:cxnLst>
              <a:cxn ang="0">
                <a:pos x="connsiteX0" y="connsiteY0"/>
              </a:cxn>
              <a:cxn ang="0">
                <a:pos x="connsiteX1" y="connsiteY1"/>
              </a:cxn>
            </a:cxnLst>
            <a:rect l="l" t="t" r="r" b="b"/>
            <a:pathLst>
              <a:path w="98323" h="8193">
                <a:moveTo>
                  <a:pt x="4097" y="4097"/>
                </a:moveTo>
                <a:lnTo>
                  <a:pt x="96138" y="4097"/>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97" name="Freeform 10">
            <a:extLst>
              <a:ext uri="{FF2B5EF4-FFF2-40B4-BE49-F238E27FC236}">
                <a16:creationId xmlns:a16="http://schemas.microsoft.com/office/drawing/2014/main" id="{E668E50B-2355-8044-BB76-9BABB696D14F}"/>
              </a:ext>
            </a:extLst>
          </p:cNvPr>
          <p:cNvSpPr>
            <a:spLocks/>
          </p:cNvSpPr>
          <p:nvPr/>
        </p:nvSpPr>
        <p:spPr bwMode="auto">
          <a:xfrm>
            <a:off x="1249839" y="4886716"/>
            <a:ext cx="835165" cy="153888"/>
          </a:xfrm>
          <a:prstGeom prst="rect">
            <a:avLst/>
          </a:prstGeom>
          <a:noFill/>
          <a:ln w="19050">
            <a:noFill/>
            <a:round/>
            <a:headEnd/>
            <a:tailEnd/>
          </a:ln>
        </p:spPr>
        <p:txBody>
          <a:bodyPr vert="horz" wrap="none" lIns="0" tIns="0" rIns="0" bIns="0" numCol="1" anchor="ctr" anchorCtr="0" compatLnSpc="1">
            <a:prstTxWarp prst="textNoShape">
              <a:avLst/>
            </a:prstTxWarp>
            <a:spAutoFit/>
          </a:bodyPr>
          <a:lstStyle/>
          <a:p>
            <a:pPr marL="0" marR="0" lvl="0" indent="0" algn="ctr" defTabSz="73152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mazon Ember"/>
                <a:ea typeface="+mn-ea"/>
                <a:cs typeface="+mn-cs"/>
              </a:rPr>
              <a:t>Business Data </a:t>
            </a:r>
          </a:p>
        </p:txBody>
      </p:sp>
      <p:sp>
        <p:nvSpPr>
          <p:cNvPr id="298" name="Freeform: Shape 248">
            <a:extLst>
              <a:ext uri="{FF2B5EF4-FFF2-40B4-BE49-F238E27FC236}">
                <a16:creationId xmlns:a16="http://schemas.microsoft.com/office/drawing/2014/main" id="{4558A38E-7649-CA40-A9EA-0FE06CE6E9AB}"/>
              </a:ext>
            </a:extLst>
          </p:cNvPr>
          <p:cNvSpPr/>
          <p:nvPr/>
        </p:nvSpPr>
        <p:spPr>
          <a:xfrm>
            <a:off x="2553776" y="4498536"/>
            <a:ext cx="237615" cy="335938"/>
          </a:xfrm>
          <a:custGeom>
            <a:avLst/>
            <a:gdLst>
              <a:gd name="connsiteX0" fmla="*/ 4097 w 237614"/>
              <a:gd name="connsiteY0" fmla="*/ 325013 h 335938"/>
              <a:gd name="connsiteX1" fmla="*/ 4097 w 237614"/>
              <a:gd name="connsiteY1" fmla="*/ 13110 h 335938"/>
              <a:gd name="connsiteX2" fmla="*/ 13110 w 237614"/>
              <a:gd name="connsiteY2" fmla="*/ 4097 h 335938"/>
              <a:gd name="connsiteX3" fmla="*/ 157317 w 237614"/>
              <a:gd name="connsiteY3" fmla="*/ 4097 h 335938"/>
              <a:gd name="connsiteX4" fmla="*/ 234064 w 237614"/>
              <a:gd name="connsiteY4" fmla="*/ 80844 h 335938"/>
              <a:gd name="connsiteX5" fmla="*/ 234064 w 237614"/>
              <a:gd name="connsiteY5" fmla="*/ 325013 h 335938"/>
              <a:gd name="connsiteX6" fmla="*/ 225051 w 237614"/>
              <a:gd name="connsiteY6" fmla="*/ 334026 h 335938"/>
              <a:gd name="connsiteX7" fmla="*/ 13110 w 237614"/>
              <a:gd name="connsiteY7" fmla="*/ 334026 h 335938"/>
              <a:gd name="connsiteX8" fmla="*/ 4097 w 237614"/>
              <a:gd name="connsiteY8" fmla="*/ 325013 h 33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614" h="335938">
                <a:moveTo>
                  <a:pt x="4097" y="325013"/>
                </a:moveTo>
                <a:lnTo>
                  <a:pt x="4097" y="13110"/>
                </a:lnTo>
                <a:cubicBezTo>
                  <a:pt x="4097" y="8194"/>
                  <a:pt x="8194" y="4097"/>
                  <a:pt x="13110" y="4097"/>
                </a:cubicBezTo>
                <a:lnTo>
                  <a:pt x="157317" y="4097"/>
                </a:lnTo>
                <a:lnTo>
                  <a:pt x="234064" y="80844"/>
                </a:lnTo>
                <a:lnTo>
                  <a:pt x="234064" y="325013"/>
                </a:lnTo>
                <a:cubicBezTo>
                  <a:pt x="234064" y="329930"/>
                  <a:pt x="229967" y="334026"/>
                  <a:pt x="225051" y="334026"/>
                </a:cubicBezTo>
                <a:lnTo>
                  <a:pt x="13110" y="334026"/>
                </a:lnTo>
                <a:cubicBezTo>
                  <a:pt x="8194" y="334026"/>
                  <a:pt x="4097" y="329930"/>
                  <a:pt x="4097" y="325013"/>
                </a:cubicBez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299" name="Freeform: Shape 249">
            <a:extLst>
              <a:ext uri="{FF2B5EF4-FFF2-40B4-BE49-F238E27FC236}">
                <a16:creationId xmlns:a16="http://schemas.microsoft.com/office/drawing/2014/main" id="{7A2BBDBF-BAB7-DA4A-9760-81810AC87090}"/>
              </a:ext>
            </a:extLst>
          </p:cNvPr>
          <p:cNvSpPr/>
          <p:nvPr/>
        </p:nvSpPr>
        <p:spPr>
          <a:xfrm>
            <a:off x="2706997" y="4498536"/>
            <a:ext cx="84667" cy="84667"/>
          </a:xfrm>
          <a:custGeom>
            <a:avLst/>
            <a:gdLst>
              <a:gd name="connsiteX0" fmla="*/ 4097 w 84667"/>
              <a:gd name="connsiteY0" fmla="*/ 80844 h 84667"/>
              <a:gd name="connsiteX1" fmla="*/ 80844 w 84667"/>
              <a:gd name="connsiteY1" fmla="*/ 80844 h 84667"/>
              <a:gd name="connsiteX2" fmla="*/ 4097 w 84667"/>
              <a:gd name="connsiteY2" fmla="*/ 4097 h 84667"/>
            </a:gdLst>
            <a:ahLst/>
            <a:cxnLst>
              <a:cxn ang="0">
                <a:pos x="connsiteX0" y="connsiteY0"/>
              </a:cxn>
              <a:cxn ang="0">
                <a:pos x="connsiteX1" y="connsiteY1"/>
              </a:cxn>
              <a:cxn ang="0">
                <a:pos x="connsiteX2" y="connsiteY2"/>
              </a:cxn>
            </a:cxnLst>
            <a:rect l="l" t="t" r="r" b="b"/>
            <a:pathLst>
              <a:path w="84667" h="84667">
                <a:moveTo>
                  <a:pt x="4097" y="80844"/>
                </a:moveTo>
                <a:lnTo>
                  <a:pt x="80844" y="80844"/>
                </a:lnTo>
                <a:lnTo>
                  <a:pt x="4097" y="4097"/>
                </a:ln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300" name="Freeform: Shape 250">
            <a:extLst>
              <a:ext uri="{FF2B5EF4-FFF2-40B4-BE49-F238E27FC236}">
                <a16:creationId xmlns:a16="http://schemas.microsoft.com/office/drawing/2014/main" id="{1BC94C51-04BE-AB42-80CA-5D3028A7A9A6}"/>
              </a:ext>
            </a:extLst>
          </p:cNvPr>
          <p:cNvSpPr/>
          <p:nvPr/>
        </p:nvSpPr>
        <p:spPr>
          <a:xfrm>
            <a:off x="2587643" y="4637281"/>
            <a:ext cx="169335" cy="8194"/>
          </a:xfrm>
          <a:custGeom>
            <a:avLst/>
            <a:gdLst>
              <a:gd name="connsiteX0" fmla="*/ 4097 w 169334"/>
              <a:gd name="connsiteY0" fmla="*/ 4097 h 8193"/>
              <a:gd name="connsiteX1" fmla="*/ 166330 w 169334"/>
              <a:gd name="connsiteY1" fmla="*/ 4097 h 8193"/>
            </a:gdLst>
            <a:ahLst/>
            <a:cxnLst>
              <a:cxn ang="0">
                <a:pos x="connsiteX0" y="connsiteY0"/>
              </a:cxn>
              <a:cxn ang="0">
                <a:pos x="connsiteX1" y="connsiteY1"/>
              </a:cxn>
            </a:cxnLst>
            <a:rect l="l" t="t" r="r" b="b"/>
            <a:pathLst>
              <a:path w="169334" h="8193">
                <a:moveTo>
                  <a:pt x="4097" y="4097"/>
                </a:moveTo>
                <a:lnTo>
                  <a:pt x="166330" y="4097"/>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301" name="Freeform: Shape 251">
            <a:extLst>
              <a:ext uri="{FF2B5EF4-FFF2-40B4-BE49-F238E27FC236}">
                <a16:creationId xmlns:a16="http://schemas.microsoft.com/office/drawing/2014/main" id="{57355A1C-92D3-144D-BF4B-5E392903E842}"/>
              </a:ext>
            </a:extLst>
          </p:cNvPr>
          <p:cNvSpPr/>
          <p:nvPr/>
        </p:nvSpPr>
        <p:spPr>
          <a:xfrm>
            <a:off x="2587643" y="4682073"/>
            <a:ext cx="169335" cy="8194"/>
          </a:xfrm>
          <a:custGeom>
            <a:avLst/>
            <a:gdLst>
              <a:gd name="connsiteX0" fmla="*/ 4097 w 169334"/>
              <a:gd name="connsiteY0" fmla="*/ 4097 h 8193"/>
              <a:gd name="connsiteX1" fmla="*/ 166330 w 169334"/>
              <a:gd name="connsiteY1" fmla="*/ 4097 h 8193"/>
            </a:gdLst>
            <a:ahLst/>
            <a:cxnLst>
              <a:cxn ang="0">
                <a:pos x="connsiteX0" y="connsiteY0"/>
              </a:cxn>
              <a:cxn ang="0">
                <a:pos x="connsiteX1" y="connsiteY1"/>
              </a:cxn>
            </a:cxnLst>
            <a:rect l="l" t="t" r="r" b="b"/>
            <a:pathLst>
              <a:path w="169334" h="8193">
                <a:moveTo>
                  <a:pt x="4097" y="4097"/>
                </a:moveTo>
                <a:lnTo>
                  <a:pt x="166330" y="4097"/>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302" name="Freeform: Shape 252">
            <a:extLst>
              <a:ext uri="{FF2B5EF4-FFF2-40B4-BE49-F238E27FC236}">
                <a16:creationId xmlns:a16="http://schemas.microsoft.com/office/drawing/2014/main" id="{756E64A3-88B7-924B-A0CA-18294C26D7CB}"/>
              </a:ext>
            </a:extLst>
          </p:cNvPr>
          <p:cNvSpPr/>
          <p:nvPr/>
        </p:nvSpPr>
        <p:spPr>
          <a:xfrm>
            <a:off x="2587643" y="4727138"/>
            <a:ext cx="169335" cy="8194"/>
          </a:xfrm>
          <a:custGeom>
            <a:avLst/>
            <a:gdLst>
              <a:gd name="connsiteX0" fmla="*/ 4097 w 169334"/>
              <a:gd name="connsiteY0" fmla="*/ 4097 h 8193"/>
              <a:gd name="connsiteX1" fmla="*/ 166330 w 169334"/>
              <a:gd name="connsiteY1" fmla="*/ 4097 h 8193"/>
            </a:gdLst>
            <a:ahLst/>
            <a:cxnLst>
              <a:cxn ang="0">
                <a:pos x="connsiteX0" y="connsiteY0"/>
              </a:cxn>
              <a:cxn ang="0">
                <a:pos x="connsiteX1" y="connsiteY1"/>
              </a:cxn>
            </a:cxnLst>
            <a:rect l="l" t="t" r="r" b="b"/>
            <a:pathLst>
              <a:path w="169334" h="8193">
                <a:moveTo>
                  <a:pt x="4097" y="4097"/>
                </a:moveTo>
                <a:lnTo>
                  <a:pt x="166330" y="4097"/>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303" name="Freeform: Shape 253">
            <a:extLst>
              <a:ext uri="{FF2B5EF4-FFF2-40B4-BE49-F238E27FC236}">
                <a16:creationId xmlns:a16="http://schemas.microsoft.com/office/drawing/2014/main" id="{EB6199BB-9489-374E-8779-2AD6CB6BA9A9}"/>
              </a:ext>
            </a:extLst>
          </p:cNvPr>
          <p:cNvSpPr/>
          <p:nvPr/>
        </p:nvSpPr>
        <p:spPr>
          <a:xfrm>
            <a:off x="2587643" y="4772203"/>
            <a:ext cx="169335" cy="8194"/>
          </a:xfrm>
          <a:custGeom>
            <a:avLst/>
            <a:gdLst>
              <a:gd name="connsiteX0" fmla="*/ 4097 w 169334"/>
              <a:gd name="connsiteY0" fmla="*/ 4097 h 8193"/>
              <a:gd name="connsiteX1" fmla="*/ 166330 w 169334"/>
              <a:gd name="connsiteY1" fmla="*/ 4097 h 8193"/>
            </a:gdLst>
            <a:ahLst/>
            <a:cxnLst>
              <a:cxn ang="0">
                <a:pos x="connsiteX0" y="connsiteY0"/>
              </a:cxn>
              <a:cxn ang="0">
                <a:pos x="connsiteX1" y="connsiteY1"/>
              </a:cxn>
            </a:cxnLst>
            <a:rect l="l" t="t" r="r" b="b"/>
            <a:pathLst>
              <a:path w="169334" h="8193">
                <a:moveTo>
                  <a:pt x="4097" y="4097"/>
                </a:moveTo>
                <a:lnTo>
                  <a:pt x="166330" y="4097"/>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304" name="Freeform: Shape 254">
            <a:extLst>
              <a:ext uri="{FF2B5EF4-FFF2-40B4-BE49-F238E27FC236}">
                <a16:creationId xmlns:a16="http://schemas.microsoft.com/office/drawing/2014/main" id="{36BC9383-F46F-7B4E-B10B-2A93D30F22F0}"/>
              </a:ext>
            </a:extLst>
          </p:cNvPr>
          <p:cNvSpPr/>
          <p:nvPr/>
        </p:nvSpPr>
        <p:spPr>
          <a:xfrm>
            <a:off x="2587643" y="4592216"/>
            <a:ext cx="98323" cy="8194"/>
          </a:xfrm>
          <a:custGeom>
            <a:avLst/>
            <a:gdLst>
              <a:gd name="connsiteX0" fmla="*/ 4097 w 98323"/>
              <a:gd name="connsiteY0" fmla="*/ 4097 h 8193"/>
              <a:gd name="connsiteX1" fmla="*/ 96138 w 98323"/>
              <a:gd name="connsiteY1" fmla="*/ 4097 h 8193"/>
            </a:gdLst>
            <a:ahLst/>
            <a:cxnLst>
              <a:cxn ang="0">
                <a:pos x="connsiteX0" y="connsiteY0"/>
              </a:cxn>
              <a:cxn ang="0">
                <a:pos x="connsiteX1" y="connsiteY1"/>
              </a:cxn>
            </a:cxnLst>
            <a:rect l="l" t="t" r="r" b="b"/>
            <a:pathLst>
              <a:path w="98323" h="8193">
                <a:moveTo>
                  <a:pt x="4097" y="4097"/>
                </a:moveTo>
                <a:lnTo>
                  <a:pt x="96138" y="4097"/>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305" name="Freeform 10">
            <a:extLst>
              <a:ext uri="{FF2B5EF4-FFF2-40B4-BE49-F238E27FC236}">
                <a16:creationId xmlns:a16="http://schemas.microsoft.com/office/drawing/2014/main" id="{A7EF14C5-3FF0-F04F-B7F1-45A1E2AC437D}"/>
              </a:ext>
            </a:extLst>
          </p:cNvPr>
          <p:cNvSpPr>
            <a:spLocks/>
          </p:cNvSpPr>
          <p:nvPr/>
        </p:nvSpPr>
        <p:spPr bwMode="auto">
          <a:xfrm>
            <a:off x="2527239" y="4893218"/>
            <a:ext cx="290144" cy="153888"/>
          </a:xfrm>
          <a:prstGeom prst="rect">
            <a:avLst/>
          </a:prstGeom>
          <a:noFill/>
          <a:ln w="19050">
            <a:noFill/>
            <a:round/>
            <a:headEnd/>
            <a:tailEnd/>
          </a:ln>
        </p:spPr>
        <p:txBody>
          <a:bodyPr vert="horz" wrap="none" lIns="0" tIns="0" rIns="0" bIns="0" numCol="1" anchor="ctr" anchorCtr="0" compatLnSpc="1">
            <a:prstTxWarp prst="textNoShape">
              <a:avLst/>
            </a:prstTxWarp>
            <a:spAutoFit/>
          </a:bodyPr>
          <a:lstStyle/>
          <a:p>
            <a:pPr marL="0" marR="0" lvl="0" indent="0" algn="ctr" defTabSz="73152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mazon Ember"/>
                <a:ea typeface="+mn-ea"/>
                <a:cs typeface="+mn-cs"/>
              </a:rPr>
              <a:t>ITSM</a:t>
            </a:r>
          </a:p>
        </p:txBody>
      </p:sp>
      <p:cxnSp>
        <p:nvCxnSpPr>
          <p:cNvPr id="307" name="Straight Connector 306">
            <a:extLst>
              <a:ext uri="{FF2B5EF4-FFF2-40B4-BE49-F238E27FC236}">
                <a16:creationId xmlns:a16="http://schemas.microsoft.com/office/drawing/2014/main" id="{FA0D29A7-6131-ED46-9E28-2A60EF813143}"/>
              </a:ext>
            </a:extLst>
          </p:cNvPr>
          <p:cNvCxnSpPr>
            <a:cxnSpLocks/>
          </p:cNvCxnSpPr>
          <p:nvPr/>
        </p:nvCxnSpPr>
        <p:spPr>
          <a:xfrm flipV="1">
            <a:off x="5256093" y="3003349"/>
            <a:ext cx="3" cy="2548954"/>
          </a:xfrm>
          <a:prstGeom prst="line">
            <a:avLst/>
          </a:prstGeom>
          <a:ln w="19050">
            <a:solidFill>
              <a:schemeClr val="accent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1E8F4F10-1240-8441-93A5-6884EFF4250F}"/>
              </a:ext>
            </a:extLst>
          </p:cNvPr>
          <p:cNvSpPr/>
          <p:nvPr/>
        </p:nvSpPr>
        <p:spPr>
          <a:xfrm>
            <a:off x="256478" y="5552303"/>
            <a:ext cx="14050537" cy="2007857"/>
          </a:xfrm>
          <a:prstGeom prst="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08" name="Freeform 10">
            <a:extLst>
              <a:ext uri="{FF2B5EF4-FFF2-40B4-BE49-F238E27FC236}">
                <a16:creationId xmlns:a16="http://schemas.microsoft.com/office/drawing/2014/main" id="{8A0CB923-0709-F744-80FC-C33632D35DE8}"/>
              </a:ext>
            </a:extLst>
          </p:cNvPr>
          <p:cNvSpPr>
            <a:spLocks/>
          </p:cNvSpPr>
          <p:nvPr/>
        </p:nvSpPr>
        <p:spPr bwMode="auto">
          <a:xfrm>
            <a:off x="3397418" y="5083655"/>
            <a:ext cx="3717364" cy="307777"/>
          </a:xfrm>
          <a:prstGeom prst="rect">
            <a:avLst/>
          </a:prstGeom>
          <a:solidFill>
            <a:schemeClr val="bg2"/>
          </a:solidFill>
          <a:ln w="19050">
            <a:noFill/>
            <a:round/>
            <a:headEnd/>
            <a:tailEnd/>
          </a:ln>
        </p:spPr>
        <p:txBody>
          <a:bodyPr vert="horz" wrap="none" lIns="0" tIns="0" rIns="0" bIns="0" numCol="1" anchor="ctr" anchorCtr="0" compatLnSpc="1">
            <a:prstTxWarp prst="textNoShape">
              <a:avLst/>
            </a:prstTxWarp>
            <a:spAutoFit/>
          </a:bodyPr>
          <a:lstStyle/>
          <a:p>
            <a:pPr marL="0" marR="0" lvl="0" indent="0" algn="ctr" defTabSz="73152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mazon Ember"/>
                <a:ea typeface="+mn-ea"/>
                <a:cs typeface="+mn-cs"/>
              </a:rPr>
              <a:t>Tooling &amp; Prescriptive Guidance</a:t>
            </a:r>
          </a:p>
        </p:txBody>
      </p:sp>
      <p:sp>
        <p:nvSpPr>
          <p:cNvPr id="309" name="Freeform 10">
            <a:extLst>
              <a:ext uri="{FF2B5EF4-FFF2-40B4-BE49-F238E27FC236}">
                <a16:creationId xmlns:a16="http://schemas.microsoft.com/office/drawing/2014/main" id="{D631203B-04FF-774F-9360-5C6343866ED1}"/>
              </a:ext>
            </a:extLst>
          </p:cNvPr>
          <p:cNvSpPr>
            <a:spLocks/>
          </p:cNvSpPr>
          <p:nvPr/>
        </p:nvSpPr>
        <p:spPr bwMode="auto">
          <a:xfrm>
            <a:off x="8131406" y="4254122"/>
            <a:ext cx="2595262" cy="184666"/>
          </a:xfrm>
          <a:prstGeom prst="rect">
            <a:avLst/>
          </a:prstGeom>
          <a:noFill/>
          <a:ln w="19050">
            <a:noFill/>
            <a:round/>
            <a:headEnd/>
            <a:tailEnd/>
          </a:ln>
        </p:spPr>
        <p:txBody>
          <a:bodyPr vert="horz" wrap="none" lIns="0" tIns="0" rIns="0" bIns="0" numCol="1" anchor="ctr" anchorCtr="0" compatLnSpc="1">
            <a:prstTxWarp prst="textNoShape">
              <a:avLst/>
            </a:prstTxWarp>
            <a:spAutoFit/>
          </a:bodyPr>
          <a:lstStyle/>
          <a:p>
            <a:pPr marL="0" marR="0" lvl="0" indent="0" algn="ctr" defTabSz="731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mazon Ember"/>
                <a:ea typeface="+mn-ea"/>
                <a:cs typeface="+mn-cs"/>
              </a:rPr>
              <a:t>Business and Technical Requirements</a:t>
            </a:r>
          </a:p>
        </p:txBody>
      </p:sp>
      <p:sp>
        <p:nvSpPr>
          <p:cNvPr id="310" name="Oval 309">
            <a:extLst>
              <a:ext uri="{FF2B5EF4-FFF2-40B4-BE49-F238E27FC236}">
                <a16:creationId xmlns:a16="http://schemas.microsoft.com/office/drawing/2014/main" id="{4E7EBCEC-2A35-9A48-9B54-5008E9BFD217}"/>
              </a:ext>
            </a:extLst>
          </p:cNvPr>
          <p:cNvSpPr>
            <a:spLocks noChangeAspect="1"/>
          </p:cNvSpPr>
          <p:nvPr/>
        </p:nvSpPr>
        <p:spPr bwMode="auto">
          <a:xfrm>
            <a:off x="11350564" y="4543751"/>
            <a:ext cx="182880" cy="1828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20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mazon Ember"/>
                <a:ea typeface="Segoe UI" pitchFamily="34" charset="0"/>
                <a:cs typeface="Segoe UI" pitchFamily="34" charset="0"/>
              </a:rPr>
              <a:t>Wave Plan</a:t>
            </a:r>
          </a:p>
        </p:txBody>
      </p:sp>
      <p:cxnSp>
        <p:nvCxnSpPr>
          <p:cNvPr id="312" name="Straight Arrow Connector 311">
            <a:extLst>
              <a:ext uri="{FF2B5EF4-FFF2-40B4-BE49-F238E27FC236}">
                <a16:creationId xmlns:a16="http://schemas.microsoft.com/office/drawing/2014/main" id="{10626E3F-AE61-AC44-8E3A-4CBB63FBACA8}"/>
              </a:ext>
            </a:extLst>
          </p:cNvPr>
          <p:cNvCxnSpPr>
            <a:cxnSpLocks/>
          </p:cNvCxnSpPr>
          <p:nvPr/>
        </p:nvCxnSpPr>
        <p:spPr>
          <a:xfrm>
            <a:off x="8838312" y="2853160"/>
            <a:ext cx="2170654" cy="0"/>
          </a:xfrm>
          <a:prstGeom prst="straightConnector1">
            <a:avLst/>
          </a:prstGeom>
          <a:ln w="38100">
            <a:solidFill>
              <a:schemeClr val="accent1"/>
            </a:solidFill>
            <a:prstDash val="solid"/>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13" name="Straight Arrow Connector 312">
            <a:extLst>
              <a:ext uri="{FF2B5EF4-FFF2-40B4-BE49-F238E27FC236}">
                <a16:creationId xmlns:a16="http://schemas.microsoft.com/office/drawing/2014/main" id="{0F78AA53-8164-0944-A2D6-7B53DA759AAF}"/>
              </a:ext>
            </a:extLst>
          </p:cNvPr>
          <p:cNvCxnSpPr>
            <a:cxnSpLocks/>
          </p:cNvCxnSpPr>
          <p:nvPr/>
        </p:nvCxnSpPr>
        <p:spPr>
          <a:xfrm>
            <a:off x="8854669" y="3420272"/>
            <a:ext cx="2170654" cy="0"/>
          </a:xfrm>
          <a:prstGeom prst="straightConnector1">
            <a:avLst/>
          </a:prstGeom>
          <a:ln w="38100">
            <a:solidFill>
              <a:schemeClr val="accent1"/>
            </a:solidFill>
            <a:prstDash val="solid"/>
            <a:headEnd type="none"/>
            <a:tailEnd type="arrow" w="lg" len="sm"/>
          </a:ln>
        </p:spPr>
        <p:style>
          <a:lnRef idx="1">
            <a:schemeClr val="accent1"/>
          </a:lnRef>
          <a:fillRef idx="0">
            <a:schemeClr val="accent1"/>
          </a:fillRef>
          <a:effectRef idx="0">
            <a:schemeClr val="accent1"/>
          </a:effectRef>
          <a:fontRef idx="minor">
            <a:schemeClr val="tx1"/>
          </a:fontRef>
        </p:style>
      </p:cxnSp>
      <p:sp>
        <p:nvSpPr>
          <p:cNvPr id="314" name="Freeform 10">
            <a:extLst>
              <a:ext uri="{FF2B5EF4-FFF2-40B4-BE49-F238E27FC236}">
                <a16:creationId xmlns:a16="http://schemas.microsoft.com/office/drawing/2014/main" id="{0D9AA436-776F-0843-815F-0D41C0F6BA3F}"/>
              </a:ext>
            </a:extLst>
          </p:cNvPr>
          <p:cNvSpPr>
            <a:spLocks/>
          </p:cNvSpPr>
          <p:nvPr/>
        </p:nvSpPr>
        <p:spPr bwMode="auto">
          <a:xfrm>
            <a:off x="1808383" y="1358656"/>
            <a:ext cx="1490793" cy="184666"/>
          </a:xfrm>
          <a:prstGeom prst="rect">
            <a:avLst/>
          </a:prstGeom>
          <a:noFill/>
          <a:ln w="19050">
            <a:noFill/>
            <a:round/>
            <a:headEnd/>
            <a:tailEnd/>
          </a:ln>
        </p:spPr>
        <p:txBody>
          <a:bodyPr vert="horz" wrap="none" lIns="0" tIns="0" rIns="0" bIns="0" numCol="1" anchor="ctr" anchorCtr="0" compatLnSpc="1">
            <a:prstTxWarp prst="textNoShape">
              <a:avLst/>
            </a:prstTxWarp>
            <a:spAutoFit/>
          </a:bodyPr>
          <a:lstStyle/>
          <a:p>
            <a:pPr marL="0" marR="0" lvl="0" indent="0" algn="ctr" defTabSz="731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mazon Ember"/>
                <a:ea typeface="+mn-ea"/>
                <a:cs typeface="+mn-cs"/>
              </a:rPr>
              <a:t>Identify Data Sources</a:t>
            </a:r>
          </a:p>
        </p:txBody>
      </p:sp>
      <p:sp>
        <p:nvSpPr>
          <p:cNvPr id="315" name="Freeform 10">
            <a:extLst>
              <a:ext uri="{FF2B5EF4-FFF2-40B4-BE49-F238E27FC236}">
                <a16:creationId xmlns:a16="http://schemas.microsoft.com/office/drawing/2014/main" id="{41DC5F02-7505-4649-B1F7-5B5EDB4DA6AA}"/>
              </a:ext>
            </a:extLst>
          </p:cNvPr>
          <p:cNvSpPr>
            <a:spLocks/>
          </p:cNvSpPr>
          <p:nvPr/>
        </p:nvSpPr>
        <p:spPr bwMode="auto">
          <a:xfrm>
            <a:off x="6895567" y="1365402"/>
            <a:ext cx="3028072" cy="369332"/>
          </a:xfrm>
          <a:prstGeom prst="rect">
            <a:avLst/>
          </a:prstGeom>
          <a:noFill/>
          <a:ln w="19050">
            <a:noFill/>
            <a:round/>
            <a:headEnd/>
            <a:tailEnd/>
          </a:ln>
        </p:spPr>
        <p:txBody>
          <a:bodyPr vert="horz" wrap="none" lIns="0" tIns="0" rIns="0" bIns="0" numCol="1" anchor="ctr" anchorCtr="0" compatLnSpc="1">
            <a:prstTxWarp prst="textNoShape">
              <a:avLst/>
            </a:prstTxWarp>
            <a:spAutoFit/>
          </a:bodyPr>
          <a:lstStyle/>
          <a:p>
            <a:pPr marL="0" marR="0" lvl="0" indent="0" algn="ctr" defTabSz="731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mazon Ember"/>
                <a:ea typeface="+mn-ea"/>
                <a:cs typeface="+mn-cs"/>
              </a:rPr>
              <a:t>Validate Scope and Rationalize Information</a:t>
            </a:r>
          </a:p>
          <a:p>
            <a:pPr marL="0" marR="0" lvl="0" indent="0" algn="ctr" defTabSz="731520" rtl="0" eaLnBrk="1" fontAlgn="auto" latinLnBrk="0" hangingPunct="1">
              <a:lnSpc>
                <a:spcPct val="100000"/>
              </a:lnSpc>
              <a:spcBef>
                <a:spcPts val="0"/>
              </a:spcBef>
              <a:spcAft>
                <a:spcPts val="0"/>
              </a:spcAft>
              <a:buClrTx/>
              <a:buSzTx/>
              <a:buFontTx/>
              <a:buNone/>
              <a:tabLst/>
              <a:defRPr/>
            </a:pPr>
            <a:r>
              <a:rPr lang="en-US" sz="1200" dirty="0">
                <a:solidFill>
                  <a:srgbClr val="FFFFFF"/>
                </a:solidFill>
                <a:latin typeface="Amazon Ember"/>
              </a:rPr>
              <a:t>-Establish Single Source of Truth-</a:t>
            </a:r>
            <a:endParaRPr kumimoji="0" lang="en-US" sz="1200" b="0" i="0" u="none" strike="noStrike" kern="1200" cap="none" spc="0" normalizeH="0" baseline="0" noProof="0" dirty="0">
              <a:ln>
                <a:noFill/>
              </a:ln>
              <a:solidFill>
                <a:srgbClr val="FFFFFF"/>
              </a:solidFill>
              <a:effectLst/>
              <a:uLnTx/>
              <a:uFillTx/>
              <a:latin typeface="Amazon Ember"/>
              <a:ea typeface="+mn-ea"/>
              <a:cs typeface="+mn-cs"/>
            </a:endParaRPr>
          </a:p>
        </p:txBody>
      </p:sp>
      <p:sp>
        <p:nvSpPr>
          <p:cNvPr id="316" name="Freeform 10">
            <a:extLst>
              <a:ext uri="{FF2B5EF4-FFF2-40B4-BE49-F238E27FC236}">
                <a16:creationId xmlns:a16="http://schemas.microsoft.com/office/drawing/2014/main" id="{C7C4E05F-28BA-5044-82D9-404A51036A70}"/>
              </a:ext>
            </a:extLst>
          </p:cNvPr>
          <p:cNvSpPr>
            <a:spLocks/>
          </p:cNvSpPr>
          <p:nvPr/>
        </p:nvSpPr>
        <p:spPr bwMode="auto">
          <a:xfrm>
            <a:off x="11916017" y="1373298"/>
            <a:ext cx="1199047" cy="184666"/>
          </a:xfrm>
          <a:prstGeom prst="rect">
            <a:avLst/>
          </a:prstGeom>
          <a:noFill/>
          <a:ln w="19050">
            <a:noFill/>
            <a:round/>
            <a:headEnd/>
            <a:tailEnd/>
          </a:ln>
        </p:spPr>
        <p:txBody>
          <a:bodyPr vert="horz" wrap="none" lIns="0" tIns="0" rIns="0" bIns="0" numCol="1" anchor="ctr" anchorCtr="0" compatLnSpc="1">
            <a:prstTxWarp prst="textNoShape">
              <a:avLst/>
            </a:prstTxWarp>
            <a:spAutoFit/>
          </a:bodyPr>
          <a:lstStyle/>
          <a:p>
            <a:pPr marL="0" marR="0" lvl="0" indent="0" algn="ctr" defTabSz="731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mazon Ember"/>
                <a:ea typeface="+mn-ea"/>
                <a:cs typeface="+mn-cs"/>
              </a:rPr>
              <a:t>Analyze and Plan</a:t>
            </a:r>
          </a:p>
        </p:txBody>
      </p:sp>
      <p:pic>
        <p:nvPicPr>
          <p:cNvPr id="177" name="Picture 176">
            <a:extLst>
              <a:ext uri="{FF2B5EF4-FFF2-40B4-BE49-F238E27FC236}">
                <a16:creationId xmlns:a16="http://schemas.microsoft.com/office/drawing/2014/main" id="{4ABFB20F-6C50-F045-8492-673408C9D0C5}"/>
              </a:ext>
            </a:extLst>
          </p:cNvPr>
          <p:cNvPicPr>
            <a:picLocks noChangeAspect="1"/>
          </p:cNvPicPr>
          <p:nvPr/>
        </p:nvPicPr>
        <p:blipFill>
          <a:blip r:embed="rId9"/>
          <a:stretch>
            <a:fillRect/>
          </a:stretch>
        </p:blipFill>
        <p:spPr>
          <a:xfrm>
            <a:off x="11081985" y="5647227"/>
            <a:ext cx="537159" cy="531202"/>
          </a:xfrm>
          <a:prstGeom prst="rect">
            <a:avLst/>
          </a:prstGeom>
          <a:ln w="19050">
            <a:noFill/>
          </a:ln>
          <a:effectLst>
            <a:outerShdw blurRad="63500" sx="102000" sy="102000" algn="ctr" rotWithShape="0">
              <a:prstClr val="black">
                <a:alpha val="40000"/>
              </a:prstClr>
            </a:outerShdw>
          </a:effectLst>
        </p:spPr>
      </p:pic>
      <p:sp>
        <p:nvSpPr>
          <p:cNvPr id="178" name="TextBox 177">
            <a:extLst>
              <a:ext uri="{FF2B5EF4-FFF2-40B4-BE49-F238E27FC236}">
                <a16:creationId xmlns:a16="http://schemas.microsoft.com/office/drawing/2014/main" id="{E6B24426-425E-144A-8DFA-3F034DB602C1}"/>
              </a:ext>
            </a:extLst>
          </p:cNvPr>
          <p:cNvSpPr txBox="1"/>
          <p:nvPr/>
        </p:nvSpPr>
        <p:spPr>
          <a:xfrm>
            <a:off x="10687749" y="6218951"/>
            <a:ext cx="1341714" cy="221599"/>
          </a:xfrm>
          <a:prstGeom prst="rect">
            <a:avLst/>
          </a:prstGeom>
          <a:noFill/>
        </p:spPr>
        <p:txBody>
          <a:bodyPr wrap="none" lIns="0" tIns="0" rIns="0" bIns="0" rtlCol="0">
            <a:spAutoFit/>
          </a:bodyPr>
          <a:lstStyle/>
          <a:p>
            <a:pPr marL="0" marR="0" lvl="0" indent="0" algn="l" defTabSz="731520" rtl="0" eaLnBrk="1" fontAlgn="auto" latinLnBrk="0" hangingPunct="1">
              <a:lnSpc>
                <a:spcPct val="90000"/>
              </a:lnSpc>
              <a:spcBef>
                <a:spcPts val="0"/>
              </a:spcBef>
              <a:spcAft>
                <a:spcPts val="18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mazon Ember"/>
                <a:ea typeface="+mn-ea"/>
                <a:cs typeface="+mn-cs"/>
              </a:rPr>
              <a:t>Migration Hub</a:t>
            </a:r>
          </a:p>
        </p:txBody>
      </p:sp>
      <p:pic>
        <p:nvPicPr>
          <p:cNvPr id="5" name="Picture 4">
            <a:extLst>
              <a:ext uri="{FF2B5EF4-FFF2-40B4-BE49-F238E27FC236}">
                <a16:creationId xmlns:a16="http://schemas.microsoft.com/office/drawing/2014/main" id="{9F7DBEEE-667F-FF40-93AD-97E11B674BDF}"/>
              </a:ext>
            </a:extLst>
          </p:cNvPr>
          <p:cNvPicPr>
            <a:picLocks noChangeAspect="1"/>
          </p:cNvPicPr>
          <p:nvPr/>
        </p:nvPicPr>
        <p:blipFill>
          <a:blip r:embed="rId10"/>
          <a:stretch>
            <a:fillRect/>
          </a:stretch>
        </p:blipFill>
        <p:spPr>
          <a:xfrm>
            <a:off x="8847820" y="6881413"/>
            <a:ext cx="1680057" cy="312011"/>
          </a:xfrm>
          <a:prstGeom prst="rect">
            <a:avLst/>
          </a:prstGeom>
          <a:solidFill>
            <a:schemeClr val="tx2"/>
          </a:solidFill>
        </p:spPr>
      </p:pic>
      <p:pic>
        <p:nvPicPr>
          <p:cNvPr id="6" name="Picture 5">
            <a:extLst>
              <a:ext uri="{FF2B5EF4-FFF2-40B4-BE49-F238E27FC236}">
                <a16:creationId xmlns:a16="http://schemas.microsoft.com/office/drawing/2014/main" id="{8C06AB20-5290-5649-895B-6135A54B5839}"/>
              </a:ext>
            </a:extLst>
          </p:cNvPr>
          <p:cNvPicPr>
            <a:picLocks noChangeAspect="1"/>
          </p:cNvPicPr>
          <p:nvPr/>
        </p:nvPicPr>
        <p:blipFill>
          <a:blip r:embed="rId11"/>
          <a:stretch>
            <a:fillRect/>
          </a:stretch>
        </p:blipFill>
        <p:spPr>
          <a:xfrm>
            <a:off x="4725371" y="6870072"/>
            <a:ext cx="1749809" cy="302766"/>
          </a:xfrm>
          <a:prstGeom prst="rect">
            <a:avLst/>
          </a:prstGeom>
        </p:spPr>
      </p:pic>
      <p:sp>
        <p:nvSpPr>
          <p:cNvPr id="180" name="Oval 179">
            <a:extLst>
              <a:ext uri="{FF2B5EF4-FFF2-40B4-BE49-F238E27FC236}">
                <a16:creationId xmlns:a16="http://schemas.microsoft.com/office/drawing/2014/main" id="{CB3D766E-E101-5E48-BBFB-C103ACF0A8C5}"/>
              </a:ext>
            </a:extLst>
          </p:cNvPr>
          <p:cNvSpPr>
            <a:spLocks noChangeAspect="1"/>
          </p:cNvSpPr>
          <p:nvPr/>
        </p:nvSpPr>
        <p:spPr bwMode="auto">
          <a:xfrm>
            <a:off x="11341294" y="1850484"/>
            <a:ext cx="182880" cy="1828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20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mazon Ember"/>
                <a:ea typeface="Segoe UI" pitchFamily="34" charset="0"/>
                <a:cs typeface="Segoe UI" pitchFamily="34" charset="0"/>
              </a:rPr>
              <a:t>Business Alignment</a:t>
            </a:r>
            <a:endParaRPr kumimoji="0" lang="en-US" sz="2400" b="0" i="0" u="none" strike="noStrike" kern="1200" cap="none" spc="0" normalizeH="0" baseline="0" noProof="0" dirty="0">
              <a:ln>
                <a:noFill/>
              </a:ln>
              <a:solidFill>
                <a:srgbClr val="FFFFFF"/>
              </a:solidFill>
              <a:effectLst/>
              <a:uLnTx/>
              <a:uFillTx/>
              <a:latin typeface="Amazon Ember"/>
              <a:ea typeface="Segoe UI" pitchFamily="34" charset="0"/>
              <a:cs typeface="Segoe UI" pitchFamily="34" charset="0"/>
            </a:endParaRPr>
          </a:p>
        </p:txBody>
      </p:sp>
      <p:sp>
        <p:nvSpPr>
          <p:cNvPr id="179" name="Oval 178">
            <a:extLst>
              <a:ext uri="{FF2B5EF4-FFF2-40B4-BE49-F238E27FC236}">
                <a16:creationId xmlns:a16="http://schemas.microsoft.com/office/drawing/2014/main" id="{A1187815-1429-2D44-AC45-F8CF54EBB984}"/>
              </a:ext>
            </a:extLst>
          </p:cNvPr>
          <p:cNvSpPr>
            <a:spLocks noChangeAspect="1"/>
          </p:cNvSpPr>
          <p:nvPr/>
        </p:nvSpPr>
        <p:spPr bwMode="auto">
          <a:xfrm>
            <a:off x="11350654" y="3393667"/>
            <a:ext cx="182880" cy="1828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200" tIns="0" rIns="0" bIns="0" numCol="1" spcCol="0" rtlCol="0" fromWordArt="0" anchor="ctr" anchorCtr="0" forceAA="0" compatLnSpc="1">
            <a:prstTxWarp prst="textNoShape">
              <a:avLst/>
            </a:prstTxWarp>
            <a:noAutofit/>
          </a:bodyPr>
          <a:lstStyle/>
          <a:p>
            <a:pPr defTabSz="932472" fontAlgn="base">
              <a:spcBef>
                <a:spcPct val="0"/>
              </a:spcBef>
              <a:spcAft>
                <a:spcPct val="0"/>
              </a:spcAft>
              <a:defRPr/>
            </a:pPr>
            <a:r>
              <a:rPr lang="en-US" sz="2000" dirty="0">
                <a:solidFill>
                  <a:srgbClr val="FFFFFF"/>
                </a:solidFill>
                <a:ea typeface="Segoe UI" pitchFamily="34" charset="0"/>
                <a:cs typeface="Segoe UI" pitchFamily="34" charset="0"/>
              </a:rPr>
              <a:t>Target Architecture </a:t>
            </a:r>
            <a:endParaRPr lang="en-US" sz="2400" dirty="0">
              <a:solidFill>
                <a:srgbClr val="FFFFFF"/>
              </a:solidFill>
              <a:ea typeface="Segoe UI" pitchFamily="34" charset="0"/>
              <a:cs typeface="Segoe UI" pitchFamily="34" charset="0"/>
            </a:endParaRPr>
          </a:p>
        </p:txBody>
      </p:sp>
      <p:sp>
        <p:nvSpPr>
          <p:cNvPr id="181" name="Oval 180">
            <a:extLst>
              <a:ext uri="{FF2B5EF4-FFF2-40B4-BE49-F238E27FC236}">
                <a16:creationId xmlns:a16="http://schemas.microsoft.com/office/drawing/2014/main" id="{EED11253-BDB8-DC42-8A66-D021FFB93650}"/>
              </a:ext>
            </a:extLst>
          </p:cNvPr>
          <p:cNvSpPr>
            <a:spLocks noChangeAspect="1"/>
          </p:cNvSpPr>
          <p:nvPr/>
        </p:nvSpPr>
        <p:spPr bwMode="auto">
          <a:xfrm>
            <a:off x="11346672" y="3782594"/>
            <a:ext cx="182880" cy="18288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200" tIns="0" rIns="0" bIns="0"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2000" dirty="0">
                <a:solidFill>
                  <a:srgbClr val="FFFFFF"/>
                </a:solidFill>
                <a:ea typeface="Segoe UI" pitchFamily="34" charset="0"/>
                <a:cs typeface="Segoe UI" pitchFamily="34" charset="0"/>
              </a:rPr>
              <a:t>Migration Strategy</a:t>
            </a:r>
            <a:endParaRPr lang="en-US" sz="2400" dirty="0">
              <a:solidFill>
                <a:srgbClr val="FFFFFF"/>
              </a:solidFill>
              <a:ea typeface="Segoe UI" pitchFamily="34" charset="0"/>
              <a:cs typeface="Segoe UI" pitchFamily="34" charset="0"/>
            </a:endParaRPr>
          </a:p>
        </p:txBody>
      </p:sp>
      <p:pic>
        <p:nvPicPr>
          <p:cNvPr id="8" name="Graphic 7">
            <a:extLst>
              <a:ext uri="{FF2B5EF4-FFF2-40B4-BE49-F238E27FC236}">
                <a16:creationId xmlns:a16="http://schemas.microsoft.com/office/drawing/2014/main" id="{14064673-2840-FF41-92D1-1E59A8E33CB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32850" y="6827717"/>
            <a:ext cx="1257300" cy="406400"/>
          </a:xfrm>
          <a:prstGeom prst="rect">
            <a:avLst/>
          </a:prstGeom>
        </p:spPr>
      </p:pic>
    </p:spTree>
    <p:extLst>
      <p:ext uri="{BB962C8B-B14F-4D97-AF65-F5344CB8AC3E}">
        <p14:creationId xmlns:p14="http://schemas.microsoft.com/office/powerpoint/2010/main" val="7658625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35" presetClass="path" presetSubtype="0" decel="100000" fill="hold" nodeType="withEffect">
                                  <p:stCondLst>
                                    <p:cond delay="200"/>
                                  </p:stCondLst>
                                  <p:childTnLst>
                                    <p:animMotion origin="layout" path="M 1.38778E-17 -3.7037E-6 L 1.38778E-17 0.01505 " pathEditMode="relative" rAng="0" ptsTypes="AA">
                                      <p:cBhvr>
                                        <p:cTn id="9" dur="500" spd="-100000" fill="hold"/>
                                        <p:tgtEl>
                                          <p:spTgt spid="3"/>
                                        </p:tgtEl>
                                        <p:attrNameLst>
                                          <p:attrName>ppt_x</p:attrName>
                                          <p:attrName>ppt_y</p:attrName>
                                        </p:attrNameLst>
                                      </p:cBhvr>
                                      <p:rCtr x="0" y="741"/>
                                    </p:animMotion>
                                  </p:childTnLst>
                                </p:cTn>
                              </p:par>
                            </p:childTnLst>
                          </p:cTn>
                        </p:par>
                        <p:par>
                          <p:cTn id="10" fill="hold">
                            <p:stCondLst>
                              <p:cond delay="700"/>
                            </p:stCondLst>
                            <p:childTnLst>
                              <p:par>
                                <p:cTn id="11" presetID="10" presetClass="entr" presetSubtype="0"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par>
                                <p:cTn id="14" presetID="35" presetClass="path" presetSubtype="0" decel="100000" fill="hold" nodeType="withEffect">
                                  <p:stCondLst>
                                    <p:cond delay="0"/>
                                  </p:stCondLst>
                                  <p:childTnLst>
                                    <p:animMotion origin="layout" path="M 1.38778E-17 -3.7037E-6 L 1.38778E-17 0.01505 " pathEditMode="relative" rAng="0" ptsTypes="AA">
                                      <p:cBhvr>
                                        <p:cTn id="15" dur="500" spd="-100000" fill="hold"/>
                                        <p:tgtEl>
                                          <p:spTgt spid="4"/>
                                        </p:tgtEl>
                                        <p:attrNameLst>
                                          <p:attrName>ppt_x</p:attrName>
                                          <p:attrName>ppt_y</p:attrName>
                                        </p:attrNameLst>
                                      </p:cBhvr>
                                      <p:rCtr x="0" y="74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1679C5ED-85F8-0748-85A9-59604FD684D8}"/>
              </a:ext>
            </a:extLst>
          </p:cNvPr>
          <p:cNvSpPr/>
          <p:nvPr/>
        </p:nvSpPr>
        <p:spPr>
          <a:xfrm>
            <a:off x="559795" y="1572321"/>
            <a:ext cx="4290989" cy="4797617"/>
          </a:xfrm>
          <a:prstGeom prst="roundRect">
            <a:avLst/>
          </a:prstGeom>
          <a:solidFill>
            <a:schemeClr val="accent1">
              <a:alpha val="3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EADC774-62ED-534D-80FC-1309BD1D146F}"/>
              </a:ext>
            </a:extLst>
          </p:cNvPr>
          <p:cNvSpPr>
            <a:spLocks noGrp="1"/>
          </p:cNvSpPr>
          <p:nvPr>
            <p:ph type="title"/>
          </p:nvPr>
        </p:nvSpPr>
        <p:spPr>
          <a:xfrm>
            <a:off x="548640" y="279339"/>
            <a:ext cx="13511460" cy="873186"/>
          </a:xfrm>
        </p:spPr>
        <p:txBody>
          <a:bodyPr anchor="ctr"/>
          <a:lstStyle/>
          <a:p>
            <a:r>
              <a:rPr lang="en-US" dirty="0"/>
              <a:t>Portfolio Assessment Questions</a:t>
            </a:r>
          </a:p>
        </p:txBody>
      </p:sp>
      <p:sp>
        <p:nvSpPr>
          <p:cNvPr id="7" name="Rounded Rectangle 6">
            <a:extLst>
              <a:ext uri="{FF2B5EF4-FFF2-40B4-BE49-F238E27FC236}">
                <a16:creationId xmlns:a16="http://schemas.microsoft.com/office/drawing/2014/main" id="{054DCFA1-40F0-D041-983F-7A7D18C48187}"/>
              </a:ext>
            </a:extLst>
          </p:cNvPr>
          <p:cNvSpPr/>
          <p:nvPr/>
        </p:nvSpPr>
        <p:spPr>
          <a:xfrm>
            <a:off x="5131797" y="1572322"/>
            <a:ext cx="4290989" cy="4783772"/>
          </a:xfrm>
          <a:prstGeom prst="roundRect">
            <a:avLst/>
          </a:prstGeom>
          <a:solidFill>
            <a:schemeClr val="accent1">
              <a:alpha val="3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Rounded Rectangle 7">
            <a:extLst>
              <a:ext uri="{FF2B5EF4-FFF2-40B4-BE49-F238E27FC236}">
                <a16:creationId xmlns:a16="http://schemas.microsoft.com/office/drawing/2014/main" id="{706E74B8-3CE0-DB4B-8A28-9276D51AC4C9}"/>
              </a:ext>
            </a:extLst>
          </p:cNvPr>
          <p:cNvSpPr/>
          <p:nvPr/>
        </p:nvSpPr>
        <p:spPr>
          <a:xfrm>
            <a:off x="9703799" y="1572321"/>
            <a:ext cx="4290989" cy="4783771"/>
          </a:xfrm>
          <a:prstGeom prst="roundRect">
            <a:avLst/>
          </a:prstGeom>
          <a:solidFill>
            <a:schemeClr val="accent1">
              <a:alpha val="3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29B54571-D39F-1D45-B929-4995A9C528AF}"/>
              </a:ext>
            </a:extLst>
          </p:cNvPr>
          <p:cNvSpPr txBox="1"/>
          <p:nvPr/>
        </p:nvSpPr>
        <p:spPr>
          <a:xfrm>
            <a:off x="1487008" y="1757815"/>
            <a:ext cx="2436564" cy="249299"/>
          </a:xfrm>
          <a:prstGeom prst="rect">
            <a:avLst/>
          </a:prstGeom>
          <a:noFill/>
        </p:spPr>
        <p:txBody>
          <a:bodyPr wrap="none" lIns="0" tIns="0" rIns="0" bIns="0" rtlCol="0">
            <a:spAutoFit/>
          </a:bodyPr>
          <a:lstStyle/>
          <a:p>
            <a:pPr marL="0" marR="0" lvl="0" indent="0" algn="ctr" defTabSz="731520" rtl="0" eaLnBrk="1" fontAlgn="auto" latinLnBrk="0" hangingPunct="1">
              <a:lnSpc>
                <a:spcPct val="90000"/>
              </a:lnSpc>
              <a:spcBef>
                <a:spcPts val="0"/>
              </a:spcBef>
              <a:spcAft>
                <a:spcPts val="180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mazon Ember"/>
                <a:ea typeface="+mn-ea"/>
                <a:cs typeface="+mn-cs"/>
              </a:rPr>
              <a:t>Basic Application Data</a:t>
            </a:r>
          </a:p>
        </p:txBody>
      </p:sp>
      <p:sp>
        <p:nvSpPr>
          <p:cNvPr id="10" name="Freeform 10">
            <a:extLst>
              <a:ext uri="{FF2B5EF4-FFF2-40B4-BE49-F238E27FC236}">
                <a16:creationId xmlns:a16="http://schemas.microsoft.com/office/drawing/2014/main" id="{F71F6C37-D7AF-8844-BB2A-C6C785881CB1}"/>
              </a:ext>
            </a:extLst>
          </p:cNvPr>
          <p:cNvSpPr>
            <a:spLocks/>
          </p:cNvSpPr>
          <p:nvPr/>
        </p:nvSpPr>
        <p:spPr bwMode="auto">
          <a:xfrm>
            <a:off x="1031506" y="2050160"/>
            <a:ext cx="3706858" cy="1477328"/>
          </a:xfrm>
          <a:prstGeom prst="rect">
            <a:avLst/>
          </a:prstGeom>
          <a:noFill/>
          <a:ln w="19050">
            <a:noFill/>
            <a:round/>
            <a:headEnd/>
            <a:tailEnd/>
          </a:ln>
        </p:spPr>
        <p:txBody>
          <a:bodyPr vert="horz" wrap="square" lIns="0" tIns="0" rIns="0" bIns="0" numCol="1" anchor="ctr" anchorCtr="0" compatLnSpc="1">
            <a:prstTxWarp prst="textNoShape">
              <a:avLst/>
            </a:prstTxWarp>
            <a:spAutoFit/>
          </a:bodyPr>
          <a:lstStyle/>
          <a:p>
            <a:pPr marL="171450" marR="0" lvl="0" indent="-171450" defTabSz="7315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mazon Ember"/>
                <a:ea typeface="+mn-ea"/>
                <a:cs typeface="+mn-cs"/>
              </a:rPr>
              <a:t>What business function does this application support?</a:t>
            </a:r>
          </a:p>
          <a:p>
            <a:pPr marL="171450" marR="0" lvl="0" indent="-171450" defTabSz="73152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FFFFFF"/>
              </a:solidFill>
              <a:effectLst/>
              <a:uLnTx/>
              <a:uFillTx/>
              <a:latin typeface="Amazon Ember"/>
              <a:ea typeface="+mn-ea"/>
              <a:cs typeface="+mn-cs"/>
            </a:endParaRPr>
          </a:p>
          <a:p>
            <a:pPr marL="171450" marR="0" lvl="0" indent="-171450" defTabSz="7315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mazon Ember"/>
                <a:ea typeface="+mn-ea"/>
                <a:cs typeface="+mn-cs"/>
              </a:rPr>
              <a:t>What are the future plans for this application?</a:t>
            </a:r>
          </a:p>
          <a:p>
            <a:pPr marL="171450" marR="0" lvl="0" indent="-171450" defTabSz="73152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FFFFFF"/>
              </a:solidFill>
              <a:effectLst/>
              <a:uLnTx/>
              <a:uFillTx/>
              <a:latin typeface="Amazon Ember"/>
              <a:ea typeface="+mn-ea"/>
              <a:cs typeface="+mn-cs"/>
            </a:endParaRPr>
          </a:p>
          <a:p>
            <a:pPr marL="171450" marR="0" lvl="0" indent="-171450" defTabSz="7315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mazon Ember"/>
                <a:ea typeface="+mn-ea"/>
                <a:cs typeface="+mn-cs"/>
              </a:rPr>
              <a:t>Is it providing Business Value?</a:t>
            </a:r>
          </a:p>
          <a:p>
            <a:pPr marL="171450" marR="0" lvl="0" indent="-171450" defTabSz="73152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FFFFFF"/>
              </a:solidFill>
              <a:effectLst/>
              <a:uLnTx/>
              <a:uFillTx/>
              <a:latin typeface="Amazon Ember"/>
              <a:ea typeface="+mn-ea"/>
              <a:cs typeface="+mn-cs"/>
            </a:endParaRPr>
          </a:p>
          <a:p>
            <a:pPr marL="171450" marR="0" lvl="0" indent="-171450" defTabSz="7315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FFFFFF"/>
                </a:solidFill>
                <a:latin typeface="Amazon Ember"/>
              </a:rPr>
              <a:t>Is it supportable in the cloud?</a:t>
            </a:r>
          </a:p>
        </p:txBody>
      </p:sp>
      <p:sp>
        <p:nvSpPr>
          <p:cNvPr id="11" name="TextBox 10">
            <a:extLst>
              <a:ext uri="{FF2B5EF4-FFF2-40B4-BE49-F238E27FC236}">
                <a16:creationId xmlns:a16="http://schemas.microsoft.com/office/drawing/2014/main" id="{FA468AAB-446E-B547-8797-9F8F7810943E}"/>
              </a:ext>
            </a:extLst>
          </p:cNvPr>
          <p:cNvSpPr txBox="1"/>
          <p:nvPr/>
        </p:nvSpPr>
        <p:spPr>
          <a:xfrm rot="16200000">
            <a:off x="-96421" y="3931804"/>
            <a:ext cx="1784143" cy="276999"/>
          </a:xfrm>
          <a:prstGeom prst="rect">
            <a:avLst/>
          </a:prstGeom>
          <a:noFill/>
        </p:spPr>
        <p:txBody>
          <a:bodyPr wrap="none" lIns="0" tIns="0" rIns="0" bIns="0" rtlCol="0">
            <a:spAutoFit/>
          </a:bodyPr>
          <a:lstStyle/>
          <a:p>
            <a:pPr marL="0" marR="0" lvl="0" indent="0" algn="ctr" defTabSz="731520" rtl="0" eaLnBrk="1" fontAlgn="auto" latinLnBrk="0" hangingPunct="1">
              <a:lnSpc>
                <a:spcPct val="90000"/>
              </a:lnSpc>
              <a:spcBef>
                <a:spcPts val="0"/>
              </a:spcBef>
              <a:spcAft>
                <a:spcPts val="1800"/>
              </a:spcAft>
              <a:buClrTx/>
              <a:buSzTx/>
              <a:buFontTx/>
              <a:buNone/>
              <a:tabLst/>
              <a:defRPr/>
            </a:pPr>
            <a:r>
              <a:rPr kumimoji="0" lang="en-US" sz="2000" b="1" i="0" u="none" strike="noStrike" kern="1200" cap="none" spc="0" normalizeH="0" baseline="0" noProof="0" dirty="0">
                <a:ln>
                  <a:noFill/>
                </a:ln>
                <a:solidFill>
                  <a:schemeClr val="accent1">
                    <a:lumMod val="40000"/>
                    <a:lumOff val="60000"/>
                  </a:schemeClr>
                </a:solidFill>
                <a:effectLst/>
                <a:uLnTx/>
                <a:uFillTx/>
                <a:latin typeface="Amazon Ember"/>
                <a:ea typeface="+mn-ea"/>
                <a:cs typeface="+mn-cs"/>
              </a:rPr>
              <a:t>Portfolio Level</a:t>
            </a:r>
          </a:p>
        </p:txBody>
      </p:sp>
      <p:sp>
        <p:nvSpPr>
          <p:cNvPr id="12" name="TextBox 11">
            <a:extLst>
              <a:ext uri="{FF2B5EF4-FFF2-40B4-BE49-F238E27FC236}">
                <a16:creationId xmlns:a16="http://schemas.microsoft.com/office/drawing/2014/main" id="{2F938C21-0242-6C4E-B06B-95948AB97CFE}"/>
              </a:ext>
            </a:extLst>
          </p:cNvPr>
          <p:cNvSpPr txBox="1"/>
          <p:nvPr/>
        </p:nvSpPr>
        <p:spPr>
          <a:xfrm rot="16200000">
            <a:off x="3710992" y="3978857"/>
            <a:ext cx="3279744" cy="276999"/>
          </a:xfrm>
          <a:prstGeom prst="rect">
            <a:avLst/>
          </a:prstGeom>
          <a:noFill/>
        </p:spPr>
        <p:txBody>
          <a:bodyPr wrap="none" lIns="0" tIns="0" rIns="0" bIns="0" rtlCol="0">
            <a:spAutoFit/>
          </a:bodyPr>
          <a:lstStyle/>
          <a:p>
            <a:pPr marL="0" marR="0" lvl="0" indent="0" algn="ctr" defTabSz="731520" rtl="0" eaLnBrk="1" fontAlgn="auto" latinLnBrk="0" hangingPunct="1">
              <a:lnSpc>
                <a:spcPct val="90000"/>
              </a:lnSpc>
              <a:spcBef>
                <a:spcPts val="0"/>
              </a:spcBef>
              <a:spcAft>
                <a:spcPts val="1800"/>
              </a:spcAft>
              <a:buClrTx/>
              <a:buSzTx/>
              <a:buFontTx/>
              <a:buNone/>
              <a:tabLst/>
              <a:defRPr/>
            </a:pPr>
            <a:r>
              <a:rPr kumimoji="0" lang="en-US" sz="2000" b="1" i="0" u="none" strike="noStrike" kern="1200" cap="none" spc="0" normalizeH="0" baseline="0" noProof="0" dirty="0">
                <a:ln>
                  <a:noFill/>
                </a:ln>
                <a:solidFill>
                  <a:schemeClr val="accent1">
                    <a:lumMod val="40000"/>
                    <a:lumOff val="60000"/>
                  </a:schemeClr>
                </a:solidFill>
                <a:effectLst/>
                <a:uLnTx/>
                <a:uFillTx/>
                <a:latin typeface="Amazon Ember"/>
                <a:ea typeface="+mn-ea"/>
                <a:cs typeface="+mn-cs"/>
              </a:rPr>
              <a:t>Detailed Architecture Level</a:t>
            </a:r>
          </a:p>
        </p:txBody>
      </p:sp>
      <p:sp>
        <p:nvSpPr>
          <p:cNvPr id="13" name="Freeform 10">
            <a:extLst>
              <a:ext uri="{FF2B5EF4-FFF2-40B4-BE49-F238E27FC236}">
                <a16:creationId xmlns:a16="http://schemas.microsoft.com/office/drawing/2014/main" id="{A66CC486-2596-F04F-9D6E-C2A942A59BDA}"/>
              </a:ext>
            </a:extLst>
          </p:cNvPr>
          <p:cNvSpPr>
            <a:spLocks/>
          </p:cNvSpPr>
          <p:nvPr/>
        </p:nvSpPr>
        <p:spPr bwMode="auto">
          <a:xfrm>
            <a:off x="1011988" y="4070304"/>
            <a:ext cx="3706858" cy="2215991"/>
          </a:xfrm>
          <a:prstGeom prst="rect">
            <a:avLst/>
          </a:prstGeom>
          <a:noFill/>
          <a:ln w="19050">
            <a:noFill/>
            <a:round/>
            <a:headEnd/>
            <a:tailEnd/>
          </a:ln>
        </p:spPr>
        <p:txBody>
          <a:bodyPr vert="horz" wrap="square" lIns="0" tIns="0" rIns="0" bIns="0" numCol="1" anchor="ctr" anchorCtr="0" compatLnSpc="1">
            <a:prstTxWarp prst="textNoShape">
              <a:avLst/>
            </a:prstTxWarp>
            <a:spAutoFit/>
          </a:bodyPr>
          <a:lstStyle/>
          <a:p>
            <a:pPr marL="171450" marR="0" lvl="0" indent="-171450" defTabSz="7315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FFFFFF"/>
                </a:solidFill>
                <a:latin typeface="Amazon Ember"/>
              </a:rPr>
              <a:t>How does the current supporting infrastructure look like?</a:t>
            </a:r>
          </a:p>
          <a:p>
            <a:pPr marL="171450" marR="0" lvl="0" indent="-171450" defTabSz="73152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FFFFFF"/>
              </a:solidFill>
              <a:effectLst/>
              <a:uLnTx/>
              <a:uFillTx/>
              <a:latin typeface="Amazon Ember"/>
              <a:ea typeface="+mn-ea"/>
              <a:cs typeface="+mn-cs"/>
            </a:endParaRPr>
          </a:p>
          <a:p>
            <a:pPr marL="171450" marR="0" lvl="0" indent="-171450" defTabSz="7315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FFFFFF"/>
                </a:solidFill>
                <a:latin typeface="Amazon Ember"/>
              </a:rPr>
              <a:t>Is the Application to Infrastructure mapping correct?</a:t>
            </a:r>
            <a:endParaRPr kumimoji="0" lang="en-US" sz="1200" b="0" i="0" u="none" strike="noStrike" kern="1200" cap="none" spc="0" normalizeH="0" baseline="0" noProof="0" dirty="0">
              <a:ln>
                <a:noFill/>
              </a:ln>
              <a:solidFill>
                <a:srgbClr val="FFFFFF"/>
              </a:solidFill>
              <a:effectLst/>
              <a:uLnTx/>
              <a:uFillTx/>
              <a:latin typeface="Amazon Ember"/>
              <a:ea typeface="+mn-ea"/>
              <a:cs typeface="+mn-cs"/>
            </a:endParaRPr>
          </a:p>
          <a:p>
            <a:pPr marL="171450" marR="0" lvl="0" indent="-171450" defTabSz="73152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FFFFFF"/>
              </a:solidFill>
              <a:effectLst/>
              <a:uLnTx/>
              <a:uFillTx/>
              <a:latin typeface="Amazon Ember"/>
              <a:ea typeface="+mn-ea"/>
              <a:cs typeface="+mn-cs"/>
            </a:endParaRPr>
          </a:p>
          <a:p>
            <a:pPr marL="171450" marR="0" lvl="0" indent="-171450" defTabSz="7315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mazon Ember"/>
                <a:ea typeface="+mn-ea"/>
                <a:cs typeface="+mn-cs"/>
              </a:rPr>
              <a:t>Is this technology worthy of future investments?</a:t>
            </a:r>
          </a:p>
          <a:p>
            <a:pPr marL="171450" marR="0" lvl="0" indent="-171450" defTabSz="73152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srgbClr val="FFFFFF"/>
              </a:solidFill>
              <a:latin typeface="Amazon Ember"/>
            </a:endParaRPr>
          </a:p>
          <a:p>
            <a:pPr marL="171450" marR="0" lvl="0" indent="-171450" defTabSz="7315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FFFFFF"/>
                </a:solidFill>
                <a:latin typeface="Amazon Ember"/>
              </a:rPr>
              <a:t>Is this something that could be bought as-a-service?</a:t>
            </a:r>
          </a:p>
          <a:p>
            <a:pPr marL="171450" marR="0" lvl="0" indent="-171450" defTabSz="73152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srgbClr val="FFFFFF"/>
              </a:solidFill>
              <a:latin typeface="Amazon Ember"/>
            </a:endParaRPr>
          </a:p>
          <a:p>
            <a:pPr marL="171450" marR="0" lvl="0" indent="-171450" defTabSz="7315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FFFFFF"/>
                </a:solidFill>
                <a:latin typeface="Amazon Ember"/>
              </a:rPr>
              <a:t>Does this contribute to innovation?</a:t>
            </a:r>
          </a:p>
        </p:txBody>
      </p:sp>
      <p:sp>
        <p:nvSpPr>
          <p:cNvPr id="14" name="TextBox 13">
            <a:extLst>
              <a:ext uri="{FF2B5EF4-FFF2-40B4-BE49-F238E27FC236}">
                <a16:creationId xmlns:a16="http://schemas.microsoft.com/office/drawing/2014/main" id="{9EDC9712-FBC9-574E-920D-5FF8111F4231}"/>
              </a:ext>
            </a:extLst>
          </p:cNvPr>
          <p:cNvSpPr txBox="1"/>
          <p:nvPr/>
        </p:nvSpPr>
        <p:spPr>
          <a:xfrm>
            <a:off x="1117188" y="3707212"/>
            <a:ext cx="3268523" cy="249299"/>
          </a:xfrm>
          <a:prstGeom prst="rect">
            <a:avLst/>
          </a:prstGeom>
          <a:noFill/>
        </p:spPr>
        <p:txBody>
          <a:bodyPr wrap="none" lIns="0" tIns="0" rIns="0" bIns="0" rtlCol="0">
            <a:spAutoFit/>
          </a:bodyPr>
          <a:lstStyle/>
          <a:p>
            <a:pPr marL="0" marR="0" lvl="0" indent="0" algn="ctr" defTabSz="731520" rtl="0" eaLnBrk="1" fontAlgn="auto" latinLnBrk="0" hangingPunct="1">
              <a:lnSpc>
                <a:spcPct val="90000"/>
              </a:lnSpc>
              <a:spcBef>
                <a:spcPts val="0"/>
              </a:spcBef>
              <a:spcAft>
                <a:spcPts val="180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mazon Ember"/>
                <a:ea typeface="+mn-ea"/>
                <a:cs typeface="+mn-cs"/>
              </a:rPr>
              <a:t>High-level Infrastructure Data</a:t>
            </a:r>
          </a:p>
        </p:txBody>
      </p:sp>
      <p:sp>
        <p:nvSpPr>
          <p:cNvPr id="15" name="TextBox 14">
            <a:extLst>
              <a:ext uri="{FF2B5EF4-FFF2-40B4-BE49-F238E27FC236}">
                <a16:creationId xmlns:a16="http://schemas.microsoft.com/office/drawing/2014/main" id="{3E8F81AC-1A0A-A04E-84DE-0F48754B7189}"/>
              </a:ext>
            </a:extLst>
          </p:cNvPr>
          <p:cNvSpPr txBox="1"/>
          <p:nvPr/>
        </p:nvSpPr>
        <p:spPr>
          <a:xfrm>
            <a:off x="5504502" y="1757815"/>
            <a:ext cx="3691716" cy="249299"/>
          </a:xfrm>
          <a:prstGeom prst="rect">
            <a:avLst/>
          </a:prstGeom>
          <a:noFill/>
        </p:spPr>
        <p:txBody>
          <a:bodyPr wrap="none" lIns="0" tIns="0" rIns="0" bIns="0" rtlCol="0">
            <a:spAutoFit/>
          </a:bodyPr>
          <a:lstStyle/>
          <a:p>
            <a:pPr marL="0" marR="0" lvl="0" indent="0" algn="ctr" defTabSz="731520" rtl="0" eaLnBrk="1" fontAlgn="auto" latinLnBrk="0" hangingPunct="1">
              <a:lnSpc>
                <a:spcPct val="90000"/>
              </a:lnSpc>
              <a:spcBef>
                <a:spcPts val="0"/>
              </a:spcBef>
              <a:spcAft>
                <a:spcPts val="180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mazon Ember"/>
                <a:ea typeface="+mn-ea"/>
                <a:cs typeface="+mn-cs"/>
              </a:rPr>
              <a:t>Application and Architecture Data</a:t>
            </a:r>
          </a:p>
        </p:txBody>
      </p:sp>
      <p:sp>
        <p:nvSpPr>
          <p:cNvPr id="16" name="Freeform 10">
            <a:extLst>
              <a:ext uri="{FF2B5EF4-FFF2-40B4-BE49-F238E27FC236}">
                <a16:creationId xmlns:a16="http://schemas.microsoft.com/office/drawing/2014/main" id="{DD1E2F85-3984-9644-8CD4-2D310C19FFE9}"/>
              </a:ext>
            </a:extLst>
          </p:cNvPr>
          <p:cNvSpPr>
            <a:spLocks/>
          </p:cNvSpPr>
          <p:nvPr/>
        </p:nvSpPr>
        <p:spPr bwMode="auto">
          <a:xfrm>
            <a:off x="5784264" y="2083473"/>
            <a:ext cx="3383940" cy="4062651"/>
          </a:xfrm>
          <a:prstGeom prst="rect">
            <a:avLst/>
          </a:prstGeom>
          <a:noFill/>
          <a:ln w="19050">
            <a:noFill/>
            <a:round/>
            <a:headEnd/>
            <a:tailEnd/>
          </a:ln>
        </p:spPr>
        <p:txBody>
          <a:bodyPr vert="horz" wrap="square" lIns="0" tIns="0" rIns="0" bIns="0" numCol="1" anchor="ctr" anchorCtr="0" compatLnSpc="1">
            <a:prstTxWarp prst="textNoShape">
              <a:avLst/>
            </a:prstTxWarp>
            <a:spAutoFit/>
          </a:bodyPr>
          <a:lstStyle/>
          <a:p>
            <a:pPr marL="171450" lvl="0" indent="-171450">
              <a:buFont typeface="Arial" panose="020B0604020202020204" pitchFamily="34" charset="0"/>
              <a:buChar char="•"/>
            </a:pPr>
            <a:r>
              <a:rPr lang="en-US" sz="1200" dirty="0">
                <a:latin typeface="Amazon Ember" panose="020B0603020204020204" pitchFamily="34" charset="0"/>
                <a:ea typeface="Amazon Ember" panose="020B0603020204020204" pitchFamily="34" charset="0"/>
                <a:cs typeface="Amazon Ember" panose="020B0603020204020204" pitchFamily="34" charset="0"/>
              </a:rPr>
              <a:t>How does this application look like right now?</a:t>
            </a:r>
          </a:p>
          <a:p>
            <a:pPr marL="171450" lvl="0" indent="-171450">
              <a:buFont typeface="Arial" panose="020B0604020202020204" pitchFamily="34" charset="0"/>
              <a:buChar char="•"/>
            </a:pPr>
            <a:endParaRPr lang="en-US" sz="1200" dirty="0">
              <a:latin typeface="Amazon Ember" panose="020B0603020204020204" pitchFamily="34" charset="0"/>
              <a:ea typeface="Amazon Ember" panose="020B0603020204020204" pitchFamily="34" charset="0"/>
              <a:cs typeface="Amazon Ember" panose="020B0603020204020204" pitchFamily="34" charset="0"/>
            </a:endParaRPr>
          </a:p>
          <a:p>
            <a:pPr marL="171450" lvl="0" indent="-171450">
              <a:buFont typeface="Arial" panose="020B0604020202020204" pitchFamily="34" charset="0"/>
              <a:buChar char="•"/>
            </a:pPr>
            <a:r>
              <a:rPr lang="en-US" sz="1200" dirty="0">
                <a:latin typeface="Amazon Ember" panose="020B0603020204020204" pitchFamily="34" charset="0"/>
                <a:ea typeface="Amazon Ember" panose="020B0603020204020204" pitchFamily="34" charset="0"/>
                <a:cs typeface="Amazon Ember" panose="020B0603020204020204" pitchFamily="34" charset="0"/>
              </a:rPr>
              <a:t>What can and should this look like on AWS?</a:t>
            </a:r>
          </a:p>
          <a:p>
            <a:pPr marL="171450" lvl="0" indent="-171450">
              <a:buFont typeface="Arial" panose="020B0604020202020204" pitchFamily="34" charset="0"/>
              <a:buChar char="•"/>
            </a:pPr>
            <a:endParaRPr lang="en-US" sz="1200" dirty="0">
              <a:latin typeface="Amazon Ember" panose="020B0603020204020204" pitchFamily="34" charset="0"/>
              <a:ea typeface="Amazon Ember" panose="020B0603020204020204" pitchFamily="34" charset="0"/>
              <a:cs typeface="Amazon Ember" panose="020B0603020204020204" pitchFamily="34" charset="0"/>
            </a:endParaRPr>
          </a:p>
          <a:p>
            <a:pPr marL="171450" lvl="0" indent="-171450">
              <a:buFont typeface="Arial" panose="020B0604020202020204" pitchFamily="34" charset="0"/>
              <a:buChar char="•"/>
            </a:pPr>
            <a:r>
              <a:rPr lang="en-US" sz="1200" dirty="0">
                <a:latin typeface="Amazon Ember" panose="020B0603020204020204" pitchFamily="34" charset="0"/>
                <a:ea typeface="Amazon Ember" panose="020B0603020204020204" pitchFamily="34" charset="0"/>
                <a:cs typeface="Amazon Ember" panose="020B0603020204020204" pitchFamily="34" charset="0"/>
              </a:rPr>
              <a:t>Are there pain points or wish list items that can be incorporated into this migration?</a:t>
            </a:r>
          </a:p>
          <a:p>
            <a:pPr marL="171450" lvl="0" indent="-171450">
              <a:buFont typeface="Arial" panose="020B0604020202020204" pitchFamily="34" charset="0"/>
              <a:buChar char="•"/>
            </a:pPr>
            <a:endParaRPr lang="en-US" sz="1200" dirty="0">
              <a:latin typeface="Amazon Ember" panose="020B0603020204020204" pitchFamily="34" charset="0"/>
              <a:ea typeface="Amazon Ember" panose="020B0603020204020204" pitchFamily="34" charset="0"/>
              <a:cs typeface="Amazon Ember" panose="020B0603020204020204" pitchFamily="34" charset="0"/>
            </a:endParaRPr>
          </a:p>
          <a:p>
            <a:pPr marL="171450" lvl="0" indent="-171450">
              <a:buFont typeface="Arial" panose="020B0604020202020204" pitchFamily="34" charset="0"/>
              <a:buChar char="•"/>
            </a:pPr>
            <a:r>
              <a:rPr lang="en-US" sz="1200" dirty="0">
                <a:latin typeface="Amazon Ember" panose="020B0603020204020204" pitchFamily="34" charset="0"/>
                <a:ea typeface="Amazon Ember" panose="020B0603020204020204" pitchFamily="34" charset="0"/>
                <a:cs typeface="Amazon Ember" panose="020B0603020204020204" pitchFamily="34" charset="0"/>
              </a:rPr>
              <a:t>Can we replace components with services, which ones, when, how?</a:t>
            </a:r>
          </a:p>
          <a:p>
            <a:pPr marL="171450" lvl="0" indent="-171450">
              <a:buFont typeface="Arial" panose="020B0604020202020204" pitchFamily="34" charset="0"/>
              <a:buChar char="•"/>
            </a:pPr>
            <a:endParaRPr lang="en-US" sz="1200" dirty="0">
              <a:latin typeface="Amazon Ember" panose="020B0603020204020204" pitchFamily="34" charset="0"/>
              <a:ea typeface="Amazon Ember" panose="020B0603020204020204" pitchFamily="34" charset="0"/>
              <a:cs typeface="Amazon Ember" panose="020B0603020204020204" pitchFamily="34" charset="0"/>
            </a:endParaRPr>
          </a:p>
          <a:p>
            <a:pPr marL="171450" lvl="0" indent="-171450">
              <a:buFont typeface="Arial" panose="020B0604020202020204" pitchFamily="34" charset="0"/>
              <a:buChar char="•"/>
            </a:pPr>
            <a:r>
              <a:rPr lang="en-US" sz="1200" dirty="0">
                <a:latin typeface="Amazon Ember" panose="020B0603020204020204" pitchFamily="34" charset="0"/>
                <a:ea typeface="Amazon Ember" panose="020B0603020204020204" pitchFamily="34" charset="0"/>
                <a:cs typeface="Amazon Ember" panose="020B0603020204020204" pitchFamily="34" charset="0"/>
              </a:rPr>
              <a:t>Who should be involved?</a:t>
            </a:r>
          </a:p>
          <a:p>
            <a:pPr marL="171450" lvl="0" indent="-171450">
              <a:buFont typeface="Arial" panose="020B0604020202020204" pitchFamily="34" charset="0"/>
              <a:buChar char="•"/>
            </a:pPr>
            <a:endParaRPr lang="en-US" sz="1200" dirty="0">
              <a:latin typeface="Amazon Ember" panose="020B0603020204020204" pitchFamily="34" charset="0"/>
              <a:ea typeface="Amazon Ember" panose="020B0603020204020204" pitchFamily="34" charset="0"/>
              <a:cs typeface="Amazon Ember" panose="020B0603020204020204" pitchFamily="34" charset="0"/>
            </a:endParaRPr>
          </a:p>
          <a:p>
            <a:pPr marL="171450" lvl="0" indent="-171450">
              <a:buFont typeface="Arial" panose="020B0604020202020204" pitchFamily="34" charset="0"/>
              <a:buChar char="•"/>
            </a:pPr>
            <a:r>
              <a:rPr lang="en-US" sz="1200" dirty="0">
                <a:latin typeface="Amazon Ember" panose="020B0603020204020204" pitchFamily="34" charset="0"/>
                <a:ea typeface="Amazon Ember" panose="020B0603020204020204" pitchFamily="34" charset="0"/>
                <a:cs typeface="Amazon Ember" panose="020B0603020204020204" pitchFamily="34" charset="0"/>
              </a:rPr>
              <a:t>What decisions need to be made to move forward?</a:t>
            </a:r>
          </a:p>
          <a:p>
            <a:pPr marL="171450" lvl="0" indent="-171450">
              <a:buFont typeface="Arial" panose="020B0604020202020204" pitchFamily="34" charset="0"/>
              <a:buChar char="•"/>
            </a:pPr>
            <a:endParaRPr lang="en-US" sz="1200" dirty="0">
              <a:latin typeface="Amazon Ember" panose="020B0603020204020204" pitchFamily="34" charset="0"/>
              <a:ea typeface="Amazon Ember" panose="020B0603020204020204" pitchFamily="34" charset="0"/>
              <a:cs typeface="Amazon Ember" panose="020B0603020204020204" pitchFamily="34" charset="0"/>
            </a:endParaRPr>
          </a:p>
          <a:p>
            <a:pPr marL="171450" lvl="0" indent="-171450">
              <a:buFont typeface="Arial" panose="020B0604020202020204" pitchFamily="34" charset="0"/>
              <a:buChar char="•"/>
            </a:pPr>
            <a:r>
              <a:rPr lang="en-US" sz="1200" dirty="0">
                <a:latin typeface="Amazon Ember" panose="020B0603020204020204" pitchFamily="34" charset="0"/>
                <a:ea typeface="Amazon Ember" panose="020B0603020204020204" pitchFamily="34" charset="0"/>
                <a:cs typeface="Amazon Ember" panose="020B0603020204020204" pitchFamily="34" charset="0"/>
              </a:rPr>
              <a:t>What’s the impact on customers/users?</a:t>
            </a:r>
          </a:p>
          <a:p>
            <a:pPr marL="171450" lvl="0" indent="-171450">
              <a:buFont typeface="Arial" panose="020B0604020202020204" pitchFamily="34" charset="0"/>
              <a:buChar char="•"/>
            </a:pPr>
            <a:endParaRPr lang="en-US" sz="1200" dirty="0">
              <a:latin typeface="Amazon Ember" panose="020B0603020204020204" pitchFamily="34" charset="0"/>
              <a:ea typeface="Amazon Ember" panose="020B0603020204020204" pitchFamily="34" charset="0"/>
              <a:cs typeface="Amazon Ember" panose="020B0603020204020204" pitchFamily="34" charset="0"/>
            </a:endParaRPr>
          </a:p>
          <a:p>
            <a:pPr marL="171450" lvl="0" indent="-171450">
              <a:buFont typeface="Arial" panose="020B0604020202020204" pitchFamily="34" charset="0"/>
              <a:buChar char="•"/>
            </a:pPr>
            <a:r>
              <a:rPr lang="en-US" sz="1200" dirty="0">
                <a:latin typeface="Amazon Ember" panose="020B0603020204020204" pitchFamily="34" charset="0"/>
                <a:ea typeface="Amazon Ember" panose="020B0603020204020204" pitchFamily="34" charset="0"/>
                <a:cs typeface="Amazon Ember" panose="020B0603020204020204" pitchFamily="34" charset="0"/>
              </a:rPr>
              <a:t>What other applications and services is this application dependent on?</a:t>
            </a:r>
          </a:p>
          <a:p>
            <a:pPr marL="171450" lvl="0" indent="-171450">
              <a:buFont typeface="Arial" panose="020B0604020202020204" pitchFamily="34" charset="0"/>
              <a:buChar char="•"/>
            </a:pPr>
            <a:endParaRPr lang="en-US" sz="1200" dirty="0">
              <a:latin typeface="Amazon Ember" panose="020B0603020204020204" pitchFamily="34" charset="0"/>
              <a:ea typeface="Amazon Ember" panose="020B0603020204020204" pitchFamily="34" charset="0"/>
              <a:cs typeface="Amazon Ember" panose="020B0603020204020204" pitchFamily="34" charset="0"/>
            </a:endParaRPr>
          </a:p>
          <a:p>
            <a:pPr marL="171450" lvl="0" indent="-171450">
              <a:buFont typeface="Arial" panose="020B0604020202020204" pitchFamily="34" charset="0"/>
              <a:buChar char="•"/>
            </a:pPr>
            <a:r>
              <a:rPr lang="en-US" sz="1200" dirty="0">
                <a:latin typeface="Amazon Ember" panose="020B0603020204020204" pitchFamily="34" charset="0"/>
                <a:ea typeface="Amazon Ember" panose="020B0603020204020204" pitchFamily="34" charset="0"/>
                <a:cs typeface="Amazon Ember" panose="020B0603020204020204" pitchFamily="34" charset="0"/>
              </a:rPr>
              <a:t>Does this application fall in the scope of a Regulatory framework?</a:t>
            </a:r>
          </a:p>
        </p:txBody>
      </p:sp>
      <p:sp>
        <p:nvSpPr>
          <p:cNvPr id="17" name="TextBox 16">
            <a:extLst>
              <a:ext uri="{FF2B5EF4-FFF2-40B4-BE49-F238E27FC236}">
                <a16:creationId xmlns:a16="http://schemas.microsoft.com/office/drawing/2014/main" id="{8C017851-243F-0340-9B41-E73634D7C218}"/>
              </a:ext>
            </a:extLst>
          </p:cNvPr>
          <p:cNvSpPr txBox="1"/>
          <p:nvPr/>
        </p:nvSpPr>
        <p:spPr>
          <a:xfrm>
            <a:off x="11001055" y="1757815"/>
            <a:ext cx="1628652" cy="249299"/>
          </a:xfrm>
          <a:prstGeom prst="rect">
            <a:avLst/>
          </a:prstGeom>
          <a:noFill/>
        </p:spPr>
        <p:txBody>
          <a:bodyPr wrap="none" lIns="0" tIns="0" rIns="0" bIns="0" rtlCol="0">
            <a:spAutoFit/>
          </a:bodyPr>
          <a:lstStyle/>
          <a:p>
            <a:pPr marL="0" marR="0" lvl="0" indent="0" algn="ctr" defTabSz="731520" rtl="0" eaLnBrk="1" fontAlgn="auto" latinLnBrk="0" hangingPunct="1">
              <a:lnSpc>
                <a:spcPct val="90000"/>
              </a:lnSpc>
              <a:spcBef>
                <a:spcPts val="0"/>
              </a:spcBef>
              <a:spcAft>
                <a:spcPts val="180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mazon Ember"/>
                <a:ea typeface="+mn-ea"/>
                <a:cs typeface="+mn-cs"/>
              </a:rPr>
              <a:t>Execution Data</a:t>
            </a:r>
          </a:p>
        </p:txBody>
      </p:sp>
      <p:sp>
        <p:nvSpPr>
          <p:cNvPr id="18" name="Freeform 10">
            <a:extLst>
              <a:ext uri="{FF2B5EF4-FFF2-40B4-BE49-F238E27FC236}">
                <a16:creationId xmlns:a16="http://schemas.microsoft.com/office/drawing/2014/main" id="{1B777A7C-2314-A44C-9069-22D4E0E3B491}"/>
              </a:ext>
            </a:extLst>
          </p:cNvPr>
          <p:cNvSpPr>
            <a:spLocks/>
          </p:cNvSpPr>
          <p:nvPr/>
        </p:nvSpPr>
        <p:spPr bwMode="auto">
          <a:xfrm>
            <a:off x="10354714" y="2374351"/>
            <a:ext cx="3383940" cy="2954655"/>
          </a:xfrm>
          <a:prstGeom prst="rect">
            <a:avLst/>
          </a:prstGeom>
          <a:noFill/>
          <a:ln w="19050">
            <a:noFill/>
            <a:round/>
            <a:headEnd/>
            <a:tailEnd/>
          </a:ln>
        </p:spPr>
        <p:txBody>
          <a:bodyPr vert="horz" wrap="square" lIns="0" tIns="0" rIns="0" bIns="0" numCol="1" anchor="ctr" anchorCtr="0" compatLnSpc="1">
            <a:prstTxWarp prst="textNoShape">
              <a:avLst/>
            </a:prstTxWarp>
            <a:spAutoFit/>
          </a:bodyPr>
          <a:lstStyle/>
          <a:p>
            <a:pPr marL="171450" lvl="0" indent="-171450">
              <a:buFont typeface="Arial" panose="020B0604020202020204" pitchFamily="34" charset="0"/>
              <a:buChar char="•"/>
            </a:pPr>
            <a:r>
              <a:rPr lang="en-US" sz="1200" dirty="0">
                <a:latin typeface="Amazon Ember" panose="020B0603020204020204" pitchFamily="34" charset="0"/>
                <a:ea typeface="Amazon Ember" panose="020B0603020204020204" pitchFamily="34" charset="0"/>
                <a:cs typeface="Amazon Ember" panose="020B0603020204020204" pitchFamily="34" charset="0"/>
              </a:rPr>
              <a:t>Can we establish a Migration Factory?</a:t>
            </a:r>
          </a:p>
          <a:p>
            <a:pPr marL="171450" lvl="0" indent="-171450">
              <a:buFont typeface="Arial" panose="020B0604020202020204" pitchFamily="34" charset="0"/>
              <a:buChar char="•"/>
            </a:pPr>
            <a:endParaRPr lang="en-US" sz="1200" dirty="0">
              <a:latin typeface="Amazon Ember" panose="020B0603020204020204" pitchFamily="34" charset="0"/>
              <a:ea typeface="Amazon Ember" panose="020B0603020204020204" pitchFamily="34" charset="0"/>
              <a:cs typeface="Amazon Ember" panose="020B0603020204020204" pitchFamily="34" charset="0"/>
            </a:endParaRPr>
          </a:p>
          <a:p>
            <a:pPr marL="171450" lvl="0" indent="-171450">
              <a:buFont typeface="Arial" panose="020B0604020202020204" pitchFamily="34" charset="0"/>
              <a:buChar char="•"/>
            </a:pPr>
            <a:r>
              <a:rPr lang="en-US" sz="1200" dirty="0">
                <a:latin typeface="Amazon Ember" panose="020B0603020204020204" pitchFamily="34" charset="0"/>
                <a:ea typeface="Amazon Ember" panose="020B0603020204020204" pitchFamily="34" charset="0"/>
                <a:cs typeface="Amazon Ember" panose="020B0603020204020204" pitchFamily="34" charset="0"/>
              </a:rPr>
              <a:t>What migration tools are available?</a:t>
            </a:r>
          </a:p>
          <a:p>
            <a:pPr marL="171450" lvl="0" indent="-171450">
              <a:buFont typeface="Arial" panose="020B0604020202020204" pitchFamily="34" charset="0"/>
              <a:buChar char="•"/>
            </a:pPr>
            <a:endParaRPr lang="en-US" sz="1200" dirty="0">
              <a:latin typeface="Amazon Ember" panose="020B0603020204020204" pitchFamily="34" charset="0"/>
              <a:ea typeface="Amazon Ember" panose="020B0603020204020204" pitchFamily="34" charset="0"/>
              <a:cs typeface="Amazon Ember" panose="020B0603020204020204" pitchFamily="34" charset="0"/>
            </a:endParaRPr>
          </a:p>
          <a:p>
            <a:pPr marL="171450" lvl="0" indent="-171450">
              <a:buFont typeface="Arial" panose="020B0604020202020204" pitchFamily="34" charset="0"/>
              <a:buChar char="•"/>
            </a:pPr>
            <a:r>
              <a:rPr lang="en-US" sz="1200" dirty="0">
                <a:latin typeface="Amazon Ember" panose="020B0603020204020204" pitchFamily="34" charset="0"/>
                <a:ea typeface="Amazon Ember" panose="020B0603020204020204" pitchFamily="34" charset="0"/>
                <a:cs typeface="Amazon Ember" panose="020B0603020204020204" pitchFamily="34" charset="0"/>
              </a:rPr>
              <a:t>What can and cannot be automated?</a:t>
            </a:r>
          </a:p>
          <a:p>
            <a:pPr marL="171450" lvl="0" indent="-171450">
              <a:buFont typeface="Arial" panose="020B0604020202020204" pitchFamily="34" charset="0"/>
              <a:buChar char="•"/>
            </a:pPr>
            <a:endParaRPr lang="en-US" sz="1200" dirty="0">
              <a:latin typeface="Amazon Ember" panose="020B0603020204020204" pitchFamily="34" charset="0"/>
              <a:ea typeface="Amazon Ember" panose="020B0603020204020204" pitchFamily="34" charset="0"/>
              <a:cs typeface="Amazon Ember" panose="020B0603020204020204" pitchFamily="34" charset="0"/>
            </a:endParaRPr>
          </a:p>
          <a:p>
            <a:pPr marL="171450" lvl="0" indent="-171450">
              <a:buFont typeface="Arial" panose="020B0604020202020204" pitchFamily="34" charset="0"/>
              <a:buChar char="•"/>
            </a:pPr>
            <a:r>
              <a:rPr lang="en-US" sz="1200" dirty="0">
                <a:latin typeface="Amazon Ember" panose="020B0603020204020204" pitchFamily="34" charset="0"/>
                <a:ea typeface="Amazon Ember" panose="020B0603020204020204" pitchFamily="34" charset="0"/>
                <a:cs typeface="Amazon Ember" panose="020B0603020204020204" pitchFamily="34" charset="0"/>
              </a:rPr>
              <a:t>When do we begin?</a:t>
            </a:r>
          </a:p>
          <a:p>
            <a:pPr marL="171450" lvl="0" indent="-171450">
              <a:buFont typeface="Arial" panose="020B0604020202020204" pitchFamily="34" charset="0"/>
              <a:buChar char="•"/>
            </a:pPr>
            <a:endParaRPr lang="en-US" sz="1200" dirty="0">
              <a:latin typeface="Amazon Ember" panose="020B0603020204020204" pitchFamily="34" charset="0"/>
              <a:ea typeface="Amazon Ember" panose="020B0603020204020204" pitchFamily="34" charset="0"/>
              <a:cs typeface="Amazon Ember" panose="020B0603020204020204" pitchFamily="34" charset="0"/>
            </a:endParaRPr>
          </a:p>
          <a:p>
            <a:pPr marL="171450" lvl="0" indent="-171450">
              <a:buFont typeface="Arial" panose="020B0604020202020204" pitchFamily="34" charset="0"/>
              <a:buChar char="•"/>
            </a:pPr>
            <a:r>
              <a:rPr lang="en-US" sz="1200" dirty="0">
                <a:latin typeface="Amazon Ember" panose="020B0603020204020204" pitchFamily="34" charset="0"/>
                <a:ea typeface="Amazon Ember" panose="020B0603020204020204" pitchFamily="34" charset="0"/>
                <a:cs typeface="Amazon Ember" panose="020B0603020204020204" pitchFamily="34" charset="0"/>
              </a:rPr>
              <a:t>What are key dates related to business and application Lifecyle?</a:t>
            </a:r>
          </a:p>
          <a:p>
            <a:pPr marL="171450" lvl="0" indent="-171450">
              <a:buFont typeface="Arial" panose="020B0604020202020204" pitchFamily="34" charset="0"/>
              <a:buChar char="•"/>
            </a:pPr>
            <a:endParaRPr lang="en-US" sz="1200" dirty="0">
              <a:latin typeface="Amazon Ember" panose="020B0603020204020204" pitchFamily="34" charset="0"/>
              <a:ea typeface="Amazon Ember" panose="020B0603020204020204" pitchFamily="34" charset="0"/>
              <a:cs typeface="Amazon Ember" panose="020B0603020204020204" pitchFamily="34" charset="0"/>
            </a:endParaRPr>
          </a:p>
          <a:p>
            <a:pPr marL="171450" lvl="0" indent="-171450">
              <a:buFont typeface="Arial" panose="020B0604020202020204" pitchFamily="34" charset="0"/>
              <a:buChar char="•"/>
            </a:pPr>
            <a:r>
              <a:rPr lang="en-US" sz="1200" dirty="0">
                <a:latin typeface="Amazon Ember" panose="020B0603020204020204" pitchFamily="34" charset="0"/>
                <a:ea typeface="Amazon Ember" panose="020B0603020204020204" pitchFamily="34" charset="0"/>
                <a:cs typeface="Amazon Ember" panose="020B0603020204020204" pitchFamily="34" charset="0"/>
              </a:rPr>
              <a:t>Who’s responsible for what activities?</a:t>
            </a:r>
          </a:p>
          <a:p>
            <a:pPr marL="171450" lvl="0" indent="-171450">
              <a:buFont typeface="Arial" panose="020B0604020202020204" pitchFamily="34" charset="0"/>
              <a:buChar char="•"/>
            </a:pPr>
            <a:endParaRPr lang="en-US" sz="1200" dirty="0">
              <a:latin typeface="Amazon Ember" panose="020B0603020204020204" pitchFamily="34" charset="0"/>
              <a:ea typeface="Amazon Ember" panose="020B0603020204020204" pitchFamily="34" charset="0"/>
              <a:cs typeface="Amazon Ember" panose="020B0603020204020204" pitchFamily="34" charset="0"/>
            </a:endParaRPr>
          </a:p>
          <a:p>
            <a:pPr marL="171450" lvl="0" indent="-171450">
              <a:buFont typeface="Arial" panose="020B0604020202020204" pitchFamily="34" charset="0"/>
              <a:buChar char="•"/>
            </a:pPr>
            <a:r>
              <a:rPr lang="en-US" sz="1200" dirty="0">
                <a:latin typeface="Amazon Ember" panose="020B0603020204020204" pitchFamily="34" charset="0"/>
                <a:ea typeface="Amazon Ember" panose="020B0603020204020204" pitchFamily="34" charset="0"/>
                <a:cs typeface="Amazon Ember" panose="020B0603020204020204" pitchFamily="34" charset="0"/>
              </a:rPr>
              <a:t>How do we measure success?</a:t>
            </a:r>
          </a:p>
          <a:p>
            <a:pPr marL="171450" lvl="0" indent="-171450">
              <a:buFont typeface="Arial" panose="020B0604020202020204" pitchFamily="34" charset="0"/>
              <a:buChar char="•"/>
            </a:pPr>
            <a:endParaRPr lang="en-US" sz="1200" dirty="0">
              <a:latin typeface="Amazon Ember" panose="020B0603020204020204" pitchFamily="34" charset="0"/>
              <a:ea typeface="Amazon Ember" panose="020B0603020204020204" pitchFamily="34" charset="0"/>
              <a:cs typeface="Amazon Ember" panose="020B0603020204020204" pitchFamily="34" charset="0"/>
            </a:endParaRPr>
          </a:p>
          <a:p>
            <a:pPr marL="171450" lvl="0" indent="-171450">
              <a:buFont typeface="Arial" panose="020B0604020202020204" pitchFamily="34" charset="0"/>
              <a:buChar char="•"/>
            </a:pPr>
            <a:r>
              <a:rPr lang="en-US" sz="1200" dirty="0">
                <a:latin typeface="Amazon Ember" panose="020B0603020204020204" pitchFamily="34" charset="0"/>
                <a:ea typeface="Amazon Ember" panose="020B0603020204020204" pitchFamily="34" charset="0"/>
                <a:cs typeface="Amazon Ember" panose="020B0603020204020204" pitchFamily="34" charset="0"/>
              </a:rPr>
              <a:t>What happens if the unexpected happens?</a:t>
            </a:r>
          </a:p>
        </p:txBody>
      </p:sp>
      <p:sp>
        <p:nvSpPr>
          <p:cNvPr id="19" name="TextBox 18">
            <a:extLst>
              <a:ext uri="{FF2B5EF4-FFF2-40B4-BE49-F238E27FC236}">
                <a16:creationId xmlns:a16="http://schemas.microsoft.com/office/drawing/2014/main" id="{B44ED2D8-E867-0549-BA8F-4E38F6663C9F}"/>
              </a:ext>
            </a:extLst>
          </p:cNvPr>
          <p:cNvSpPr txBox="1"/>
          <p:nvPr/>
        </p:nvSpPr>
        <p:spPr>
          <a:xfrm rot="16200000">
            <a:off x="8379490" y="3976300"/>
            <a:ext cx="3111429" cy="276999"/>
          </a:xfrm>
          <a:prstGeom prst="rect">
            <a:avLst/>
          </a:prstGeom>
          <a:noFill/>
        </p:spPr>
        <p:txBody>
          <a:bodyPr wrap="none" lIns="0" tIns="0" rIns="0" bIns="0" rtlCol="0">
            <a:spAutoFit/>
          </a:bodyPr>
          <a:lstStyle/>
          <a:p>
            <a:pPr marL="0" marR="0" lvl="0" indent="0" algn="ctr" defTabSz="731520" rtl="0" eaLnBrk="1" fontAlgn="auto" latinLnBrk="0" hangingPunct="1">
              <a:lnSpc>
                <a:spcPct val="90000"/>
              </a:lnSpc>
              <a:spcBef>
                <a:spcPts val="0"/>
              </a:spcBef>
              <a:spcAft>
                <a:spcPts val="1800"/>
              </a:spcAft>
              <a:buClrTx/>
              <a:buSzTx/>
              <a:buFontTx/>
              <a:buNone/>
              <a:tabLst/>
              <a:defRPr/>
            </a:pPr>
            <a:r>
              <a:rPr kumimoji="0" lang="en-US" sz="2000" b="1" i="0" u="none" strike="noStrike" kern="1200" cap="none" spc="0" normalizeH="0" baseline="0" noProof="0" dirty="0">
                <a:ln>
                  <a:noFill/>
                </a:ln>
                <a:solidFill>
                  <a:schemeClr val="accent1">
                    <a:lumMod val="40000"/>
                    <a:lumOff val="60000"/>
                  </a:schemeClr>
                </a:solidFill>
                <a:effectLst/>
                <a:uLnTx/>
                <a:uFillTx/>
                <a:latin typeface="Amazon Ember"/>
                <a:ea typeface="+mn-ea"/>
                <a:cs typeface="+mn-cs"/>
              </a:rPr>
              <a:t>Portfolio (Planning) Level</a:t>
            </a:r>
          </a:p>
        </p:txBody>
      </p:sp>
      <p:sp>
        <p:nvSpPr>
          <p:cNvPr id="20" name="Rounded Rectangle 19">
            <a:extLst>
              <a:ext uri="{FF2B5EF4-FFF2-40B4-BE49-F238E27FC236}">
                <a16:creationId xmlns:a16="http://schemas.microsoft.com/office/drawing/2014/main" id="{1E6EB331-917F-9845-8F09-094F4A4C54BB}"/>
              </a:ext>
            </a:extLst>
          </p:cNvPr>
          <p:cNvSpPr/>
          <p:nvPr/>
        </p:nvSpPr>
        <p:spPr>
          <a:xfrm>
            <a:off x="543063" y="6536004"/>
            <a:ext cx="4302145" cy="767150"/>
          </a:xfrm>
          <a:prstGeom prst="roundRect">
            <a:avLst/>
          </a:prstGeom>
          <a:solidFill>
            <a:schemeClr val="accent1">
              <a:alpha val="3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1" name="Rounded Rectangle 20">
            <a:extLst>
              <a:ext uri="{FF2B5EF4-FFF2-40B4-BE49-F238E27FC236}">
                <a16:creationId xmlns:a16="http://schemas.microsoft.com/office/drawing/2014/main" id="{2855A6FB-ADED-244E-B306-9BD58F596553}"/>
              </a:ext>
            </a:extLst>
          </p:cNvPr>
          <p:cNvSpPr/>
          <p:nvPr/>
        </p:nvSpPr>
        <p:spPr>
          <a:xfrm>
            <a:off x="5115064" y="6536004"/>
            <a:ext cx="4302145" cy="767150"/>
          </a:xfrm>
          <a:prstGeom prst="roundRect">
            <a:avLst/>
          </a:prstGeom>
          <a:solidFill>
            <a:schemeClr val="accent1">
              <a:alpha val="3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2" name="Rounded Rectangle 21">
            <a:extLst>
              <a:ext uri="{FF2B5EF4-FFF2-40B4-BE49-F238E27FC236}">
                <a16:creationId xmlns:a16="http://schemas.microsoft.com/office/drawing/2014/main" id="{FB0A60F2-16F6-1843-B43E-65E54D136B98}"/>
              </a:ext>
            </a:extLst>
          </p:cNvPr>
          <p:cNvSpPr/>
          <p:nvPr/>
        </p:nvSpPr>
        <p:spPr>
          <a:xfrm>
            <a:off x="9692643" y="6536004"/>
            <a:ext cx="4302145" cy="767150"/>
          </a:xfrm>
          <a:prstGeom prst="roundRect">
            <a:avLst/>
          </a:prstGeom>
          <a:solidFill>
            <a:schemeClr val="accent1">
              <a:alpha val="3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 name="TextBox 22">
            <a:extLst>
              <a:ext uri="{FF2B5EF4-FFF2-40B4-BE49-F238E27FC236}">
                <a16:creationId xmlns:a16="http://schemas.microsoft.com/office/drawing/2014/main" id="{46339573-0530-9B42-A9EC-8D019C380237}"/>
              </a:ext>
            </a:extLst>
          </p:cNvPr>
          <p:cNvSpPr txBox="1"/>
          <p:nvPr/>
        </p:nvSpPr>
        <p:spPr>
          <a:xfrm>
            <a:off x="775009" y="6708799"/>
            <a:ext cx="3637978" cy="498598"/>
          </a:xfrm>
          <a:prstGeom prst="rect">
            <a:avLst/>
          </a:prstGeom>
          <a:noFill/>
        </p:spPr>
        <p:txBody>
          <a:bodyPr wrap="square" lIns="0" tIns="0" rIns="0" bIns="0" rtlCol="0">
            <a:spAutoFit/>
          </a:bodyPr>
          <a:lstStyle/>
          <a:p>
            <a:pPr marL="0" marR="0" lvl="0" indent="0" algn="ctr" defTabSz="731520" rtl="0" eaLnBrk="1" fontAlgn="auto" latinLnBrk="0" hangingPunct="1">
              <a:lnSpc>
                <a:spcPct val="90000"/>
              </a:lnSpc>
              <a:spcBef>
                <a:spcPts val="0"/>
              </a:spcBef>
              <a:spcAft>
                <a:spcPts val="180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mazon Ember"/>
                <a:ea typeface="+mn-ea"/>
                <a:cs typeface="+mn-cs"/>
              </a:rPr>
              <a:t>Interviews, Repositories &amp; Discovery Tooling</a:t>
            </a:r>
          </a:p>
        </p:txBody>
      </p:sp>
      <p:sp>
        <p:nvSpPr>
          <p:cNvPr id="24" name="TextBox 23">
            <a:extLst>
              <a:ext uri="{FF2B5EF4-FFF2-40B4-BE49-F238E27FC236}">
                <a16:creationId xmlns:a16="http://schemas.microsoft.com/office/drawing/2014/main" id="{004B649B-9C04-974C-A915-B95A23768325}"/>
              </a:ext>
            </a:extLst>
          </p:cNvPr>
          <p:cNvSpPr txBox="1"/>
          <p:nvPr/>
        </p:nvSpPr>
        <p:spPr>
          <a:xfrm>
            <a:off x="5207186" y="6822656"/>
            <a:ext cx="4158190" cy="249299"/>
          </a:xfrm>
          <a:prstGeom prst="rect">
            <a:avLst/>
          </a:prstGeom>
          <a:noFill/>
        </p:spPr>
        <p:txBody>
          <a:bodyPr wrap="none" lIns="0" tIns="0" rIns="0" bIns="0" rtlCol="0">
            <a:spAutoFit/>
          </a:bodyPr>
          <a:lstStyle/>
          <a:p>
            <a:pPr marL="0" marR="0" lvl="0" indent="0" algn="ctr" defTabSz="731520" rtl="0" eaLnBrk="1" fontAlgn="auto" latinLnBrk="0" hangingPunct="1">
              <a:lnSpc>
                <a:spcPct val="90000"/>
              </a:lnSpc>
              <a:spcBef>
                <a:spcPts val="0"/>
              </a:spcBef>
              <a:spcAft>
                <a:spcPts val="180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mazon Ember"/>
                <a:ea typeface="+mn-ea"/>
                <a:cs typeface="+mn-cs"/>
              </a:rPr>
              <a:t>Workshops, Templates &amp; Whiteboards</a:t>
            </a:r>
          </a:p>
        </p:txBody>
      </p:sp>
      <p:sp>
        <p:nvSpPr>
          <p:cNvPr id="25" name="TextBox 24">
            <a:extLst>
              <a:ext uri="{FF2B5EF4-FFF2-40B4-BE49-F238E27FC236}">
                <a16:creationId xmlns:a16="http://schemas.microsoft.com/office/drawing/2014/main" id="{5AD808C4-361D-2A49-8C16-73A735E38200}"/>
              </a:ext>
            </a:extLst>
          </p:cNvPr>
          <p:cNvSpPr txBox="1"/>
          <p:nvPr/>
        </p:nvSpPr>
        <p:spPr>
          <a:xfrm>
            <a:off x="10041658" y="6817456"/>
            <a:ext cx="3547446" cy="249299"/>
          </a:xfrm>
          <a:prstGeom prst="rect">
            <a:avLst/>
          </a:prstGeom>
          <a:noFill/>
        </p:spPr>
        <p:txBody>
          <a:bodyPr wrap="none" lIns="0" tIns="0" rIns="0" bIns="0" rtlCol="0">
            <a:spAutoFit/>
          </a:bodyPr>
          <a:lstStyle/>
          <a:p>
            <a:pPr marL="0" marR="0" lvl="0" indent="0" algn="ctr" defTabSz="731520" rtl="0" eaLnBrk="1" fontAlgn="auto" latinLnBrk="0" hangingPunct="1">
              <a:lnSpc>
                <a:spcPct val="90000"/>
              </a:lnSpc>
              <a:spcBef>
                <a:spcPts val="0"/>
              </a:spcBef>
              <a:spcAft>
                <a:spcPts val="180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mazon Ember"/>
                <a:ea typeface="+mn-ea"/>
                <a:cs typeface="+mn-cs"/>
              </a:rPr>
              <a:t>Migration Tooling &amp; Automation</a:t>
            </a:r>
          </a:p>
        </p:txBody>
      </p:sp>
      <p:sp>
        <p:nvSpPr>
          <p:cNvPr id="26" name="Triangle 25">
            <a:extLst>
              <a:ext uri="{FF2B5EF4-FFF2-40B4-BE49-F238E27FC236}">
                <a16:creationId xmlns:a16="http://schemas.microsoft.com/office/drawing/2014/main" id="{4439912F-978F-F449-A38E-1C8A28A1E531}"/>
              </a:ext>
            </a:extLst>
          </p:cNvPr>
          <p:cNvSpPr/>
          <p:nvPr/>
        </p:nvSpPr>
        <p:spPr>
          <a:xfrm rot="5400000">
            <a:off x="4702620" y="6724439"/>
            <a:ext cx="520185" cy="422735"/>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 name="Triangle 26">
            <a:extLst>
              <a:ext uri="{FF2B5EF4-FFF2-40B4-BE49-F238E27FC236}">
                <a16:creationId xmlns:a16="http://schemas.microsoft.com/office/drawing/2014/main" id="{B040E30B-2408-1641-813A-B46E56A7BB1F}"/>
              </a:ext>
            </a:extLst>
          </p:cNvPr>
          <p:cNvSpPr/>
          <p:nvPr/>
        </p:nvSpPr>
        <p:spPr>
          <a:xfrm rot="5400000">
            <a:off x="9325273" y="6735937"/>
            <a:ext cx="520185" cy="422735"/>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28" name="Picture 27">
            <a:extLst>
              <a:ext uri="{FF2B5EF4-FFF2-40B4-BE49-F238E27FC236}">
                <a16:creationId xmlns:a16="http://schemas.microsoft.com/office/drawing/2014/main" id="{A910E0CF-9DC6-AD45-A7E0-DE02C464B817}"/>
              </a:ext>
            </a:extLst>
          </p:cNvPr>
          <p:cNvPicPr>
            <a:picLocks noChangeAspect="1"/>
          </p:cNvPicPr>
          <p:nvPr/>
        </p:nvPicPr>
        <p:blipFill rotWithShape="1">
          <a:blip r:embed="rId3"/>
          <a:srcRect l="11024" r="14231"/>
          <a:stretch/>
        </p:blipFill>
        <p:spPr>
          <a:xfrm>
            <a:off x="13654112" y="6811"/>
            <a:ext cx="966264" cy="896112"/>
          </a:xfrm>
          <a:prstGeom prst="rect">
            <a:avLst/>
          </a:prstGeom>
        </p:spPr>
      </p:pic>
    </p:spTree>
    <p:extLst>
      <p:ext uri="{BB962C8B-B14F-4D97-AF65-F5344CB8AC3E}">
        <p14:creationId xmlns:p14="http://schemas.microsoft.com/office/powerpoint/2010/main" val="27114943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 name="Connector: Elbow 26">
            <a:extLst>
              <a:ext uri="{FF2B5EF4-FFF2-40B4-BE49-F238E27FC236}">
                <a16:creationId xmlns:a16="http://schemas.microsoft.com/office/drawing/2014/main" id="{5DA2203B-2AA0-4748-9361-44FE4CA98B91}"/>
              </a:ext>
            </a:extLst>
          </p:cNvPr>
          <p:cNvCxnSpPr>
            <a:stCxn id="39" idx="3"/>
            <a:endCxn id="16" idx="1"/>
          </p:cNvCxnSpPr>
          <p:nvPr/>
        </p:nvCxnSpPr>
        <p:spPr>
          <a:xfrm>
            <a:off x="4983635" y="4852157"/>
            <a:ext cx="2394125" cy="308918"/>
          </a:xfrm>
          <a:prstGeom prst="bentConnector3">
            <a:avLst>
              <a:gd name="adj1" fmla="val 19177"/>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16" name="Rectangle 15">
            <a:extLst>
              <a:ext uri="{FF2B5EF4-FFF2-40B4-BE49-F238E27FC236}">
                <a16:creationId xmlns:a16="http://schemas.microsoft.com/office/drawing/2014/main" id="{A33EE0D3-A604-2645-86FE-684D164C783B}"/>
              </a:ext>
            </a:extLst>
          </p:cNvPr>
          <p:cNvSpPr/>
          <p:nvPr/>
        </p:nvSpPr>
        <p:spPr>
          <a:xfrm>
            <a:off x="7377760" y="4965701"/>
            <a:ext cx="390747" cy="390747"/>
          </a:xfrm>
          <a:prstGeom prst="rect">
            <a:avLst/>
          </a:prstGeom>
          <a:solidFill>
            <a:srgbClr val="68AE3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31502"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101" name="Elbow Connector 100">
            <a:extLst>
              <a:ext uri="{FF2B5EF4-FFF2-40B4-BE49-F238E27FC236}">
                <a16:creationId xmlns:a16="http://schemas.microsoft.com/office/drawing/2014/main" id="{FC0FCAD0-BC99-8243-98A6-167156783BF6}"/>
              </a:ext>
            </a:extLst>
          </p:cNvPr>
          <p:cNvCxnSpPr>
            <a:cxnSpLocks/>
            <a:stCxn id="39" idx="3"/>
          </p:cNvCxnSpPr>
          <p:nvPr/>
        </p:nvCxnSpPr>
        <p:spPr>
          <a:xfrm flipV="1">
            <a:off x="4983635" y="4452679"/>
            <a:ext cx="2394125" cy="399478"/>
          </a:xfrm>
          <a:prstGeom prst="bentConnector3">
            <a:avLst>
              <a:gd name="adj1" fmla="val 19177"/>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129" name="Straight Arrow Connector 128">
            <a:extLst>
              <a:ext uri="{FF2B5EF4-FFF2-40B4-BE49-F238E27FC236}">
                <a16:creationId xmlns:a16="http://schemas.microsoft.com/office/drawing/2014/main" id="{16E7CF19-310A-2E4D-BE64-B90DAB17F8FC}"/>
              </a:ext>
            </a:extLst>
          </p:cNvPr>
          <p:cNvCxnSpPr>
            <a:cxnSpLocks/>
            <a:stCxn id="16" idx="3"/>
          </p:cNvCxnSpPr>
          <p:nvPr/>
        </p:nvCxnSpPr>
        <p:spPr>
          <a:xfrm>
            <a:off x="7768507" y="5161076"/>
            <a:ext cx="3690065" cy="0"/>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151" name="TextBox 150">
            <a:extLst>
              <a:ext uri="{FF2B5EF4-FFF2-40B4-BE49-F238E27FC236}">
                <a16:creationId xmlns:a16="http://schemas.microsoft.com/office/drawing/2014/main" id="{299D397F-BCCE-EB4E-A389-B702F7429F87}"/>
              </a:ext>
            </a:extLst>
          </p:cNvPr>
          <p:cNvSpPr txBox="1"/>
          <p:nvPr/>
        </p:nvSpPr>
        <p:spPr>
          <a:xfrm>
            <a:off x="4123999" y="5045592"/>
            <a:ext cx="1229587" cy="295465"/>
          </a:xfrm>
          <a:prstGeom prst="rect">
            <a:avLst/>
          </a:prstGeom>
          <a:noFill/>
        </p:spPr>
        <p:txBody>
          <a:bodyPr wrap="square" lIns="0" tIns="73152" rIns="0" bIns="0" rtlCol="0">
            <a:sp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440" i="0" u="none" strike="noStrike" kern="1200" cap="none" spc="0" normalizeH="0" baseline="0" noProof="0" dirty="0">
                <a:ln>
                  <a:noFill/>
                </a:ln>
                <a:solidFill>
                  <a:srgbClr val="FFFFFF"/>
                </a:solidFill>
                <a:effectLst/>
                <a:uLnTx/>
                <a:uFillTx/>
                <a:latin typeface="Amazon Ember"/>
                <a:ea typeface="Amazon Ember Heavy" panose="020B0803020204020204" pitchFamily="34" charset="0"/>
                <a:cs typeface="Amazon Ember Heavy" panose="020B0803020204020204" pitchFamily="34" charset="0"/>
              </a:rPr>
              <a:t>Rehost</a:t>
            </a:r>
          </a:p>
        </p:txBody>
      </p:sp>
      <p:sp>
        <p:nvSpPr>
          <p:cNvPr id="186" name="TextBox 185">
            <a:extLst>
              <a:ext uri="{FF2B5EF4-FFF2-40B4-BE49-F238E27FC236}">
                <a16:creationId xmlns:a16="http://schemas.microsoft.com/office/drawing/2014/main" id="{0A4FB0CB-FFAE-DC47-90AD-2B8A4B53AB66}"/>
              </a:ext>
            </a:extLst>
          </p:cNvPr>
          <p:cNvSpPr txBox="1"/>
          <p:nvPr/>
        </p:nvSpPr>
        <p:spPr>
          <a:xfrm>
            <a:off x="5652897" y="5058436"/>
            <a:ext cx="914400" cy="196977"/>
          </a:xfrm>
          <a:prstGeom prst="rect">
            <a:avLst/>
          </a:prstGeom>
          <a:solidFill>
            <a:srgbClr val="253140"/>
          </a:solidFill>
        </p:spPr>
        <p:txBody>
          <a:bodyPr wrap="square" lIns="0" tIns="0" rIns="0" bIns="0" rtlCol="0" anchor="ctr" anchorCtr="0">
            <a:sp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280" b="0" i="0" u="none" strike="noStrike" kern="1200" cap="none" spc="0" normalizeH="0" baseline="0" noProof="0" dirty="0">
                <a:ln>
                  <a:noFill/>
                </a:ln>
                <a:solidFill>
                  <a:srgbClr val="FFFFFF"/>
                </a:solidFill>
                <a:effectLst/>
                <a:uLnTx/>
                <a:uFillTx/>
                <a:latin typeface="Amazon Ember Regular"/>
                <a:ea typeface="Amazon Ember Light" panose="020B0403020204020204" pitchFamily="34" charset="0"/>
                <a:cs typeface="Amazon Ember Light" panose="020B0403020204020204" pitchFamily="34" charset="0"/>
              </a:rPr>
              <a:t>Automate</a:t>
            </a:r>
          </a:p>
        </p:txBody>
      </p:sp>
      <p:sp>
        <p:nvSpPr>
          <p:cNvPr id="187" name="TextBox 186">
            <a:extLst>
              <a:ext uri="{FF2B5EF4-FFF2-40B4-BE49-F238E27FC236}">
                <a16:creationId xmlns:a16="http://schemas.microsoft.com/office/drawing/2014/main" id="{7A321C7C-A97A-4941-B2E0-01BB50FD6D26}"/>
              </a:ext>
            </a:extLst>
          </p:cNvPr>
          <p:cNvSpPr txBox="1"/>
          <p:nvPr/>
        </p:nvSpPr>
        <p:spPr>
          <a:xfrm>
            <a:off x="5652897" y="4357876"/>
            <a:ext cx="914400" cy="196977"/>
          </a:xfrm>
          <a:prstGeom prst="rect">
            <a:avLst/>
          </a:prstGeom>
          <a:solidFill>
            <a:srgbClr val="253140"/>
          </a:solidFill>
        </p:spPr>
        <p:txBody>
          <a:bodyPr wrap="square" lIns="0" tIns="0" rIns="0" bIns="0" rtlCol="0" anchor="ctr" anchorCtr="0">
            <a:sp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280" b="0" i="0" u="none" strike="noStrike" kern="1200" cap="none" spc="0" normalizeH="0" baseline="0" noProof="0" dirty="0">
                <a:ln>
                  <a:noFill/>
                </a:ln>
                <a:solidFill>
                  <a:srgbClr val="FFFFFF"/>
                </a:solidFill>
                <a:effectLst/>
                <a:uLnTx/>
                <a:uFillTx/>
                <a:latin typeface="Amazon Ember Regular"/>
                <a:ea typeface="Amazon Ember Light" panose="020B0403020204020204" pitchFamily="34" charset="0"/>
                <a:cs typeface="Amazon Ember Light" panose="020B0403020204020204" pitchFamily="34" charset="0"/>
              </a:rPr>
              <a:t>Manual</a:t>
            </a:r>
          </a:p>
        </p:txBody>
      </p:sp>
      <p:sp>
        <p:nvSpPr>
          <p:cNvPr id="32" name="Rectangle 31">
            <a:extLst>
              <a:ext uri="{FF2B5EF4-FFF2-40B4-BE49-F238E27FC236}">
                <a16:creationId xmlns:a16="http://schemas.microsoft.com/office/drawing/2014/main" id="{6FE3F86F-CEE4-AB40-9B41-E2C09EC0C9F8}"/>
              </a:ext>
            </a:extLst>
          </p:cNvPr>
          <p:cNvSpPr/>
          <p:nvPr/>
        </p:nvSpPr>
        <p:spPr>
          <a:xfrm>
            <a:off x="7377760" y="4261115"/>
            <a:ext cx="390747" cy="390747"/>
          </a:xfrm>
          <a:prstGeom prst="rect">
            <a:avLst/>
          </a:prstGeom>
          <a:solidFill>
            <a:srgbClr val="FEDE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31502"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rial"/>
              <a:ea typeface="+mn-ea"/>
              <a:cs typeface="+mn-cs"/>
            </a:endParaRPr>
          </a:p>
        </p:txBody>
      </p:sp>
      <p:sp>
        <p:nvSpPr>
          <p:cNvPr id="77" name="Rectangle 76">
            <a:extLst>
              <a:ext uri="{FF2B5EF4-FFF2-40B4-BE49-F238E27FC236}">
                <a16:creationId xmlns:a16="http://schemas.microsoft.com/office/drawing/2014/main" id="{9654EE10-36DB-234F-A9A8-D31A72E1EDDB}"/>
              </a:ext>
            </a:extLst>
          </p:cNvPr>
          <p:cNvSpPr/>
          <p:nvPr/>
        </p:nvSpPr>
        <p:spPr>
          <a:xfrm>
            <a:off x="8771327" y="4261114"/>
            <a:ext cx="390747" cy="390747"/>
          </a:xfrm>
          <a:prstGeom prst="rect">
            <a:avLst/>
          </a:prstGeom>
          <a:solidFill>
            <a:srgbClr val="FEDE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31502"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rial"/>
              <a:ea typeface="+mn-ea"/>
              <a:cs typeface="+mn-cs"/>
            </a:endParaRPr>
          </a:p>
        </p:txBody>
      </p:sp>
      <p:sp>
        <p:nvSpPr>
          <p:cNvPr id="78" name="Rectangle 77">
            <a:extLst>
              <a:ext uri="{FF2B5EF4-FFF2-40B4-BE49-F238E27FC236}">
                <a16:creationId xmlns:a16="http://schemas.microsoft.com/office/drawing/2014/main" id="{3E20CEE8-2188-C543-B3F6-A5018F605E24}"/>
              </a:ext>
            </a:extLst>
          </p:cNvPr>
          <p:cNvSpPr/>
          <p:nvPr/>
        </p:nvSpPr>
        <p:spPr>
          <a:xfrm>
            <a:off x="10187995" y="4261114"/>
            <a:ext cx="390747" cy="390747"/>
          </a:xfrm>
          <a:prstGeom prst="rect">
            <a:avLst/>
          </a:prstGeom>
          <a:solidFill>
            <a:srgbClr val="FEDE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31502"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104" name="Straight Arrow Connector 103">
            <a:extLst>
              <a:ext uri="{FF2B5EF4-FFF2-40B4-BE49-F238E27FC236}">
                <a16:creationId xmlns:a16="http://schemas.microsoft.com/office/drawing/2014/main" id="{2934DCCA-549A-DF49-A05A-D8DE0BE10901}"/>
              </a:ext>
            </a:extLst>
          </p:cNvPr>
          <p:cNvCxnSpPr>
            <a:cxnSpLocks/>
            <a:stCxn id="32" idx="3"/>
            <a:endCxn id="77" idx="1"/>
          </p:cNvCxnSpPr>
          <p:nvPr/>
        </p:nvCxnSpPr>
        <p:spPr>
          <a:xfrm flipV="1">
            <a:off x="7768507" y="4456486"/>
            <a:ext cx="1002819" cy="2"/>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108" name="Straight Arrow Connector 107">
            <a:extLst>
              <a:ext uri="{FF2B5EF4-FFF2-40B4-BE49-F238E27FC236}">
                <a16:creationId xmlns:a16="http://schemas.microsoft.com/office/drawing/2014/main" id="{CB46AB93-4114-7E48-98FB-581446E30356}"/>
              </a:ext>
            </a:extLst>
          </p:cNvPr>
          <p:cNvCxnSpPr>
            <a:cxnSpLocks/>
            <a:stCxn id="77" idx="3"/>
            <a:endCxn id="78" idx="1"/>
          </p:cNvCxnSpPr>
          <p:nvPr/>
        </p:nvCxnSpPr>
        <p:spPr>
          <a:xfrm>
            <a:off x="9162074" y="4456486"/>
            <a:ext cx="1025923" cy="0"/>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113" name="Straight Arrow Connector 112">
            <a:extLst>
              <a:ext uri="{FF2B5EF4-FFF2-40B4-BE49-F238E27FC236}">
                <a16:creationId xmlns:a16="http://schemas.microsoft.com/office/drawing/2014/main" id="{49E98518-5F0A-C543-A696-95E2C9A12D68}"/>
              </a:ext>
            </a:extLst>
          </p:cNvPr>
          <p:cNvCxnSpPr>
            <a:cxnSpLocks/>
            <a:stCxn id="78" idx="3"/>
          </p:cNvCxnSpPr>
          <p:nvPr/>
        </p:nvCxnSpPr>
        <p:spPr>
          <a:xfrm flipV="1">
            <a:off x="10578744" y="4456486"/>
            <a:ext cx="886756" cy="2"/>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192" name="TextBox 191">
            <a:extLst>
              <a:ext uri="{FF2B5EF4-FFF2-40B4-BE49-F238E27FC236}">
                <a16:creationId xmlns:a16="http://schemas.microsoft.com/office/drawing/2014/main" id="{F9C2F4ED-5CCC-AF42-BA36-6D067A873494}"/>
              </a:ext>
            </a:extLst>
          </p:cNvPr>
          <p:cNvSpPr txBox="1"/>
          <p:nvPr/>
        </p:nvSpPr>
        <p:spPr>
          <a:xfrm>
            <a:off x="7177958" y="4646203"/>
            <a:ext cx="790348" cy="270843"/>
          </a:xfrm>
          <a:prstGeom prst="rect">
            <a:avLst/>
          </a:prstGeom>
          <a:noFill/>
        </p:spPr>
        <p:txBody>
          <a:bodyPr wrap="square" lIns="0" tIns="73152" rIns="0" bIns="0" rtlCol="0">
            <a:sp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280" b="0" i="0" u="none" strike="noStrike" kern="1200" cap="none" spc="0" normalizeH="0" baseline="0" noProof="0" dirty="0">
                <a:ln>
                  <a:noFill/>
                </a:ln>
                <a:solidFill>
                  <a:srgbClr val="FFFFFF"/>
                </a:solidFill>
                <a:effectLst/>
                <a:uLnTx/>
                <a:uFillTx/>
                <a:latin typeface="Amazon Ember Regular"/>
                <a:ea typeface="Amazon Ember Light" panose="020B0403020204020204" pitchFamily="34" charset="0"/>
                <a:cs typeface="Amazon Ember Light" panose="020B0403020204020204" pitchFamily="34" charset="0"/>
              </a:rPr>
              <a:t>Install</a:t>
            </a:r>
          </a:p>
        </p:txBody>
      </p:sp>
      <p:sp>
        <p:nvSpPr>
          <p:cNvPr id="193" name="TextBox 192">
            <a:extLst>
              <a:ext uri="{FF2B5EF4-FFF2-40B4-BE49-F238E27FC236}">
                <a16:creationId xmlns:a16="http://schemas.microsoft.com/office/drawing/2014/main" id="{046068B6-F60F-5C4C-A417-51406DCCF60E}"/>
              </a:ext>
            </a:extLst>
          </p:cNvPr>
          <p:cNvSpPr txBox="1"/>
          <p:nvPr/>
        </p:nvSpPr>
        <p:spPr>
          <a:xfrm>
            <a:off x="8571524" y="4646203"/>
            <a:ext cx="790348" cy="270843"/>
          </a:xfrm>
          <a:prstGeom prst="rect">
            <a:avLst/>
          </a:prstGeom>
          <a:noFill/>
        </p:spPr>
        <p:txBody>
          <a:bodyPr wrap="square" lIns="0" tIns="73152" rIns="0" bIns="0" rtlCol="0">
            <a:sp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280" b="0" i="0" u="none" strike="noStrike" kern="1200" cap="none" spc="0" normalizeH="0" baseline="0" noProof="0" dirty="0">
                <a:ln>
                  <a:noFill/>
                </a:ln>
                <a:solidFill>
                  <a:srgbClr val="FFFFFF"/>
                </a:solidFill>
                <a:effectLst/>
                <a:uLnTx/>
                <a:uFillTx/>
                <a:latin typeface="Amazon Ember Regular"/>
                <a:ea typeface="Amazon Ember Light" panose="020B0403020204020204" pitchFamily="34" charset="0"/>
                <a:cs typeface="Amazon Ember Light" panose="020B0403020204020204" pitchFamily="34" charset="0"/>
              </a:rPr>
              <a:t>Config</a:t>
            </a:r>
          </a:p>
        </p:txBody>
      </p:sp>
      <p:sp>
        <p:nvSpPr>
          <p:cNvPr id="194" name="TextBox 193">
            <a:extLst>
              <a:ext uri="{FF2B5EF4-FFF2-40B4-BE49-F238E27FC236}">
                <a16:creationId xmlns:a16="http://schemas.microsoft.com/office/drawing/2014/main" id="{C2525663-EEB0-2241-B287-18F87B12CC66}"/>
              </a:ext>
            </a:extLst>
          </p:cNvPr>
          <p:cNvSpPr txBox="1"/>
          <p:nvPr/>
        </p:nvSpPr>
        <p:spPr>
          <a:xfrm>
            <a:off x="9988194" y="4646203"/>
            <a:ext cx="790348" cy="270843"/>
          </a:xfrm>
          <a:prstGeom prst="rect">
            <a:avLst/>
          </a:prstGeom>
          <a:noFill/>
        </p:spPr>
        <p:txBody>
          <a:bodyPr wrap="square" lIns="0" tIns="73152" rIns="0" bIns="0" rtlCol="0">
            <a:sp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280" b="0" i="0" u="none" strike="noStrike" kern="1200" cap="none" spc="0" normalizeH="0" baseline="0" noProof="0" dirty="0">
                <a:ln>
                  <a:noFill/>
                </a:ln>
                <a:solidFill>
                  <a:srgbClr val="FFFFFF"/>
                </a:solidFill>
                <a:effectLst/>
                <a:uLnTx/>
                <a:uFillTx/>
                <a:latin typeface="Amazon Ember Regular"/>
                <a:ea typeface="Amazon Ember Light" panose="020B0403020204020204" pitchFamily="34" charset="0"/>
                <a:cs typeface="Amazon Ember Light" panose="020B0403020204020204" pitchFamily="34" charset="0"/>
              </a:rPr>
              <a:t>Deploy</a:t>
            </a:r>
          </a:p>
        </p:txBody>
      </p:sp>
      <p:sp>
        <p:nvSpPr>
          <p:cNvPr id="190" name="TextBox 189">
            <a:extLst>
              <a:ext uri="{FF2B5EF4-FFF2-40B4-BE49-F238E27FC236}">
                <a16:creationId xmlns:a16="http://schemas.microsoft.com/office/drawing/2014/main" id="{DE1950A8-71CF-B848-AEC5-8AE2B3F2A1C7}"/>
              </a:ext>
            </a:extLst>
          </p:cNvPr>
          <p:cNvSpPr txBox="1"/>
          <p:nvPr/>
        </p:nvSpPr>
        <p:spPr>
          <a:xfrm>
            <a:off x="6926780" y="1784927"/>
            <a:ext cx="1229587" cy="467819"/>
          </a:xfrm>
          <a:prstGeom prst="rect">
            <a:avLst/>
          </a:prstGeom>
          <a:noFill/>
        </p:spPr>
        <p:txBody>
          <a:bodyPr wrap="square" lIns="0" tIns="73152" rIns="0" bIns="0" rtlCol="0">
            <a:sp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280" b="0" i="0" u="none" strike="noStrike" kern="1200" cap="none" spc="0" normalizeH="0" baseline="0" noProof="0" dirty="0">
                <a:ln>
                  <a:noFill/>
                </a:ln>
                <a:solidFill>
                  <a:srgbClr val="FFFFFF"/>
                </a:solidFill>
                <a:effectLst/>
                <a:uLnTx/>
                <a:uFillTx/>
                <a:latin typeface="Amazon Ember Regular"/>
                <a:ea typeface="Amazon Ember Light" panose="020B0403020204020204" pitchFamily="34" charset="0"/>
                <a:cs typeface="Amazon Ember Light" panose="020B0403020204020204" pitchFamily="34" charset="0"/>
              </a:rPr>
              <a:t>App code</a:t>
            </a:r>
          </a:p>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280" b="0" i="0" u="none" strike="noStrike" kern="1200" cap="none" spc="0" normalizeH="0" baseline="0" noProof="0" dirty="0">
                <a:ln>
                  <a:noFill/>
                </a:ln>
                <a:solidFill>
                  <a:srgbClr val="FFFFFF"/>
                </a:solidFill>
                <a:effectLst/>
                <a:uLnTx/>
                <a:uFillTx/>
                <a:latin typeface="Amazon Ember Regular"/>
                <a:ea typeface="Amazon Ember Light" panose="020B0403020204020204" pitchFamily="34" charset="0"/>
                <a:cs typeface="Amazon Ember Light" panose="020B0403020204020204" pitchFamily="34" charset="0"/>
              </a:rPr>
              <a:t>development</a:t>
            </a:r>
          </a:p>
        </p:txBody>
      </p:sp>
      <p:sp>
        <p:nvSpPr>
          <p:cNvPr id="10" name="Rectangle 9">
            <a:extLst>
              <a:ext uri="{FF2B5EF4-FFF2-40B4-BE49-F238E27FC236}">
                <a16:creationId xmlns:a16="http://schemas.microsoft.com/office/drawing/2014/main" id="{8ADF2152-EC0B-9E49-8C73-F7D0A9F88C48}"/>
              </a:ext>
            </a:extLst>
          </p:cNvPr>
          <p:cNvSpPr/>
          <p:nvPr/>
        </p:nvSpPr>
        <p:spPr>
          <a:xfrm>
            <a:off x="4543419" y="1406810"/>
            <a:ext cx="390747" cy="390747"/>
          </a:xfrm>
          <a:prstGeom prst="rect">
            <a:avLst/>
          </a:prstGeom>
          <a:solidFill>
            <a:srgbClr val="007DB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31502"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741E1DB1-CFDE-B740-8B2E-B5D241C49BB4}"/>
              </a:ext>
            </a:extLst>
          </p:cNvPr>
          <p:cNvSpPr/>
          <p:nvPr/>
        </p:nvSpPr>
        <p:spPr>
          <a:xfrm>
            <a:off x="5940768" y="1392788"/>
            <a:ext cx="390747" cy="390747"/>
          </a:xfrm>
          <a:prstGeom prst="rect">
            <a:avLst/>
          </a:prstGeom>
          <a:solidFill>
            <a:srgbClr val="007DB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31502"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60" name="Straight Arrow Connector 59">
            <a:extLst>
              <a:ext uri="{FF2B5EF4-FFF2-40B4-BE49-F238E27FC236}">
                <a16:creationId xmlns:a16="http://schemas.microsoft.com/office/drawing/2014/main" id="{94A15A02-175D-FC48-AAED-BEBA1A120861}"/>
              </a:ext>
            </a:extLst>
          </p:cNvPr>
          <p:cNvCxnSpPr>
            <a:cxnSpLocks/>
            <a:stCxn id="10" idx="3"/>
            <a:endCxn id="18" idx="1"/>
          </p:cNvCxnSpPr>
          <p:nvPr/>
        </p:nvCxnSpPr>
        <p:spPr>
          <a:xfrm flipV="1">
            <a:off x="4934166" y="1588162"/>
            <a:ext cx="1006602" cy="14022"/>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71" name="Rectangle 70">
            <a:extLst>
              <a:ext uri="{FF2B5EF4-FFF2-40B4-BE49-F238E27FC236}">
                <a16:creationId xmlns:a16="http://schemas.microsoft.com/office/drawing/2014/main" id="{34E669AB-D231-964B-9AF7-114DE065CE8B}"/>
              </a:ext>
            </a:extLst>
          </p:cNvPr>
          <p:cNvSpPr/>
          <p:nvPr/>
        </p:nvSpPr>
        <p:spPr>
          <a:xfrm>
            <a:off x="7346201" y="1385673"/>
            <a:ext cx="390747" cy="390747"/>
          </a:xfrm>
          <a:prstGeom prst="rect">
            <a:avLst/>
          </a:prstGeom>
          <a:solidFill>
            <a:srgbClr val="007DB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31502"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73" name="Straight Arrow Connector 72">
            <a:extLst>
              <a:ext uri="{FF2B5EF4-FFF2-40B4-BE49-F238E27FC236}">
                <a16:creationId xmlns:a16="http://schemas.microsoft.com/office/drawing/2014/main" id="{CCD24AC7-7823-8642-BBD3-8B160BFB5E03}"/>
              </a:ext>
            </a:extLst>
          </p:cNvPr>
          <p:cNvCxnSpPr>
            <a:cxnSpLocks/>
            <a:stCxn id="18" idx="3"/>
            <a:endCxn id="71" idx="1"/>
          </p:cNvCxnSpPr>
          <p:nvPr/>
        </p:nvCxnSpPr>
        <p:spPr>
          <a:xfrm flipV="1">
            <a:off x="6331515" y="1581047"/>
            <a:ext cx="1014686" cy="7115"/>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79" name="Rectangle 78">
            <a:extLst>
              <a:ext uri="{FF2B5EF4-FFF2-40B4-BE49-F238E27FC236}">
                <a16:creationId xmlns:a16="http://schemas.microsoft.com/office/drawing/2014/main" id="{B9F0E0E5-6294-E847-AC96-600AD5D91ABB}"/>
              </a:ext>
            </a:extLst>
          </p:cNvPr>
          <p:cNvSpPr/>
          <p:nvPr/>
        </p:nvSpPr>
        <p:spPr>
          <a:xfrm>
            <a:off x="8739768" y="1385673"/>
            <a:ext cx="390747" cy="390747"/>
          </a:xfrm>
          <a:prstGeom prst="rect">
            <a:avLst/>
          </a:prstGeom>
          <a:solidFill>
            <a:srgbClr val="007DB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6304" tIns="73152" rIns="146304" bIns="73152" numCol="1" spcCol="0" rtlCol="0" fromWordArt="0" anchor="ctr" anchorCtr="0" forceAA="0" compatLnSpc="1">
            <a:prstTxWarp prst="textNoShape">
              <a:avLst/>
            </a:prstTxWarp>
            <a:no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rial"/>
              <a:ea typeface="+mn-ea"/>
              <a:cs typeface="+mn-cs"/>
            </a:endParaRPr>
          </a:p>
        </p:txBody>
      </p:sp>
      <p:sp>
        <p:nvSpPr>
          <p:cNvPr id="80" name="Rectangle 79">
            <a:extLst>
              <a:ext uri="{FF2B5EF4-FFF2-40B4-BE49-F238E27FC236}">
                <a16:creationId xmlns:a16="http://schemas.microsoft.com/office/drawing/2014/main" id="{DEC42035-EAE9-1F4E-BEF9-9CEC3B269D04}"/>
              </a:ext>
            </a:extLst>
          </p:cNvPr>
          <p:cNvSpPr/>
          <p:nvPr/>
        </p:nvSpPr>
        <p:spPr>
          <a:xfrm>
            <a:off x="10156436" y="1386878"/>
            <a:ext cx="390747" cy="390747"/>
          </a:xfrm>
          <a:prstGeom prst="rect">
            <a:avLst/>
          </a:prstGeom>
          <a:solidFill>
            <a:srgbClr val="007DB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6304" tIns="73152" rIns="146304" bIns="73152" numCol="1" spcCol="0" rtlCol="0" fromWordArt="0" anchor="ctr" anchorCtr="0" forceAA="0" compatLnSpc="1">
            <a:prstTxWarp prst="textNoShape">
              <a:avLst/>
            </a:prstTxWarp>
            <a:no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114" name="Straight Arrow Connector 113">
            <a:extLst>
              <a:ext uri="{FF2B5EF4-FFF2-40B4-BE49-F238E27FC236}">
                <a16:creationId xmlns:a16="http://schemas.microsoft.com/office/drawing/2014/main" id="{6061F214-3011-4B48-8A4B-A9F765DB6C5A}"/>
              </a:ext>
            </a:extLst>
          </p:cNvPr>
          <p:cNvCxnSpPr>
            <a:cxnSpLocks/>
            <a:stCxn id="80" idx="3"/>
          </p:cNvCxnSpPr>
          <p:nvPr/>
        </p:nvCxnSpPr>
        <p:spPr>
          <a:xfrm flipV="1">
            <a:off x="10547185" y="1582249"/>
            <a:ext cx="887396" cy="3"/>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117" name="Straight Arrow Connector 116">
            <a:extLst>
              <a:ext uri="{FF2B5EF4-FFF2-40B4-BE49-F238E27FC236}">
                <a16:creationId xmlns:a16="http://schemas.microsoft.com/office/drawing/2014/main" id="{FD6EF301-007A-6942-AA64-AB3EFD6E6033}"/>
              </a:ext>
            </a:extLst>
          </p:cNvPr>
          <p:cNvCxnSpPr>
            <a:cxnSpLocks/>
            <a:stCxn id="71" idx="3"/>
            <a:endCxn id="79" idx="1"/>
          </p:cNvCxnSpPr>
          <p:nvPr/>
        </p:nvCxnSpPr>
        <p:spPr>
          <a:xfrm>
            <a:off x="7736948" y="1581047"/>
            <a:ext cx="1002819" cy="0"/>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118" name="Straight Arrow Connector 117">
            <a:extLst>
              <a:ext uri="{FF2B5EF4-FFF2-40B4-BE49-F238E27FC236}">
                <a16:creationId xmlns:a16="http://schemas.microsoft.com/office/drawing/2014/main" id="{6561D790-BA20-3046-A226-250D371F2538}"/>
              </a:ext>
            </a:extLst>
          </p:cNvPr>
          <p:cNvCxnSpPr>
            <a:cxnSpLocks/>
            <a:stCxn id="79" idx="3"/>
            <a:endCxn id="80" idx="1"/>
          </p:cNvCxnSpPr>
          <p:nvPr/>
        </p:nvCxnSpPr>
        <p:spPr>
          <a:xfrm>
            <a:off x="9130515" y="1581047"/>
            <a:ext cx="1025923" cy="1205"/>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148" name="TextBox 147">
            <a:extLst>
              <a:ext uri="{FF2B5EF4-FFF2-40B4-BE49-F238E27FC236}">
                <a16:creationId xmlns:a16="http://schemas.microsoft.com/office/drawing/2014/main" id="{FC5F6CE0-7F87-3845-9DF6-9B03D843008A}"/>
              </a:ext>
            </a:extLst>
          </p:cNvPr>
          <p:cNvSpPr txBox="1"/>
          <p:nvPr/>
        </p:nvSpPr>
        <p:spPr>
          <a:xfrm>
            <a:off x="4123999" y="1796365"/>
            <a:ext cx="1229587" cy="295465"/>
          </a:xfrm>
          <a:prstGeom prst="rect">
            <a:avLst/>
          </a:prstGeom>
          <a:noFill/>
        </p:spPr>
        <p:txBody>
          <a:bodyPr wrap="square" lIns="0" tIns="73152" rIns="0" bIns="0" rtlCol="0">
            <a:sp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440" i="0" u="none" strike="noStrike" kern="1200" cap="none" spc="0" normalizeH="0" baseline="0" noProof="0" dirty="0">
                <a:ln>
                  <a:noFill/>
                </a:ln>
                <a:solidFill>
                  <a:srgbClr val="FFFFFF"/>
                </a:solidFill>
                <a:effectLst/>
                <a:uLnTx/>
                <a:uFillTx/>
                <a:latin typeface="Amazon Ember"/>
                <a:ea typeface="Amazon Ember Heavy" panose="020B0803020204020204" pitchFamily="34" charset="0"/>
                <a:cs typeface="Amazon Ember Heavy" panose="020B0803020204020204" pitchFamily="34" charset="0"/>
              </a:rPr>
              <a:t>Refactor</a:t>
            </a:r>
          </a:p>
        </p:txBody>
      </p:sp>
      <p:sp>
        <p:nvSpPr>
          <p:cNvPr id="185" name="TextBox 184">
            <a:extLst>
              <a:ext uri="{FF2B5EF4-FFF2-40B4-BE49-F238E27FC236}">
                <a16:creationId xmlns:a16="http://schemas.microsoft.com/office/drawing/2014/main" id="{1B05EB6B-E0E9-8D40-B847-C4D21D0B9DF8}"/>
              </a:ext>
            </a:extLst>
          </p:cNvPr>
          <p:cNvSpPr txBox="1"/>
          <p:nvPr/>
        </p:nvSpPr>
        <p:spPr>
          <a:xfrm>
            <a:off x="5521347" y="1784927"/>
            <a:ext cx="1229587" cy="270843"/>
          </a:xfrm>
          <a:prstGeom prst="rect">
            <a:avLst/>
          </a:prstGeom>
          <a:noFill/>
        </p:spPr>
        <p:txBody>
          <a:bodyPr wrap="square" lIns="0" tIns="73152" rIns="0" bIns="0" rtlCol="0">
            <a:sp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280" b="0" i="0" u="none" strike="noStrike" kern="1200" cap="none" spc="0" normalizeH="0" baseline="0" noProof="0" dirty="0">
                <a:ln>
                  <a:noFill/>
                </a:ln>
                <a:solidFill>
                  <a:srgbClr val="FFFFFF"/>
                </a:solidFill>
                <a:effectLst/>
                <a:uLnTx/>
                <a:uFillTx/>
                <a:latin typeface="Amazon Ember Regular"/>
                <a:ea typeface="Amazon Ember Light" panose="020B0403020204020204" pitchFamily="34" charset="0"/>
                <a:cs typeface="Amazon Ember Light" panose="020B0403020204020204" pitchFamily="34" charset="0"/>
              </a:rPr>
              <a:t>Redesign</a:t>
            </a:r>
          </a:p>
        </p:txBody>
      </p:sp>
      <p:sp>
        <p:nvSpPr>
          <p:cNvPr id="195" name="TextBox 194">
            <a:extLst>
              <a:ext uri="{FF2B5EF4-FFF2-40B4-BE49-F238E27FC236}">
                <a16:creationId xmlns:a16="http://schemas.microsoft.com/office/drawing/2014/main" id="{B4B70AA2-67BC-7541-9DD8-BED5E7CFBC18}"/>
              </a:ext>
            </a:extLst>
          </p:cNvPr>
          <p:cNvSpPr txBox="1"/>
          <p:nvPr/>
        </p:nvSpPr>
        <p:spPr>
          <a:xfrm>
            <a:off x="8320348" y="1784927"/>
            <a:ext cx="1229587" cy="270843"/>
          </a:xfrm>
          <a:prstGeom prst="rect">
            <a:avLst/>
          </a:prstGeom>
          <a:noFill/>
        </p:spPr>
        <p:txBody>
          <a:bodyPr wrap="square" lIns="0" tIns="73152" rIns="0" bIns="0" rtlCol="0">
            <a:sp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280" b="0" i="0" u="none" strike="noStrike" kern="1200" cap="none" spc="0" normalizeH="0" baseline="0" noProof="0" dirty="0">
                <a:ln>
                  <a:noFill/>
                </a:ln>
                <a:solidFill>
                  <a:srgbClr val="FFFFFF"/>
                </a:solidFill>
                <a:effectLst/>
                <a:uLnTx/>
                <a:uFillTx/>
                <a:latin typeface="Amazon Ember Regular"/>
                <a:ea typeface="Amazon Ember Light" panose="020B0403020204020204" pitchFamily="34" charset="0"/>
                <a:cs typeface="Amazon Ember Light" panose="020B0403020204020204" pitchFamily="34" charset="0"/>
              </a:rPr>
              <a:t>ALM/SDLC</a:t>
            </a:r>
          </a:p>
        </p:txBody>
      </p:sp>
      <p:sp>
        <p:nvSpPr>
          <p:cNvPr id="196" name="TextBox 195">
            <a:extLst>
              <a:ext uri="{FF2B5EF4-FFF2-40B4-BE49-F238E27FC236}">
                <a16:creationId xmlns:a16="http://schemas.microsoft.com/office/drawing/2014/main" id="{00E27936-253C-664E-A954-CEF648E595B3}"/>
              </a:ext>
            </a:extLst>
          </p:cNvPr>
          <p:cNvSpPr txBox="1"/>
          <p:nvPr/>
        </p:nvSpPr>
        <p:spPr>
          <a:xfrm>
            <a:off x="9737016" y="1784927"/>
            <a:ext cx="1229587" cy="270843"/>
          </a:xfrm>
          <a:prstGeom prst="rect">
            <a:avLst/>
          </a:prstGeom>
          <a:noFill/>
        </p:spPr>
        <p:txBody>
          <a:bodyPr wrap="square" lIns="0" tIns="73152" rIns="0" bIns="0" rtlCol="0">
            <a:sp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280" b="0" i="0" u="none" strike="noStrike" kern="1200" cap="none" spc="0" normalizeH="0" baseline="0" noProof="0" dirty="0">
                <a:ln>
                  <a:noFill/>
                </a:ln>
                <a:solidFill>
                  <a:srgbClr val="FFFFFF"/>
                </a:solidFill>
                <a:effectLst/>
                <a:uLnTx/>
                <a:uFillTx/>
                <a:latin typeface="Amazon Ember Regular"/>
                <a:ea typeface="Amazon Ember Light" panose="020B0403020204020204" pitchFamily="34" charset="0"/>
                <a:cs typeface="Amazon Ember Light" panose="020B0403020204020204" pitchFamily="34" charset="0"/>
              </a:rPr>
              <a:t>Integration</a:t>
            </a:r>
          </a:p>
        </p:txBody>
      </p:sp>
      <p:sp>
        <p:nvSpPr>
          <p:cNvPr id="96" name="Title 6">
            <a:extLst>
              <a:ext uri="{FF2B5EF4-FFF2-40B4-BE49-F238E27FC236}">
                <a16:creationId xmlns:a16="http://schemas.microsoft.com/office/drawing/2014/main" id="{B73BA146-C04F-4F26-9BEE-5D8EEFBBA13E}"/>
              </a:ext>
            </a:extLst>
          </p:cNvPr>
          <p:cNvSpPr>
            <a:spLocks noGrp="1"/>
          </p:cNvSpPr>
          <p:nvPr>
            <p:ph type="title"/>
          </p:nvPr>
        </p:nvSpPr>
        <p:spPr/>
        <p:txBody>
          <a:bodyPr/>
          <a:lstStyle/>
          <a:p>
            <a:r>
              <a:rPr lang="en-US" dirty="0"/>
              <a:t>“The 7 Rs </a:t>
            </a:r>
            <a:r>
              <a:rPr lang="en-US"/>
              <a:t>of migration” </a:t>
            </a:r>
            <a:endParaRPr lang="en-US" dirty="0"/>
          </a:p>
        </p:txBody>
      </p:sp>
      <p:sp>
        <p:nvSpPr>
          <p:cNvPr id="11" name="Rectangle 10">
            <a:extLst>
              <a:ext uri="{FF2B5EF4-FFF2-40B4-BE49-F238E27FC236}">
                <a16:creationId xmlns:a16="http://schemas.microsoft.com/office/drawing/2014/main" id="{7C4789EA-9092-F341-AD1A-D823A9AF3E19}"/>
              </a:ext>
            </a:extLst>
          </p:cNvPr>
          <p:cNvSpPr/>
          <p:nvPr/>
        </p:nvSpPr>
        <p:spPr>
          <a:xfrm>
            <a:off x="4543419" y="6422039"/>
            <a:ext cx="390747" cy="390747"/>
          </a:xfrm>
          <a:prstGeom prst="rect">
            <a:avLst/>
          </a:prstGeom>
          <a:solidFill>
            <a:srgbClr val="A5D77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31502"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1B1366FB-6405-9542-84C8-40911BA99672}"/>
              </a:ext>
            </a:extLst>
          </p:cNvPr>
          <p:cNvSpPr/>
          <p:nvPr/>
        </p:nvSpPr>
        <p:spPr>
          <a:xfrm>
            <a:off x="4543419" y="7210763"/>
            <a:ext cx="390747" cy="390747"/>
          </a:xfrm>
          <a:prstGeom prst="rect">
            <a:avLst/>
          </a:prstGeom>
          <a:solidFill>
            <a:srgbClr val="A5D77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31502"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Diamond 3">
            <a:extLst>
              <a:ext uri="{FF2B5EF4-FFF2-40B4-BE49-F238E27FC236}">
                <a16:creationId xmlns:a16="http://schemas.microsoft.com/office/drawing/2014/main" id="{99018DB3-6968-4449-BCFE-4C201A04DF0F}"/>
              </a:ext>
            </a:extLst>
          </p:cNvPr>
          <p:cNvSpPr/>
          <p:nvPr/>
        </p:nvSpPr>
        <p:spPr>
          <a:xfrm>
            <a:off x="2924338" y="4546393"/>
            <a:ext cx="588507" cy="588507"/>
          </a:xfrm>
          <a:prstGeom prst="diamond">
            <a:avLst/>
          </a:prstGeom>
          <a:solidFill>
            <a:schemeClr val="tx1"/>
          </a:solidFill>
          <a:ln>
            <a:solidFill>
              <a:srgbClr val="232F3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31502"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21" name="Elbow Connector 20">
            <a:extLst>
              <a:ext uri="{FF2B5EF4-FFF2-40B4-BE49-F238E27FC236}">
                <a16:creationId xmlns:a16="http://schemas.microsoft.com/office/drawing/2014/main" id="{D12C092E-5F36-6F4A-A28F-89EBF207BDD9}"/>
              </a:ext>
            </a:extLst>
          </p:cNvPr>
          <p:cNvCxnSpPr>
            <a:cxnSpLocks/>
            <a:stCxn id="4" idx="3"/>
            <a:endCxn id="123" idx="1"/>
          </p:cNvCxnSpPr>
          <p:nvPr/>
        </p:nvCxnSpPr>
        <p:spPr>
          <a:xfrm>
            <a:off x="3512845" y="4840647"/>
            <a:ext cx="1030574" cy="822135"/>
          </a:xfrm>
          <a:prstGeom prst="bentConnector3">
            <a:avLst>
              <a:gd name="adj1" fmla="val 32784"/>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22" name="Elbow Connector 21">
            <a:extLst>
              <a:ext uri="{FF2B5EF4-FFF2-40B4-BE49-F238E27FC236}">
                <a16:creationId xmlns:a16="http://schemas.microsoft.com/office/drawing/2014/main" id="{73848CB3-F7C1-B04D-A0C7-6D89A8044653}"/>
              </a:ext>
            </a:extLst>
          </p:cNvPr>
          <p:cNvCxnSpPr>
            <a:cxnSpLocks/>
            <a:stCxn id="4" idx="3"/>
            <a:endCxn id="8" idx="1"/>
          </p:cNvCxnSpPr>
          <p:nvPr/>
        </p:nvCxnSpPr>
        <p:spPr>
          <a:xfrm flipV="1">
            <a:off x="3512845" y="2568866"/>
            <a:ext cx="1030574" cy="2271781"/>
          </a:xfrm>
          <a:prstGeom prst="bentConnector3">
            <a:avLst>
              <a:gd name="adj1" fmla="val 33446"/>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33" name="Elbow Connector 32">
            <a:extLst>
              <a:ext uri="{FF2B5EF4-FFF2-40B4-BE49-F238E27FC236}">
                <a16:creationId xmlns:a16="http://schemas.microsoft.com/office/drawing/2014/main" id="{84840965-8DE0-2245-A514-64ADC0E78BEB}"/>
              </a:ext>
            </a:extLst>
          </p:cNvPr>
          <p:cNvCxnSpPr>
            <a:cxnSpLocks/>
            <a:stCxn id="4" idx="3"/>
            <a:endCxn id="10" idx="1"/>
          </p:cNvCxnSpPr>
          <p:nvPr/>
        </p:nvCxnSpPr>
        <p:spPr>
          <a:xfrm flipV="1">
            <a:off x="3512845" y="1602184"/>
            <a:ext cx="1030574" cy="3238463"/>
          </a:xfrm>
          <a:prstGeom prst="bentConnector3">
            <a:avLst>
              <a:gd name="adj1" fmla="val 32784"/>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36" name="Elbow Connector 35">
            <a:extLst>
              <a:ext uri="{FF2B5EF4-FFF2-40B4-BE49-F238E27FC236}">
                <a16:creationId xmlns:a16="http://schemas.microsoft.com/office/drawing/2014/main" id="{F63AECC9-5F3C-4B41-B314-FC8625AF5245}"/>
              </a:ext>
            </a:extLst>
          </p:cNvPr>
          <p:cNvCxnSpPr>
            <a:cxnSpLocks/>
            <a:stCxn id="4" idx="3"/>
            <a:endCxn id="11" idx="1"/>
          </p:cNvCxnSpPr>
          <p:nvPr/>
        </p:nvCxnSpPr>
        <p:spPr>
          <a:xfrm>
            <a:off x="3512845" y="4840647"/>
            <a:ext cx="1030574" cy="1776766"/>
          </a:xfrm>
          <a:prstGeom prst="bentConnector3">
            <a:avLst>
              <a:gd name="adj1" fmla="val 32877"/>
            </a:avLst>
          </a:prstGeom>
          <a:ln w="19050">
            <a:solidFill>
              <a:schemeClr val="tx1"/>
            </a:solidFill>
            <a:prstDash val="dash"/>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84" name="Straight Arrow Connector 83">
            <a:extLst>
              <a:ext uri="{FF2B5EF4-FFF2-40B4-BE49-F238E27FC236}">
                <a16:creationId xmlns:a16="http://schemas.microsoft.com/office/drawing/2014/main" id="{5A496A1E-928C-C74A-B645-A4538AF4B426}"/>
              </a:ext>
            </a:extLst>
          </p:cNvPr>
          <p:cNvCxnSpPr>
            <a:cxnSpLocks/>
          </p:cNvCxnSpPr>
          <p:nvPr/>
        </p:nvCxnSpPr>
        <p:spPr>
          <a:xfrm>
            <a:off x="1441669" y="4840644"/>
            <a:ext cx="403173" cy="0"/>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97" name="Elbow Connector 96">
            <a:extLst>
              <a:ext uri="{FF2B5EF4-FFF2-40B4-BE49-F238E27FC236}">
                <a16:creationId xmlns:a16="http://schemas.microsoft.com/office/drawing/2014/main" id="{5618249B-B4BF-7C4D-A2BD-8AE8F67BCC56}"/>
              </a:ext>
            </a:extLst>
          </p:cNvPr>
          <p:cNvCxnSpPr>
            <a:cxnSpLocks/>
            <a:stCxn id="4" idx="3"/>
            <a:endCxn id="13" idx="1"/>
          </p:cNvCxnSpPr>
          <p:nvPr/>
        </p:nvCxnSpPr>
        <p:spPr>
          <a:xfrm>
            <a:off x="3512845" y="4840647"/>
            <a:ext cx="1030574" cy="2565490"/>
          </a:xfrm>
          <a:prstGeom prst="bentConnector3">
            <a:avLst>
              <a:gd name="adj1" fmla="val 32877"/>
            </a:avLst>
          </a:prstGeom>
          <a:ln w="19050">
            <a:solidFill>
              <a:schemeClr val="tx1"/>
            </a:solidFill>
            <a:prstDash val="dash"/>
            <a:tailEnd type="arrow" w="med" len="sm"/>
          </a:ln>
          <a:effectLst/>
        </p:spPr>
        <p:style>
          <a:lnRef idx="2">
            <a:schemeClr val="accent1"/>
          </a:lnRef>
          <a:fillRef idx="0">
            <a:schemeClr val="accent1"/>
          </a:fillRef>
          <a:effectRef idx="1">
            <a:schemeClr val="accent1"/>
          </a:effectRef>
          <a:fontRef idx="minor">
            <a:schemeClr val="tx1"/>
          </a:fontRef>
        </p:style>
      </p:cxnSp>
      <p:sp>
        <p:nvSpPr>
          <p:cNvPr id="112" name="Rectangle 111">
            <a:extLst>
              <a:ext uri="{FF2B5EF4-FFF2-40B4-BE49-F238E27FC236}">
                <a16:creationId xmlns:a16="http://schemas.microsoft.com/office/drawing/2014/main" id="{0F527A47-CD60-2D42-9A9A-98D94C572397}"/>
              </a:ext>
            </a:extLst>
          </p:cNvPr>
          <p:cNvSpPr/>
          <p:nvPr/>
        </p:nvSpPr>
        <p:spPr>
          <a:xfrm>
            <a:off x="11434584" y="1461107"/>
            <a:ext cx="390747" cy="4300312"/>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31502"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rial"/>
              <a:ea typeface="+mn-ea"/>
              <a:cs typeface="+mn-cs"/>
            </a:endParaRPr>
          </a:p>
        </p:txBody>
      </p:sp>
      <p:sp>
        <p:nvSpPr>
          <p:cNvPr id="146" name="TextBox 145">
            <a:extLst>
              <a:ext uri="{FF2B5EF4-FFF2-40B4-BE49-F238E27FC236}">
                <a16:creationId xmlns:a16="http://schemas.microsoft.com/office/drawing/2014/main" id="{4DAF0771-8676-EB41-99A0-2E6E13A2084B}"/>
              </a:ext>
            </a:extLst>
          </p:cNvPr>
          <p:cNvSpPr txBox="1"/>
          <p:nvPr/>
        </p:nvSpPr>
        <p:spPr>
          <a:xfrm>
            <a:off x="4123999" y="7605666"/>
            <a:ext cx="1229587" cy="295465"/>
          </a:xfrm>
          <a:prstGeom prst="rect">
            <a:avLst/>
          </a:prstGeom>
          <a:noFill/>
        </p:spPr>
        <p:txBody>
          <a:bodyPr wrap="square" lIns="0" tIns="73152" rIns="0" bIns="0" rtlCol="0">
            <a:sp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440" i="0" u="none" strike="noStrike" kern="1200" cap="none" spc="0" normalizeH="0" baseline="0" noProof="0" dirty="0">
                <a:ln>
                  <a:noFill/>
                </a:ln>
                <a:solidFill>
                  <a:srgbClr val="FFFFFF"/>
                </a:solidFill>
                <a:effectLst/>
                <a:uLnTx/>
                <a:uFillTx/>
                <a:latin typeface="Amazon Ember"/>
                <a:ea typeface="Amazon Ember Heavy" panose="020B0803020204020204" pitchFamily="34" charset="0"/>
                <a:cs typeface="Amazon Ember Heavy" panose="020B0803020204020204" pitchFamily="34" charset="0"/>
              </a:rPr>
              <a:t>Retire</a:t>
            </a:r>
          </a:p>
        </p:txBody>
      </p:sp>
      <p:sp>
        <p:nvSpPr>
          <p:cNvPr id="147" name="TextBox 146">
            <a:extLst>
              <a:ext uri="{FF2B5EF4-FFF2-40B4-BE49-F238E27FC236}">
                <a16:creationId xmlns:a16="http://schemas.microsoft.com/office/drawing/2014/main" id="{6F39BAF4-16B1-D649-B53A-C345305B0F0B}"/>
              </a:ext>
            </a:extLst>
          </p:cNvPr>
          <p:cNvSpPr txBox="1"/>
          <p:nvPr/>
        </p:nvSpPr>
        <p:spPr>
          <a:xfrm>
            <a:off x="4123999" y="6814751"/>
            <a:ext cx="1229587" cy="295465"/>
          </a:xfrm>
          <a:prstGeom prst="rect">
            <a:avLst/>
          </a:prstGeom>
          <a:noFill/>
        </p:spPr>
        <p:txBody>
          <a:bodyPr wrap="square" lIns="0" tIns="73152" rIns="0" bIns="0" rtlCol="0">
            <a:sp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440" i="0" u="none" strike="noStrike" kern="1200" cap="none" spc="0" normalizeH="0" baseline="0" noProof="0" dirty="0">
                <a:ln>
                  <a:noFill/>
                </a:ln>
                <a:solidFill>
                  <a:srgbClr val="FFFFFF"/>
                </a:solidFill>
                <a:effectLst/>
                <a:uLnTx/>
                <a:uFillTx/>
                <a:latin typeface="Amazon Ember"/>
                <a:ea typeface="Amazon Ember Heavy" panose="020B0803020204020204" pitchFamily="34" charset="0"/>
                <a:cs typeface="Amazon Ember Heavy" panose="020B0803020204020204" pitchFamily="34" charset="0"/>
              </a:rPr>
              <a:t>Retain</a:t>
            </a:r>
          </a:p>
        </p:txBody>
      </p:sp>
      <p:sp>
        <p:nvSpPr>
          <p:cNvPr id="15" name="Rectangle 14">
            <a:extLst>
              <a:ext uri="{FF2B5EF4-FFF2-40B4-BE49-F238E27FC236}">
                <a16:creationId xmlns:a16="http://schemas.microsoft.com/office/drawing/2014/main" id="{3200BCD6-0A1B-B442-A383-5FFDA6B97DD5}"/>
              </a:ext>
            </a:extLst>
          </p:cNvPr>
          <p:cNvSpPr/>
          <p:nvPr/>
        </p:nvSpPr>
        <p:spPr>
          <a:xfrm>
            <a:off x="7346201" y="2372850"/>
            <a:ext cx="390747" cy="390747"/>
          </a:xfrm>
          <a:prstGeom prst="rect">
            <a:avLst/>
          </a:prstGeom>
          <a:solidFill>
            <a:srgbClr val="0C9B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31502"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rial"/>
              <a:ea typeface="+mn-ea"/>
              <a:cs typeface="+mn-cs"/>
            </a:endParaRPr>
          </a:p>
        </p:txBody>
      </p:sp>
      <p:sp>
        <p:nvSpPr>
          <p:cNvPr id="49" name="Diamond 48">
            <a:extLst>
              <a:ext uri="{FF2B5EF4-FFF2-40B4-BE49-F238E27FC236}">
                <a16:creationId xmlns:a16="http://schemas.microsoft.com/office/drawing/2014/main" id="{295F7574-AEED-8445-AC6B-08518A1998FE}"/>
              </a:ext>
            </a:extLst>
          </p:cNvPr>
          <p:cNvSpPr/>
          <p:nvPr/>
        </p:nvSpPr>
        <p:spPr>
          <a:xfrm>
            <a:off x="5891298" y="2323378"/>
            <a:ext cx="489686" cy="489686"/>
          </a:xfrm>
          <a:prstGeom prst="diamond">
            <a:avLst/>
          </a:prstGeom>
          <a:solidFill>
            <a:srgbClr val="0C9B2E"/>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6304" tIns="73152" rIns="146304" bIns="73152" numCol="1" spcCol="0" rtlCol="0" fromWordArt="0" anchor="ctr" anchorCtr="0" forceAA="0" compatLnSpc="1">
            <a:prstTxWarp prst="textNoShape">
              <a:avLst/>
            </a:prstTxWarp>
            <a:no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50" name="Straight Arrow Connector 49">
            <a:extLst>
              <a:ext uri="{FF2B5EF4-FFF2-40B4-BE49-F238E27FC236}">
                <a16:creationId xmlns:a16="http://schemas.microsoft.com/office/drawing/2014/main" id="{8F27F959-CEE4-804D-BC5D-95FE17293039}"/>
              </a:ext>
            </a:extLst>
          </p:cNvPr>
          <p:cNvCxnSpPr>
            <a:cxnSpLocks/>
            <a:stCxn id="8" idx="3"/>
            <a:endCxn id="49" idx="1"/>
          </p:cNvCxnSpPr>
          <p:nvPr/>
        </p:nvCxnSpPr>
        <p:spPr>
          <a:xfrm flipV="1">
            <a:off x="4934166" y="2568221"/>
            <a:ext cx="957132" cy="645"/>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54" name="Straight Arrow Connector 53">
            <a:extLst>
              <a:ext uri="{FF2B5EF4-FFF2-40B4-BE49-F238E27FC236}">
                <a16:creationId xmlns:a16="http://schemas.microsoft.com/office/drawing/2014/main" id="{70BF5410-BFDC-AD41-86E2-46A57E51F1FC}"/>
              </a:ext>
            </a:extLst>
          </p:cNvPr>
          <p:cNvCxnSpPr>
            <a:cxnSpLocks/>
            <a:stCxn id="49" idx="3"/>
            <a:endCxn id="15" idx="1"/>
          </p:cNvCxnSpPr>
          <p:nvPr/>
        </p:nvCxnSpPr>
        <p:spPr>
          <a:xfrm>
            <a:off x="6380984" y="2568223"/>
            <a:ext cx="965219" cy="3"/>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376208D6-5A1A-1A48-8057-62CCC032B0C2}"/>
              </a:ext>
            </a:extLst>
          </p:cNvPr>
          <p:cNvSpPr/>
          <p:nvPr/>
        </p:nvSpPr>
        <p:spPr>
          <a:xfrm>
            <a:off x="4543419" y="2373492"/>
            <a:ext cx="390747" cy="390747"/>
          </a:xfrm>
          <a:prstGeom prst="rect">
            <a:avLst/>
          </a:prstGeom>
          <a:solidFill>
            <a:srgbClr val="0C9B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31502"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rial"/>
              <a:ea typeface="+mn-ea"/>
              <a:cs typeface="+mn-cs"/>
            </a:endParaRPr>
          </a:p>
        </p:txBody>
      </p:sp>
      <p:sp>
        <p:nvSpPr>
          <p:cNvPr id="150" name="TextBox 149">
            <a:extLst>
              <a:ext uri="{FF2B5EF4-FFF2-40B4-BE49-F238E27FC236}">
                <a16:creationId xmlns:a16="http://schemas.microsoft.com/office/drawing/2014/main" id="{B0EDF0DE-0B5A-B547-817F-6BBB67E702B0}"/>
              </a:ext>
            </a:extLst>
          </p:cNvPr>
          <p:cNvSpPr txBox="1"/>
          <p:nvPr/>
        </p:nvSpPr>
        <p:spPr>
          <a:xfrm>
            <a:off x="4123999" y="2766823"/>
            <a:ext cx="1229587" cy="295465"/>
          </a:xfrm>
          <a:prstGeom prst="rect">
            <a:avLst/>
          </a:prstGeom>
          <a:noFill/>
        </p:spPr>
        <p:txBody>
          <a:bodyPr wrap="square" lIns="0" tIns="73152" rIns="0" bIns="0" rtlCol="0">
            <a:sp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440" i="0" u="none" strike="noStrike" kern="1200" cap="none" spc="0" normalizeH="0" baseline="0" noProof="0" dirty="0">
                <a:ln>
                  <a:noFill/>
                </a:ln>
                <a:solidFill>
                  <a:srgbClr val="FFFFFF"/>
                </a:solidFill>
                <a:effectLst/>
                <a:uLnTx/>
                <a:uFillTx/>
                <a:latin typeface="Amazon Ember"/>
                <a:ea typeface="Amazon Ember Heavy" panose="020B0803020204020204" pitchFamily="34" charset="0"/>
                <a:cs typeface="Amazon Ember Heavy" panose="020B0803020204020204" pitchFamily="34" charset="0"/>
              </a:rPr>
              <a:t>Re-platform</a:t>
            </a:r>
          </a:p>
        </p:txBody>
      </p:sp>
      <p:sp>
        <p:nvSpPr>
          <p:cNvPr id="184" name="TextBox 183">
            <a:extLst>
              <a:ext uri="{FF2B5EF4-FFF2-40B4-BE49-F238E27FC236}">
                <a16:creationId xmlns:a16="http://schemas.microsoft.com/office/drawing/2014/main" id="{397CC514-1F21-F148-82F5-ABE3F20DB8D2}"/>
              </a:ext>
            </a:extLst>
          </p:cNvPr>
          <p:cNvSpPr txBox="1"/>
          <p:nvPr/>
        </p:nvSpPr>
        <p:spPr>
          <a:xfrm>
            <a:off x="5521347" y="2767058"/>
            <a:ext cx="1229587" cy="467819"/>
          </a:xfrm>
          <a:prstGeom prst="rect">
            <a:avLst/>
          </a:prstGeom>
          <a:noFill/>
        </p:spPr>
        <p:txBody>
          <a:bodyPr wrap="square" lIns="0" tIns="73152" rIns="0" bIns="0" rtlCol="0">
            <a:sp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280" b="0" i="0" u="none" strike="noStrike" kern="1200" cap="none" spc="0" normalizeH="0" baseline="0" noProof="0" dirty="0">
                <a:ln>
                  <a:noFill/>
                </a:ln>
                <a:solidFill>
                  <a:srgbClr val="FFFFFF"/>
                </a:solidFill>
                <a:effectLst/>
                <a:uLnTx/>
                <a:uFillTx/>
                <a:latin typeface="Amazon Ember Regular"/>
                <a:ea typeface="Amazon Ember Light" panose="020B0403020204020204" pitchFamily="34" charset="0"/>
                <a:cs typeface="Amazon Ember Light" panose="020B0403020204020204" pitchFamily="34" charset="0"/>
              </a:rPr>
              <a:t>Determine</a:t>
            </a:r>
          </a:p>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280" b="0" i="0" u="none" strike="noStrike" kern="1200" cap="none" spc="0" normalizeH="0" baseline="0" noProof="0" dirty="0">
                <a:ln>
                  <a:noFill/>
                </a:ln>
                <a:solidFill>
                  <a:srgbClr val="FFFFFF"/>
                </a:solidFill>
                <a:effectLst/>
                <a:uLnTx/>
                <a:uFillTx/>
                <a:latin typeface="Amazon Ember Regular"/>
                <a:ea typeface="Amazon Ember Light" panose="020B0403020204020204" pitchFamily="34" charset="0"/>
                <a:cs typeface="Amazon Ember Light" panose="020B0403020204020204" pitchFamily="34" charset="0"/>
              </a:rPr>
              <a:t>platform</a:t>
            </a:r>
          </a:p>
        </p:txBody>
      </p:sp>
      <p:sp>
        <p:nvSpPr>
          <p:cNvPr id="189" name="TextBox 188">
            <a:extLst>
              <a:ext uri="{FF2B5EF4-FFF2-40B4-BE49-F238E27FC236}">
                <a16:creationId xmlns:a16="http://schemas.microsoft.com/office/drawing/2014/main" id="{C156E0C8-6030-1B4C-9E17-0403C084B564}"/>
              </a:ext>
            </a:extLst>
          </p:cNvPr>
          <p:cNvSpPr txBox="1"/>
          <p:nvPr/>
        </p:nvSpPr>
        <p:spPr>
          <a:xfrm>
            <a:off x="6674120" y="2767058"/>
            <a:ext cx="1734909" cy="467819"/>
          </a:xfrm>
          <a:prstGeom prst="rect">
            <a:avLst/>
          </a:prstGeom>
          <a:noFill/>
        </p:spPr>
        <p:txBody>
          <a:bodyPr wrap="square" lIns="0" tIns="73152" rIns="0" bIns="0" rtlCol="0">
            <a:sp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280" b="0" i="0" u="none" strike="noStrike" kern="1200" cap="none" spc="0" normalizeH="0" baseline="0" noProof="0" dirty="0">
                <a:ln>
                  <a:noFill/>
                </a:ln>
                <a:solidFill>
                  <a:srgbClr val="FFFFFF"/>
                </a:solidFill>
                <a:effectLst/>
                <a:uLnTx/>
                <a:uFillTx/>
                <a:latin typeface="Amazon Ember Regular"/>
                <a:ea typeface="Amazon Ember Light" panose="020B0403020204020204" pitchFamily="34" charset="0"/>
                <a:cs typeface="Amazon Ember Light" panose="020B0403020204020204" pitchFamily="34" charset="0"/>
              </a:rPr>
              <a:t>Modify</a:t>
            </a:r>
            <a:br>
              <a:rPr kumimoji="0" lang="en-US" sz="1280" b="0" i="0" u="none" strike="noStrike" kern="1200" cap="none" spc="0" normalizeH="0" baseline="0" noProof="0" dirty="0">
                <a:ln>
                  <a:noFill/>
                </a:ln>
                <a:solidFill>
                  <a:srgbClr val="FFFFFF"/>
                </a:solidFill>
                <a:effectLst/>
                <a:uLnTx/>
                <a:uFillTx/>
                <a:latin typeface="Amazon Ember Regular"/>
                <a:ea typeface="Amazon Ember Light" panose="020B0403020204020204" pitchFamily="34" charset="0"/>
                <a:cs typeface="Amazon Ember Light" panose="020B0403020204020204" pitchFamily="34" charset="0"/>
              </a:rPr>
            </a:br>
            <a:r>
              <a:rPr kumimoji="0" lang="en-US" sz="1280" b="0" i="0" u="none" strike="noStrike" kern="1200" cap="none" spc="0" normalizeH="0" baseline="0" noProof="0" dirty="0">
                <a:ln>
                  <a:noFill/>
                </a:ln>
                <a:solidFill>
                  <a:srgbClr val="FFFFFF"/>
                </a:solidFill>
                <a:effectLst/>
                <a:uLnTx/>
                <a:uFillTx/>
                <a:latin typeface="Amazon Ember Regular"/>
                <a:ea typeface="Amazon Ember Light" panose="020B0403020204020204" pitchFamily="34" charset="0"/>
                <a:cs typeface="Amazon Ember Light" panose="020B0403020204020204" pitchFamily="34" charset="0"/>
              </a:rPr>
              <a:t>infrastructure</a:t>
            </a:r>
          </a:p>
        </p:txBody>
      </p:sp>
      <p:sp>
        <p:nvSpPr>
          <p:cNvPr id="199" name="TextBox 198">
            <a:extLst>
              <a:ext uri="{FF2B5EF4-FFF2-40B4-BE49-F238E27FC236}">
                <a16:creationId xmlns:a16="http://schemas.microsoft.com/office/drawing/2014/main" id="{B892C560-D3B4-E343-88D6-A7154CAC29D0}"/>
              </a:ext>
            </a:extLst>
          </p:cNvPr>
          <p:cNvSpPr txBox="1"/>
          <p:nvPr/>
        </p:nvSpPr>
        <p:spPr>
          <a:xfrm>
            <a:off x="2793003" y="5134006"/>
            <a:ext cx="863571" cy="270843"/>
          </a:xfrm>
          <a:prstGeom prst="rect">
            <a:avLst/>
          </a:prstGeom>
          <a:noFill/>
        </p:spPr>
        <p:txBody>
          <a:bodyPr wrap="square" lIns="0" tIns="73152" rIns="0" bIns="0" rtlCol="0">
            <a:sp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280" b="1" i="0" u="none" strike="noStrike" kern="1200" cap="none" spc="0" normalizeH="0" baseline="0" noProof="0" dirty="0">
                <a:ln>
                  <a:noFill/>
                </a:ln>
                <a:solidFill>
                  <a:srgbClr val="FFFFFF"/>
                </a:solidFill>
                <a:effectLst/>
                <a:uLnTx/>
                <a:uFillTx/>
                <a:latin typeface="Amazon Ember" panose="020B0603020204020204" pitchFamily="34" charset="0"/>
                <a:ea typeface="Amazon Ember" panose="020B0603020204020204" pitchFamily="34" charset="0"/>
                <a:cs typeface="Amazon Ember" panose="020B0603020204020204" pitchFamily="34" charset="0"/>
              </a:rPr>
              <a:t>Determine</a:t>
            </a:r>
          </a:p>
        </p:txBody>
      </p:sp>
      <p:sp>
        <p:nvSpPr>
          <p:cNvPr id="200" name="TextBox 199">
            <a:extLst>
              <a:ext uri="{FF2B5EF4-FFF2-40B4-BE49-F238E27FC236}">
                <a16:creationId xmlns:a16="http://schemas.microsoft.com/office/drawing/2014/main" id="{97CCE3CD-71D4-CA4B-9AC9-3057517043B7}"/>
              </a:ext>
            </a:extLst>
          </p:cNvPr>
          <p:cNvSpPr txBox="1"/>
          <p:nvPr/>
        </p:nvSpPr>
        <p:spPr>
          <a:xfrm>
            <a:off x="492105" y="5414897"/>
            <a:ext cx="790348" cy="270843"/>
          </a:xfrm>
          <a:prstGeom prst="rect">
            <a:avLst/>
          </a:prstGeom>
          <a:noFill/>
        </p:spPr>
        <p:txBody>
          <a:bodyPr wrap="square" lIns="0" tIns="73152" rIns="0" bIns="0" rtlCol="0">
            <a:sp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280" b="1" i="0" u="none" strike="noStrike" kern="1200" cap="none" spc="0" normalizeH="0" baseline="0" noProof="0" dirty="0">
                <a:ln>
                  <a:noFill/>
                </a:ln>
                <a:solidFill>
                  <a:srgbClr val="FFFFFF"/>
                </a:solidFill>
                <a:effectLst/>
                <a:uLnTx/>
                <a:uFillTx/>
                <a:latin typeface="Amazon Ember" panose="020B0603020204020204" pitchFamily="34" charset="0"/>
                <a:ea typeface="Amazon Ember" panose="020B0603020204020204" pitchFamily="34" charset="0"/>
                <a:cs typeface="Amazon Ember" panose="020B0603020204020204" pitchFamily="34" charset="0"/>
              </a:rPr>
              <a:t>Discover</a:t>
            </a:r>
          </a:p>
        </p:txBody>
      </p:sp>
      <p:sp>
        <p:nvSpPr>
          <p:cNvPr id="202" name="TextBox 201">
            <a:extLst>
              <a:ext uri="{FF2B5EF4-FFF2-40B4-BE49-F238E27FC236}">
                <a16:creationId xmlns:a16="http://schemas.microsoft.com/office/drawing/2014/main" id="{2B9A5ACE-A6C1-DA4F-98D9-308ACF5E4C25}"/>
              </a:ext>
            </a:extLst>
          </p:cNvPr>
          <p:cNvSpPr txBox="1"/>
          <p:nvPr/>
        </p:nvSpPr>
        <p:spPr>
          <a:xfrm rot="16200000">
            <a:off x="9697838" y="3403982"/>
            <a:ext cx="3879491" cy="246221"/>
          </a:xfrm>
          <a:prstGeom prst="rect">
            <a:avLst/>
          </a:prstGeom>
          <a:noFill/>
        </p:spPr>
        <p:txBody>
          <a:bodyPr wrap="square" lIns="0" tIns="0" rIns="0" bIns="0" rtlCol="0">
            <a:sp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32F3E"/>
                </a:solidFill>
                <a:effectLst/>
                <a:uLnTx/>
                <a:uFillTx/>
                <a:latin typeface="Amazon Ember" panose="020B0603020204020204" pitchFamily="34" charset="0"/>
                <a:ea typeface="Amazon Ember" panose="020B0603020204020204" pitchFamily="34" charset="0"/>
                <a:cs typeface="Amazon Ember" panose="020B0603020204020204" pitchFamily="34" charset="0"/>
              </a:rPr>
              <a:t>VALIDATION</a:t>
            </a:r>
          </a:p>
        </p:txBody>
      </p:sp>
      <p:grpSp>
        <p:nvGrpSpPr>
          <p:cNvPr id="240" name="Group 239">
            <a:extLst>
              <a:ext uri="{FF2B5EF4-FFF2-40B4-BE49-F238E27FC236}">
                <a16:creationId xmlns:a16="http://schemas.microsoft.com/office/drawing/2014/main" id="{323EB2C3-152A-4EF2-980A-9A7059FA7C2A}"/>
              </a:ext>
            </a:extLst>
          </p:cNvPr>
          <p:cNvGrpSpPr/>
          <p:nvPr/>
        </p:nvGrpSpPr>
        <p:grpSpPr>
          <a:xfrm>
            <a:off x="332889" y="4286254"/>
            <a:ext cx="1108780" cy="1108780"/>
            <a:chOff x="418142" y="2678909"/>
            <a:chExt cx="692988" cy="692988"/>
          </a:xfrm>
        </p:grpSpPr>
        <p:sp>
          <p:nvSpPr>
            <p:cNvPr id="83" name="Oval 82">
              <a:extLst>
                <a:ext uri="{FF2B5EF4-FFF2-40B4-BE49-F238E27FC236}">
                  <a16:creationId xmlns:a16="http://schemas.microsoft.com/office/drawing/2014/main" id="{4F3F1503-FDB8-544C-8DB1-AE1A617037CE}"/>
                </a:ext>
              </a:extLst>
            </p:cNvPr>
            <p:cNvSpPr/>
            <p:nvPr/>
          </p:nvSpPr>
          <p:spPr>
            <a:xfrm>
              <a:off x="418142" y="2678909"/>
              <a:ext cx="692988" cy="692988"/>
            </a:xfrm>
            <a:prstGeom prst="ellipse">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31502"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05" name="Group 104">
              <a:extLst>
                <a:ext uri="{FF2B5EF4-FFF2-40B4-BE49-F238E27FC236}">
                  <a16:creationId xmlns:a16="http://schemas.microsoft.com/office/drawing/2014/main" id="{0383A789-C7D5-4764-ADEA-C9C1DB82FA21}"/>
                </a:ext>
              </a:extLst>
            </p:cNvPr>
            <p:cNvGrpSpPr/>
            <p:nvPr/>
          </p:nvGrpSpPr>
          <p:grpSpPr>
            <a:xfrm>
              <a:off x="564322" y="2829018"/>
              <a:ext cx="400628" cy="392772"/>
              <a:chOff x="-1073707" y="4177676"/>
              <a:chExt cx="443180" cy="434491"/>
            </a:xfrm>
          </p:grpSpPr>
          <p:sp>
            <p:nvSpPr>
              <p:cNvPr id="144" name="Freeform: Shape 143">
                <a:extLst>
                  <a:ext uri="{FF2B5EF4-FFF2-40B4-BE49-F238E27FC236}">
                    <a16:creationId xmlns:a16="http://schemas.microsoft.com/office/drawing/2014/main" id="{E31C6E18-E16C-471F-A45E-940650F2557A}"/>
                  </a:ext>
                </a:extLst>
              </p:cNvPr>
              <p:cNvSpPr/>
              <p:nvPr/>
            </p:nvSpPr>
            <p:spPr>
              <a:xfrm>
                <a:off x="-1043358" y="4208314"/>
                <a:ext cx="267131" cy="267131"/>
              </a:xfrm>
              <a:custGeom>
                <a:avLst/>
                <a:gdLst>
                  <a:gd name="connsiteX0" fmla="*/ 241288 w 267130"/>
                  <a:gd name="connsiteY0" fmla="*/ 209137 h 267130"/>
                  <a:gd name="connsiteX1" fmla="*/ 142803 w 267130"/>
                  <a:gd name="connsiteY1" fmla="*/ 264172 h 267130"/>
                  <a:gd name="connsiteX2" fmla="*/ 5054 w 267130"/>
                  <a:gd name="connsiteY2" fmla="*/ 142193 h 267130"/>
                  <a:gd name="connsiteX3" fmla="*/ 127033 w 267130"/>
                  <a:gd name="connsiteY3" fmla="*/ 5087 h 267130"/>
                  <a:gd name="connsiteX4" fmla="*/ 264782 w 267130"/>
                  <a:gd name="connsiteY4" fmla="*/ 127066 h 267130"/>
                  <a:gd name="connsiteX5" fmla="*/ 257702 w 267130"/>
                  <a:gd name="connsiteY5" fmla="*/ 178240 h 26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130" h="267130">
                    <a:moveTo>
                      <a:pt x="241288" y="209137"/>
                    </a:moveTo>
                    <a:cubicBezTo>
                      <a:pt x="219402" y="240356"/>
                      <a:pt x="183677" y="261919"/>
                      <a:pt x="142803" y="264172"/>
                    </a:cubicBezTo>
                    <a:cubicBezTo>
                      <a:pt x="71032" y="268678"/>
                      <a:pt x="9560" y="213964"/>
                      <a:pt x="5054" y="142193"/>
                    </a:cubicBezTo>
                    <a:cubicBezTo>
                      <a:pt x="870" y="70743"/>
                      <a:pt x="55261" y="9271"/>
                      <a:pt x="127033" y="5087"/>
                    </a:cubicBezTo>
                    <a:cubicBezTo>
                      <a:pt x="198804" y="581"/>
                      <a:pt x="260276" y="55295"/>
                      <a:pt x="264782" y="127066"/>
                    </a:cubicBezTo>
                    <a:cubicBezTo>
                      <a:pt x="265748" y="145090"/>
                      <a:pt x="263173" y="162147"/>
                      <a:pt x="257702" y="178240"/>
                    </a:cubicBezTo>
                  </a:path>
                </a:pathLst>
              </a:custGeom>
              <a:noFill/>
              <a:ln w="19050" cap="flat">
                <a:solidFill>
                  <a:schemeClr val="accent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a:ln>
                    <a:noFill/>
                  </a:ln>
                  <a:solidFill>
                    <a:srgbClr val="1D516C"/>
                  </a:solidFill>
                  <a:effectLst/>
                  <a:uLnTx/>
                  <a:uFillTx/>
                  <a:latin typeface="Arial"/>
                  <a:ea typeface="+mn-ea"/>
                  <a:cs typeface="+mn-cs"/>
                </a:endParaRPr>
              </a:p>
            </p:txBody>
          </p:sp>
          <p:grpSp>
            <p:nvGrpSpPr>
              <p:cNvPr id="145" name="Group 144">
                <a:extLst>
                  <a:ext uri="{FF2B5EF4-FFF2-40B4-BE49-F238E27FC236}">
                    <a16:creationId xmlns:a16="http://schemas.microsoft.com/office/drawing/2014/main" id="{05AD0103-E67A-4F72-A8E7-012EDCAF7B00}"/>
                  </a:ext>
                </a:extLst>
              </p:cNvPr>
              <p:cNvGrpSpPr/>
              <p:nvPr/>
            </p:nvGrpSpPr>
            <p:grpSpPr>
              <a:xfrm>
                <a:off x="-1073707" y="4177676"/>
                <a:ext cx="443180" cy="434491"/>
                <a:chOff x="-1073707" y="4177676"/>
                <a:chExt cx="443180" cy="434491"/>
              </a:xfrm>
            </p:grpSpPr>
            <p:sp>
              <p:nvSpPr>
                <p:cNvPr id="152" name="Freeform: Shape 151">
                  <a:extLst>
                    <a:ext uri="{FF2B5EF4-FFF2-40B4-BE49-F238E27FC236}">
                      <a16:creationId xmlns:a16="http://schemas.microsoft.com/office/drawing/2014/main" id="{CF2F87CD-BD0D-4E89-AC8F-D29CF0FA546D}"/>
                    </a:ext>
                  </a:extLst>
                </p:cNvPr>
                <p:cNvSpPr/>
                <p:nvPr/>
              </p:nvSpPr>
              <p:spPr>
                <a:xfrm>
                  <a:off x="-1073707" y="4177676"/>
                  <a:ext cx="328281" cy="328281"/>
                </a:xfrm>
                <a:custGeom>
                  <a:avLst/>
                  <a:gdLst>
                    <a:gd name="connsiteX0" fmla="*/ 16736 w 328281"/>
                    <a:gd name="connsiteY0" fmla="*/ 104599 h 328281"/>
                    <a:gd name="connsiteX1" fmla="*/ 4828 w 328281"/>
                    <a:gd name="connsiteY1" fmla="*/ 165106 h 328281"/>
                    <a:gd name="connsiteX2" fmla="*/ 165106 w 328281"/>
                    <a:gd name="connsiteY2" fmla="*/ 325385 h 328281"/>
                    <a:gd name="connsiteX3" fmla="*/ 325385 w 328281"/>
                    <a:gd name="connsiteY3" fmla="*/ 165106 h 328281"/>
                    <a:gd name="connsiteX4" fmla="*/ 165106 w 328281"/>
                    <a:gd name="connsiteY4" fmla="*/ 4828 h 328281"/>
                    <a:gd name="connsiteX5" fmla="*/ 77886 w 328281"/>
                    <a:gd name="connsiteY5" fmla="*/ 30575 h 32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281" h="328281">
                      <a:moveTo>
                        <a:pt x="16736" y="104599"/>
                      </a:moveTo>
                      <a:cubicBezTo>
                        <a:pt x="9012" y="123266"/>
                        <a:pt x="4828" y="143865"/>
                        <a:pt x="4828" y="165106"/>
                      </a:cubicBezTo>
                      <a:cubicBezTo>
                        <a:pt x="4828" y="253613"/>
                        <a:pt x="76599" y="325385"/>
                        <a:pt x="165106" y="325385"/>
                      </a:cubicBezTo>
                      <a:cubicBezTo>
                        <a:pt x="253613" y="325385"/>
                        <a:pt x="325385" y="253613"/>
                        <a:pt x="325385" y="165106"/>
                      </a:cubicBezTo>
                      <a:cubicBezTo>
                        <a:pt x="325385" y="76599"/>
                        <a:pt x="253935" y="4828"/>
                        <a:pt x="165106" y="4828"/>
                      </a:cubicBezTo>
                      <a:cubicBezTo>
                        <a:pt x="132922" y="4828"/>
                        <a:pt x="102990" y="14161"/>
                        <a:pt x="77886" y="30575"/>
                      </a:cubicBezTo>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a:ln>
                      <a:noFill/>
                    </a:ln>
                    <a:solidFill>
                      <a:srgbClr val="1D516C"/>
                    </a:solidFill>
                    <a:effectLst/>
                    <a:uLnTx/>
                    <a:uFillTx/>
                    <a:latin typeface="Arial"/>
                    <a:ea typeface="+mn-ea"/>
                    <a:cs typeface="+mn-cs"/>
                  </a:endParaRPr>
                </a:p>
              </p:txBody>
            </p:sp>
            <p:sp>
              <p:nvSpPr>
                <p:cNvPr id="153" name="Freeform: Shape 152">
                  <a:extLst>
                    <a:ext uri="{FF2B5EF4-FFF2-40B4-BE49-F238E27FC236}">
                      <a16:creationId xmlns:a16="http://schemas.microsoft.com/office/drawing/2014/main" id="{C75EB684-564F-4EB1-911E-54CC6A2987BE}"/>
                    </a:ext>
                  </a:extLst>
                </p:cNvPr>
                <p:cNvSpPr/>
                <p:nvPr/>
              </p:nvSpPr>
              <p:spPr>
                <a:xfrm>
                  <a:off x="-1053109" y="4216619"/>
                  <a:ext cx="41840" cy="51495"/>
                </a:xfrm>
                <a:custGeom>
                  <a:avLst/>
                  <a:gdLst>
                    <a:gd name="connsiteX0" fmla="*/ 39909 w 41839"/>
                    <a:gd name="connsiteY0" fmla="*/ 4828 h 51495"/>
                    <a:gd name="connsiteX1" fmla="*/ 4828 w 41839"/>
                    <a:gd name="connsiteY1" fmla="*/ 47633 h 51495"/>
                  </a:gdLst>
                  <a:ahLst/>
                  <a:cxnLst>
                    <a:cxn ang="0">
                      <a:pos x="connsiteX0" y="connsiteY0"/>
                    </a:cxn>
                    <a:cxn ang="0">
                      <a:pos x="connsiteX1" y="connsiteY1"/>
                    </a:cxn>
                  </a:cxnLst>
                  <a:rect l="l" t="t" r="r" b="b"/>
                  <a:pathLst>
                    <a:path w="41839" h="51495">
                      <a:moveTo>
                        <a:pt x="39909" y="4828"/>
                      </a:moveTo>
                      <a:cubicBezTo>
                        <a:pt x="25748" y="17058"/>
                        <a:pt x="13839" y="31541"/>
                        <a:pt x="4828" y="47633"/>
                      </a:cubicBezTo>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a:ln>
                      <a:noFill/>
                    </a:ln>
                    <a:solidFill>
                      <a:srgbClr val="1D516C"/>
                    </a:solidFill>
                    <a:effectLst/>
                    <a:uLnTx/>
                    <a:uFillTx/>
                    <a:latin typeface="Arial"/>
                    <a:ea typeface="+mn-ea"/>
                    <a:cs typeface="+mn-cs"/>
                  </a:endParaRPr>
                </a:p>
              </p:txBody>
            </p:sp>
            <p:sp>
              <p:nvSpPr>
                <p:cNvPr id="154" name="Freeform: Shape 153">
                  <a:extLst>
                    <a:ext uri="{FF2B5EF4-FFF2-40B4-BE49-F238E27FC236}">
                      <a16:creationId xmlns:a16="http://schemas.microsoft.com/office/drawing/2014/main" id="{5ACAA597-9BED-4299-89BB-6ACFABD52AE4}"/>
                    </a:ext>
                  </a:extLst>
                </p:cNvPr>
                <p:cNvSpPr/>
                <p:nvPr/>
              </p:nvSpPr>
              <p:spPr>
                <a:xfrm>
                  <a:off x="-830071" y="4412623"/>
                  <a:ext cx="199544" cy="199544"/>
                </a:xfrm>
                <a:custGeom>
                  <a:avLst/>
                  <a:gdLst>
                    <a:gd name="connsiteX0" fmla="*/ 62116 w 199543"/>
                    <a:gd name="connsiteY0" fmla="*/ 4828 h 199543"/>
                    <a:gd name="connsiteX1" fmla="*/ 183451 w 199543"/>
                    <a:gd name="connsiteY1" fmla="*/ 126807 h 199543"/>
                    <a:gd name="connsiteX2" fmla="*/ 182486 w 199543"/>
                    <a:gd name="connsiteY2" fmla="*/ 184739 h 199543"/>
                    <a:gd name="connsiteX3" fmla="*/ 182486 w 199543"/>
                    <a:gd name="connsiteY3" fmla="*/ 184739 h 199543"/>
                    <a:gd name="connsiteX4" fmla="*/ 124554 w 199543"/>
                    <a:gd name="connsiteY4" fmla="*/ 185382 h 199543"/>
                    <a:gd name="connsiteX5" fmla="*/ 4828 w 199543"/>
                    <a:gd name="connsiteY5" fmla="*/ 65656 h 199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543" h="199543">
                      <a:moveTo>
                        <a:pt x="62116" y="4828"/>
                      </a:moveTo>
                      <a:lnTo>
                        <a:pt x="183451" y="126807"/>
                      </a:lnTo>
                      <a:cubicBezTo>
                        <a:pt x="199222" y="142577"/>
                        <a:pt x="198900" y="168647"/>
                        <a:pt x="182486" y="184739"/>
                      </a:cubicBezTo>
                      <a:lnTo>
                        <a:pt x="182486" y="184739"/>
                      </a:lnTo>
                      <a:cubicBezTo>
                        <a:pt x="166394" y="200831"/>
                        <a:pt x="140324" y="201153"/>
                        <a:pt x="124554" y="185382"/>
                      </a:cubicBezTo>
                      <a:lnTo>
                        <a:pt x="4828" y="65656"/>
                      </a:lnTo>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a:ln>
                      <a:noFill/>
                    </a:ln>
                    <a:solidFill>
                      <a:srgbClr val="1D516C"/>
                    </a:solidFill>
                    <a:effectLst/>
                    <a:uLnTx/>
                    <a:uFillTx/>
                    <a:latin typeface="Arial"/>
                    <a:ea typeface="+mn-ea"/>
                    <a:cs typeface="+mn-cs"/>
                  </a:endParaRPr>
                </a:p>
              </p:txBody>
            </p:sp>
            <p:sp>
              <p:nvSpPr>
                <p:cNvPr id="155" name="Freeform: Shape 154">
                  <a:extLst>
                    <a:ext uri="{FF2B5EF4-FFF2-40B4-BE49-F238E27FC236}">
                      <a16:creationId xmlns:a16="http://schemas.microsoft.com/office/drawing/2014/main" id="{840A7C50-6407-4A2C-9422-42D01DB1A4E1}"/>
                    </a:ext>
                  </a:extLst>
                </p:cNvPr>
                <p:cNvSpPr/>
                <p:nvPr/>
              </p:nvSpPr>
              <p:spPr>
                <a:xfrm>
                  <a:off x="-724184" y="4520119"/>
                  <a:ext cx="48277" cy="51495"/>
                </a:xfrm>
                <a:custGeom>
                  <a:avLst/>
                  <a:gdLst>
                    <a:gd name="connsiteX0" fmla="*/ 46024 w 48276"/>
                    <a:gd name="connsiteY0" fmla="*/ 4828 h 51495"/>
                    <a:gd name="connsiteX1" fmla="*/ 4828 w 48276"/>
                    <a:gd name="connsiteY1" fmla="*/ 47633 h 51495"/>
                  </a:gdLst>
                  <a:ahLst/>
                  <a:cxnLst>
                    <a:cxn ang="0">
                      <a:pos x="connsiteX0" y="connsiteY0"/>
                    </a:cxn>
                    <a:cxn ang="0">
                      <a:pos x="connsiteX1" y="connsiteY1"/>
                    </a:cxn>
                  </a:cxnLst>
                  <a:rect l="l" t="t" r="r" b="b"/>
                  <a:pathLst>
                    <a:path w="48276" h="51495">
                      <a:moveTo>
                        <a:pt x="46024" y="4828"/>
                      </a:moveTo>
                      <a:lnTo>
                        <a:pt x="4828" y="47633"/>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a:ln>
                      <a:noFill/>
                    </a:ln>
                    <a:solidFill>
                      <a:srgbClr val="1D516C"/>
                    </a:solidFill>
                    <a:effectLst/>
                    <a:uLnTx/>
                    <a:uFillTx/>
                    <a:latin typeface="Arial"/>
                    <a:ea typeface="+mn-ea"/>
                    <a:cs typeface="+mn-cs"/>
                  </a:endParaRPr>
                </a:p>
              </p:txBody>
            </p:sp>
            <p:sp>
              <p:nvSpPr>
                <p:cNvPr id="156" name="Freeform: Shape 155">
                  <a:extLst>
                    <a:ext uri="{FF2B5EF4-FFF2-40B4-BE49-F238E27FC236}">
                      <a16:creationId xmlns:a16="http://schemas.microsoft.com/office/drawing/2014/main" id="{91C69E87-10F3-40C3-A794-70D48881A17A}"/>
                    </a:ext>
                  </a:extLst>
                </p:cNvPr>
                <p:cNvSpPr/>
                <p:nvPr/>
              </p:nvSpPr>
              <p:spPr>
                <a:xfrm>
                  <a:off x="-746713" y="4497590"/>
                  <a:ext cx="48277" cy="51495"/>
                </a:xfrm>
                <a:custGeom>
                  <a:avLst/>
                  <a:gdLst>
                    <a:gd name="connsiteX0" fmla="*/ 46024 w 48276"/>
                    <a:gd name="connsiteY0" fmla="*/ 4828 h 51495"/>
                    <a:gd name="connsiteX1" fmla="*/ 4828 w 48276"/>
                    <a:gd name="connsiteY1" fmla="*/ 47633 h 51495"/>
                  </a:gdLst>
                  <a:ahLst/>
                  <a:cxnLst>
                    <a:cxn ang="0">
                      <a:pos x="connsiteX0" y="connsiteY0"/>
                    </a:cxn>
                    <a:cxn ang="0">
                      <a:pos x="connsiteX1" y="connsiteY1"/>
                    </a:cxn>
                  </a:cxnLst>
                  <a:rect l="l" t="t" r="r" b="b"/>
                  <a:pathLst>
                    <a:path w="48276" h="51495">
                      <a:moveTo>
                        <a:pt x="46024" y="4828"/>
                      </a:moveTo>
                      <a:lnTo>
                        <a:pt x="4828" y="47633"/>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a:ln>
                      <a:noFill/>
                    </a:ln>
                    <a:solidFill>
                      <a:srgbClr val="1D516C"/>
                    </a:solidFill>
                    <a:effectLst/>
                    <a:uLnTx/>
                    <a:uFillTx/>
                    <a:latin typeface="Arial"/>
                    <a:ea typeface="+mn-ea"/>
                    <a:cs typeface="+mn-cs"/>
                  </a:endParaRPr>
                </a:p>
              </p:txBody>
            </p:sp>
          </p:grpSp>
        </p:grpSp>
      </p:grpSp>
      <p:grpSp>
        <p:nvGrpSpPr>
          <p:cNvPr id="69" name="Group 68">
            <a:extLst>
              <a:ext uri="{FF2B5EF4-FFF2-40B4-BE49-F238E27FC236}">
                <a16:creationId xmlns:a16="http://schemas.microsoft.com/office/drawing/2014/main" id="{D5EA5841-C00F-4DF0-B79E-E73CD979D7D6}"/>
              </a:ext>
            </a:extLst>
          </p:cNvPr>
          <p:cNvGrpSpPr/>
          <p:nvPr/>
        </p:nvGrpSpPr>
        <p:grpSpPr>
          <a:xfrm>
            <a:off x="11825330" y="2827116"/>
            <a:ext cx="2488968" cy="1399952"/>
            <a:chOff x="11825330" y="3534012"/>
            <a:chExt cx="2488968" cy="1399952"/>
          </a:xfrm>
        </p:grpSpPr>
        <p:sp>
          <p:nvSpPr>
            <p:cNvPr id="119" name="Rectangle 118">
              <a:extLst>
                <a:ext uri="{FF2B5EF4-FFF2-40B4-BE49-F238E27FC236}">
                  <a16:creationId xmlns:a16="http://schemas.microsoft.com/office/drawing/2014/main" id="{F42817A4-91B1-9E4A-A195-2AAC1740AC94}"/>
                </a:ext>
              </a:extLst>
            </p:cNvPr>
            <p:cNvSpPr/>
            <p:nvPr/>
          </p:nvSpPr>
          <p:spPr>
            <a:xfrm>
              <a:off x="12331118" y="3897883"/>
              <a:ext cx="390747" cy="39074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31502"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120" name="Straight Arrow Connector 119">
              <a:extLst>
                <a:ext uri="{FF2B5EF4-FFF2-40B4-BE49-F238E27FC236}">
                  <a16:creationId xmlns:a16="http://schemas.microsoft.com/office/drawing/2014/main" id="{754766FB-D97A-264B-94E4-E73C8CBC13BE}"/>
                </a:ext>
              </a:extLst>
            </p:cNvPr>
            <p:cNvCxnSpPr>
              <a:cxnSpLocks/>
              <a:endCxn id="119" idx="1"/>
            </p:cNvCxnSpPr>
            <p:nvPr/>
          </p:nvCxnSpPr>
          <p:spPr>
            <a:xfrm>
              <a:off x="11825330" y="4093255"/>
              <a:ext cx="505789" cy="3"/>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122" name="Oval 121">
              <a:extLst>
                <a:ext uri="{FF2B5EF4-FFF2-40B4-BE49-F238E27FC236}">
                  <a16:creationId xmlns:a16="http://schemas.microsoft.com/office/drawing/2014/main" id="{1282B81F-CEA5-8F48-8DC2-DCD97A098E1B}"/>
                </a:ext>
              </a:extLst>
            </p:cNvPr>
            <p:cNvSpPr/>
            <p:nvPr/>
          </p:nvSpPr>
          <p:spPr>
            <a:xfrm>
              <a:off x="13205518" y="3534012"/>
              <a:ext cx="1108780" cy="1108780"/>
            </a:xfrm>
            <a:prstGeom prst="ellipse">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31502"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124" name="Straight Arrow Connector 123">
              <a:extLst>
                <a:ext uri="{FF2B5EF4-FFF2-40B4-BE49-F238E27FC236}">
                  <a16:creationId xmlns:a16="http://schemas.microsoft.com/office/drawing/2014/main" id="{B2E06969-754E-5F4D-A768-F47D5352ED16}"/>
                </a:ext>
              </a:extLst>
            </p:cNvPr>
            <p:cNvCxnSpPr>
              <a:cxnSpLocks/>
              <a:stCxn id="119" idx="3"/>
              <a:endCxn id="122" idx="2"/>
            </p:cNvCxnSpPr>
            <p:nvPr/>
          </p:nvCxnSpPr>
          <p:spPr>
            <a:xfrm flipV="1">
              <a:off x="12721865" y="4088402"/>
              <a:ext cx="483653" cy="4856"/>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197" name="TextBox 196">
              <a:extLst>
                <a:ext uri="{FF2B5EF4-FFF2-40B4-BE49-F238E27FC236}">
                  <a16:creationId xmlns:a16="http://schemas.microsoft.com/office/drawing/2014/main" id="{31FA11E4-D048-C248-99AE-2EE990FAC95A}"/>
                </a:ext>
              </a:extLst>
            </p:cNvPr>
            <p:cNvSpPr txBox="1"/>
            <p:nvPr/>
          </p:nvSpPr>
          <p:spPr>
            <a:xfrm>
              <a:off x="12131317" y="4288213"/>
              <a:ext cx="790348" cy="270843"/>
            </a:xfrm>
            <a:prstGeom prst="rect">
              <a:avLst/>
            </a:prstGeom>
            <a:noFill/>
          </p:spPr>
          <p:txBody>
            <a:bodyPr wrap="square" lIns="0" tIns="73152" rIns="0" bIns="0" rtlCol="0">
              <a:sp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280" b="1" i="0" u="none" strike="noStrike" kern="1200" cap="none" spc="0" normalizeH="0" baseline="0" noProof="0" dirty="0">
                  <a:ln>
                    <a:noFill/>
                  </a:ln>
                  <a:solidFill>
                    <a:srgbClr val="FFFFFF"/>
                  </a:solidFill>
                  <a:effectLst/>
                  <a:uLnTx/>
                  <a:uFillTx/>
                  <a:latin typeface="Amazon Ember" panose="020B0603020204020204" pitchFamily="34" charset="0"/>
                  <a:ea typeface="Amazon Ember" panose="020B0603020204020204" pitchFamily="34" charset="0"/>
                  <a:cs typeface="Amazon Ember" panose="020B0603020204020204" pitchFamily="34" charset="0"/>
                </a:rPr>
                <a:t>Execute</a:t>
              </a:r>
            </a:p>
          </p:txBody>
        </p:sp>
        <p:sp>
          <p:nvSpPr>
            <p:cNvPr id="198" name="TextBox 197">
              <a:extLst>
                <a:ext uri="{FF2B5EF4-FFF2-40B4-BE49-F238E27FC236}">
                  <a16:creationId xmlns:a16="http://schemas.microsoft.com/office/drawing/2014/main" id="{AD53A9D3-6D48-1E4C-983E-8D03F691AF8A}"/>
                </a:ext>
              </a:extLst>
            </p:cNvPr>
            <p:cNvSpPr txBox="1"/>
            <p:nvPr/>
          </p:nvSpPr>
          <p:spPr>
            <a:xfrm>
              <a:off x="13249356" y="4663121"/>
              <a:ext cx="1021103" cy="270843"/>
            </a:xfrm>
            <a:prstGeom prst="rect">
              <a:avLst/>
            </a:prstGeom>
            <a:noFill/>
          </p:spPr>
          <p:txBody>
            <a:bodyPr wrap="square" lIns="0" tIns="73152" rIns="0" bIns="0" rtlCol="0">
              <a:sp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280" b="1" i="0" u="none" strike="noStrike" kern="1200" cap="none" spc="0" normalizeH="0" baseline="0" noProof="0" dirty="0">
                  <a:ln>
                    <a:noFill/>
                  </a:ln>
                  <a:solidFill>
                    <a:srgbClr val="FFFFFF"/>
                  </a:solidFill>
                  <a:effectLst/>
                  <a:uLnTx/>
                  <a:uFillTx/>
                  <a:latin typeface="Amazon Ember" panose="020B0603020204020204" pitchFamily="34" charset="0"/>
                  <a:ea typeface="Amazon Ember" panose="020B0603020204020204" pitchFamily="34" charset="0"/>
                  <a:cs typeface="Amazon Ember" panose="020B0603020204020204" pitchFamily="34" charset="0"/>
                </a:rPr>
                <a:t>Production</a:t>
              </a:r>
            </a:p>
          </p:txBody>
        </p:sp>
        <p:grpSp>
          <p:nvGrpSpPr>
            <p:cNvPr id="2" name="Group 1">
              <a:extLst>
                <a:ext uri="{FF2B5EF4-FFF2-40B4-BE49-F238E27FC236}">
                  <a16:creationId xmlns:a16="http://schemas.microsoft.com/office/drawing/2014/main" id="{771B6BCC-CC8C-45F8-BED3-0CB4662E9C7A}"/>
                </a:ext>
              </a:extLst>
            </p:cNvPr>
            <p:cNvGrpSpPr/>
            <p:nvPr/>
          </p:nvGrpSpPr>
          <p:grpSpPr>
            <a:xfrm>
              <a:off x="13302515" y="3853799"/>
              <a:ext cx="817238" cy="444819"/>
              <a:chOff x="8246639" y="2350981"/>
              <a:chExt cx="412000" cy="224250"/>
            </a:xfrm>
          </p:grpSpPr>
          <p:grpSp>
            <p:nvGrpSpPr>
              <p:cNvPr id="172" name="Group 171">
                <a:extLst>
                  <a:ext uri="{FF2B5EF4-FFF2-40B4-BE49-F238E27FC236}">
                    <a16:creationId xmlns:a16="http://schemas.microsoft.com/office/drawing/2014/main" id="{0F3BAEAD-B656-46EB-BEC9-6D201D6BFA39}"/>
                  </a:ext>
                </a:extLst>
              </p:cNvPr>
              <p:cNvGrpSpPr/>
              <p:nvPr/>
            </p:nvGrpSpPr>
            <p:grpSpPr>
              <a:xfrm>
                <a:off x="8315107" y="2350981"/>
                <a:ext cx="343532" cy="224250"/>
                <a:chOff x="706143" y="880866"/>
                <a:chExt cx="847002" cy="552904"/>
              </a:xfrm>
            </p:grpSpPr>
            <p:sp>
              <p:nvSpPr>
                <p:cNvPr id="201" name="Freeform: Shape 200">
                  <a:extLst>
                    <a:ext uri="{FF2B5EF4-FFF2-40B4-BE49-F238E27FC236}">
                      <a16:creationId xmlns:a16="http://schemas.microsoft.com/office/drawing/2014/main" id="{C0BDBAE0-7F7C-41EA-A6A1-507F08AB3411}"/>
                    </a:ext>
                  </a:extLst>
                </p:cNvPr>
                <p:cNvSpPr/>
                <p:nvPr/>
              </p:nvSpPr>
              <p:spPr>
                <a:xfrm>
                  <a:off x="706143" y="880866"/>
                  <a:ext cx="847002" cy="552904"/>
                </a:xfrm>
                <a:custGeom>
                  <a:avLst/>
                  <a:gdLst>
                    <a:gd name="connsiteX0" fmla="*/ 123521 w 847001"/>
                    <a:gd name="connsiteY0" fmla="*/ 248150 h 552903"/>
                    <a:gd name="connsiteX1" fmla="*/ 121756 w 847001"/>
                    <a:gd name="connsiteY1" fmla="*/ 221681 h 552903"/>
                    <a:gd name="connsiteX2" fmla="*/ 247042 w 847001"/>
                    <a:gd name="connsiteY2" fmla="*/ 26988 h 552903"/>
                    <a:gd name="connsiteX3" fmla="*/ 485261 w 847001"/>
                    <a:gd name="connsiteY3" fmla="*/ 74632 h 552903"/>
                    <a:gd name="connsiteX4" fmla="*/ 543493 w 847001"/>
                    <a:gd name="connsiteY4" fmla="*/ 170508 h 552903"/>
                    <a:gd name="connsiteX5" fmla="*/ 543493 w 847001"/>
                    <a:gd name="connsiteY5" fmla="*/ 170508 h 552903"/>
                    <a:gd name="connsiteX6" fmla="*/ 707599 w 847001"/>
                    <a:gd name="connsiteY6" fmla="*/ 244033 h 552903"/>
                    <a:gd name="connsiteX7" fmla="*/ 707599 w 847001"/>
                    <a:gd name="connsiteY7" fmla="*/ 245797 h 552903"/>
                    <a:gd name="connsiteX8" fmla="*/ 842884 w 847001"/>
                    <a:gd name="connsiteY8" fmla="*/ 397552 h 552903"/>
                    <a:gd name="connsiteX9" fmla="*/ 703482 w 847001"/>
                    <a:gd name="connsiteY9" fmla="*/ 549306 h 552903"/>
                    <a:gd name="connsiteX10" fmla="*/ 162930 w 847001"/>
                    <a:gd name="connsiteY10" fmla="*/ 548718 h 552903"/>
                    <a:gd name="connsiteX11" fmla="*/ 9411 w 847001"/>
                    <a:gd name="connsiteY11" fmla="*/ 408727 h 552903"/>
                    <a:gd name="connsiteX12" fmla="*/ 8823 w 847001"/>
                    <a:gd name="connsiteY12" fmla="*/ 396375 h 552903"/>
                    <a:gd name="connsiteX13" fmla="*/ 123521 w 847001"/>
                    <a:gd name="connsiteY13" fmla="*/ 248150 h 552903"/>
                    <a:gd name="connsiteX14" fmla="*/ 123521 w 847001"/>
                    <a:gd name="connsiteY14" fmla="*/ 248150 h 552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47001" h="552903">
                      <a:moveTo>
                        <a:pt x="123521" y="248150"/>
                      </a:moveTo>
                      <a:cubicBezTo>
                        <a:pt x="122345" y="239327"/>
                        <a:pt x="121756" y="230504"/>
                        <a:pt x="121756" y="221681"/>
                      </a:cubicBezTo>
                      <a:cubicBezTo>
                        <a:pt x="121756" y="145804"/>
                        <a:pt x="173518" y="58163"/>
                        <a:pt x="247042" y="26988"/>
                      </a:cubicBezTo>
                      <a:cubicBezTo>
                        <a:pt x="341742" y="-13009"/>
                        <a:pt x="428206" y="17577"/>
                        <a:pt x="485261" y="74632"/>
                      </a:cubicBezTo>
                      <a:cubicBezTo>
                        <a:pt x="511730" y="101101"/>
                        <a:pt x="531141" y="134040"/>
                        <a:pt x="543493" y="170508"/>
                      </a:cubicBezTo>
                      <a:lnTo>
                        <a:pt x="543493" y="170508"/>
                      </a:lnTo>
                      <a:cubicBezTo>
                        <a:pt x="591725" y="105218"/>
                        <a:pt x="699364" y="125805"/>
                        <a:pt x="707599" y="244033"/>
                      </a:cubicBezTo>
                      <a:lnTo>
                        <a:pt x="707599" y="245797"/>
                      </a:lnTo>
                      <a:cubicBezTo>
                        <a:pt x="756419" y="254032"/>
                        <a:pt x="842884" y="288735"/>
                        <a:pt x="842884" y="397552"/>
                      </a:cubicBezTo>
                      <a:cubicBezTo>
                        <a:pt x="842884" y="537542"/>
                        <a:pt x="703482" y="549306"/>
                        <a:pt x="703482" y="549306"/>
                      </a:cubicBezTo>
                      <a:lnTo>
                        <a:pt x="162930" y="548718"/>
                      </a:lnTo>
                      <a:cubicBezTo>
                        <a:pt x="83524" y="548718"/>
                        <a:pt x="14117" y="488134"/>
                        <a:pt x="9411" y="408727"/>
                      </a:cubicBezTo>
                      <a:cubicBezTo>
                        <a:pt x="9411" y="404610"/>
                        <a:pt x="8823" y="400493"/>
                        <a:pt x="8823" y="396375"/>
                      </a:cubicBezTo>
                      <a:cubicBezTo>
                        <a:pt x="8823" y="302852"/>
                        <a:pt x="69995" y="262267"/>
                        <a:pt x="123521" y="248150"/>
                      </a:cubicBezTo>
                      <a:lnTo>
                        <a:pt x="123521" y="248150"/>
                      </a:lnTo>
                      <a:close/>
                    </a:path>
                  </a:pathLst>
                </a:custGeom>
                <a:noFill/>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3389" b="0" i="0" u="none" strike="noStrike" kern="1200" cap="none" spc="0" normalizeH="0" baseline="0" noProof="0">
                    <a:ln>
                      <a:noFill/>
                    </a:ln>
                    <a:solidFill>
                      <a:srgbClr val="000000"/>
                    </a:solidFill>
                    <a:effectLst/>
                    <a:uLnTx/>
                    <a:uFillTx/>
                    <a:latin typeface="Amazon Ember"/>
                    <a:ea typeface="+mn-ea"/>
                    <a:cs typeface="+mn-cs"/>
                  </a:endParaRPr>
                </a:p>
              </p:txBody>
            </p:sp>
            <p:sp>
              <p:nvSpPr>
                <p:cNvPr id="215" name="Freeform: Shape 214">
                  <a:extLst>
                    <a:ext uri="{FF2B5EF4-FFF2-40B4-BE49-F238E27FC236}">
                      <a16:creationId xmlns:a16="http://schemas.microsoft.com/office/drawing/2014/main" id="{1BFE2537-F896-4F3C-AD7F-7AB74B358326}"/>
                    </a:ext>
                  </a:extLst>
                </p:cNvPr>
                <p:cNvSpPr/>
                <p:nvPr/>
              </p:nvSpPr>
              <p:spPr>
                <a:xfrm>
                  <a:off x="796136" y="1264889"/>
                  <a:ext cx="288216" cy="17646"/>
                </a:xfrm>
                <a:custGeom>
                  <a:avLst/>
                  <a:gdLst>
                    <a:gd name="connsiteX0" fmla="*/ 8823 w 288215"/>
                    <a:gd name="connsiteY0" fmla="*/ 8823 h 17645"/>
                    <a:gd name="connsiteX1" fmla="*/ 284098 w 288215"/>
                    <a:gd name="connsiteY1" fmla="*/ 8823 h 17645"/>
                  </a:gdLst>
                  <a:ahLst/>
                  <a:cxnLst>
                    <a:cxn ang="0">
                      <a:pos x="connsiteX0" y="connsiteY0"/>
                    </a:cxn>
                    <a:cxn ang="0">
                      <a:pos x="connsiteX1" y="connsiteY1"/>
                    </a:cxn>
                  </a:cxnLst>
                  <a:rect l="l" t="t" r="r" b="b"/>
                  <a:pathLst>
                    <a:path w="288215" h="17645">
                      <a:moveTo>
                        <a:pt x="8823" y="8823"/>
                      </a:moveTo>
                      <a:lnTo>
                        <a:pt x="284098" y="8823"/>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3389" b="0" i="0" u="none" strike="noStrike" kern="1200" cap="none" spc="0" normalizeH="0" baseline="0" noProof="0">
                    <a:ln>
                      <a:noFill/>
                    </a:ln>
                    <a:solidFill>
                      <a:srgbClr val="000000"/>
                    </a:solidFill>
                    <a:effectLst/>
                    <a:uLnTx/>
                    <a:uFillTx/>
                    <a:latin typeface="Amazon Ember"/>
                    <a:ea typeface="+mn-ea"/>
                    <a:cs typeface="+mn-cs"/>
                  </a:endParaRPr>
                </a:p>
              </p:txBody>
            </p:sp>
            <p:sp>
              <p:nvSpPr>
                <p:cNvPr id="217" name="Freeform: Shape 216">
                  <a:extLst>
                    <a:ext uri="{FF2B5EF4-FFF2-40B4-BE49-F238E27FC236}">
                      <a16:creationId xmlns:a16="http://schemas.microsoft.com/office/drawing/2014/main" id="{38FD3E28-2071-4CC3-BB2D-03571EFDC46C}"/>
                    </a:ext>
                  </a:extLst>
                </p:cNvPr>
                <p:cNvSpPr/>
                <p:nvPr/>
              </p:nvSpPr>
              <p:spPr>
                <a:xfrm>
                  <a:off x="1132584" y="1264889"/>
                  <a:ext cx="117639" cy="17646"/>
                </a:xfrm>
                <a:custGeom>
                  <a:avLst/>
                  <a:gdLst>
                    <a:gd name="connsiteX0" fmla="*/ 8823 w 117639"/>
                    <a:gd name="connsiteY0" fmla="*/ 8823 h 17645"/>
                    <a:gd name="connsiteX1" fmla="*/ 109404 w 117639"/>
                    <a:gd name="connsiteY1" fmla="*/ 8823 h 17645"/>
                  </a:gdLst>
                  <a:ahLst/>
                  <a:cxnLst>
                    <a:cxn ang="0">
                      <a:pos x="connsiteX0" y="connsiteY0"/>
                    </a:cxn>
                    <a:cxn ang="0">
                      <a:pos x="connsiteX1" y="connsiteY1"/>
                    </a:cxn>
                  </a:cxnLst>
                  <a:rect l="l" t="t" r="r" b="b"/>
                  <a:pathLst>
                    <a:path w="117639" h="17645">
                      <a:moveTo>
                        <a:pt x="8823" y="8823"/>
                      </a:moveTo>
                      <a:lnTo>
                        <a:pt x="109404" y="8823"/>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3389" b="0" i="0" u="none" strike="noStrike" kern="1200" cap="none" spc="0" normalizeH="0" baseline="0" noProof="0">
                    <a:ln>
                      <a:noFill/>
                    </a:ln>
                    <a:solidFill>
                      <a:srgbClr val="000000"/>
                    </a:solidFill>
                    <a:effectLst/>
                    <a:uLnTx/>
                    <a:uFillTx/>
                    <a:latin typeface="Amazon Ember"/>
                    <a:ea typeface="+mn-ea"/>
                    <a:cs typeface="+mn-cs"/>
                  </a:endParaRPr>
                </a:p>
              </p:txBody>
            </p:sp>
            <p:sp>
              <p:nvSpPr>
                <p:cNvPr id="218" name="Freeform: Shape 217">
                  <a:extLst>
                    <a:ext uri="{FF2B5EF4-FFF2-40B4-BE49-F238E27FC236}">
                      <a16:creationId xmlns:a16="http://schemas.microsoft.com/office/drawing/2014/main" id="{1291F74F-BC21-46D8-9A3D-5E4C147CEF96}"/>
                    </a:ext>
                  </a:extLst>
                </p:cNvPr>
                <p:cNvSpPr/>
                <p:nvPr/>
              </p:nvSpPr>
              <p:spPr>
                <a:xfrm>
                  <a:off x="974360" y="1185483"/>
                  <a:ext cx="376445" cy="17646"/>
                </a:xfrm>
                <a:custGeom>
                  <a:avLst/>
                  <a:gdLst>
                    <a:gd name="connsiteX0" fmla="*/ 8823 w 376445"/>
                    <a:gd name="connsiteY0" fmla="*/ 8823 h 17645"/>
                    <a:gd name="connsiteX1" fmla="*/ 368799 w 376445"/>
                    <a:gd name="connsiteY1" fmla="*/ 8823 h 17645"/>
                  </a:gdLst>
                  <a:ahLst/>
                  <a:cxnLst>
                    <a:cxn ang="0">
                      <a:pos x="connsiteX0" y="connsiteY0"/>
                    </a:cxn>
                    <a:cxn ang="0">
                      <a:pos x="connsiteX1" y="connsiteY1"/>
                    </a:cxn>
                  </a:cxnLst>
                  <a:rect l="l" t="t" r="r" b="b"/>
                  <a:pathLst>
                    <a:path w="376445" h="17645">
                      <a:moveTo>
                        <a:pt x="8823" y="8823"/>
                      </a:moveTo>
                      <a:lnTo>
                        <a:pt x="368799" y="8823"/>
                      </a:lnTo>
                    </a:path>
                  </a:pathLst>
                </a:custGeom>
                <a:ln w="19050" cap="flat">
                  <a:solidFill>
                    <a:schemeClr val="tx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3389" b="0" i="0" u="none" strike="noStrike" kern="1200" cap="none" spc="0" normalizeH="0" baseline="0" noProof="0">
                    <a:ln>
                      <a:noFill/>
                    </a:ln>
                    <a:solidFill>
                      <a:srgbClr val="000000"/>
                    </a:solidFill>
                    <a:effectLst/>
                    <a:uLnTx/>
                    <a:uFillTx/>
                    <a:latin typeface="Amazon Ember"/>
                    <a:ea typeface="+mn-ea"/>
                    <a:cs typeface="+mn-cs"/>
                  </a:endParaRPr>
                </a:p>
              </p:txBody>
            </p:sp>
          </p:grpSp>
          <p:grpSp>
            <p:nvGrpSpPr>
              <p:cNvPr id="173" name="Group 172">
                <a:extLst>
                  <a:ext uri="{FF2B5EF4-FFF2-40B4-BE49-F238E27FC236}">
                    <a16:creationId xmlns:a16="http://schemas.microsoft.com/office/drawing/2014/main" id="{59562C3E-CF08-4CBD-9108-C1FC2DED67B4}"/>
                  </a:ext>
                </a:extLst>
              </p:cNvPr>
              <p:cNvGrpSpPr/>
              <p:nvPr/>
            </p:nvGrpSpPr>
            <p:grpSpPr>
              <a:xfrm>
                <a:off x="8246639" y="2378865"/>
                <a:ext cx="386235" cy="167472"/>
                <a:chOff x="537330" y="949617"/>
                <a:chExt cx="952289" cy="412913"/>
              </a:xfrm>
            </p:grpSpPr>
            <p:sp>
              <p:nvSpPr>
                <p:cNvPr id="174" name="Freeform: Shape 173">
                  <a:extLst>
                    <a:ext uri="{FF2B5EF4-FFF2-40B4-BE49-F238E27FC236}">
                      <a16:creationId xmlns:a16="http://schemas.microsoft.com/office/drawing/2014/main" id="{B4EAD6AB-6177-4FAF-864C-7355837FEA35}"/>
                    </a:ext>
                  </a:extLst>
                </p:cNvPr>
                <p:cNvSpPr/>
                <p:nvPr/>
              </p:nvSpPr>
              <p:spPr>
                <a:xfrm>
                  <a:off x="654970" y="1185483"/>
                  <a:ext cx="52938" cy="17646"/>
                </a:xfrm>
                <a:custGeom>
                  <a:avLst/>
                  <a:gdLst>
                    <a:gd name="connsiteX0" fmla="*/ 8823 w 52937"/>
                    <a:gd name="connsiteY0" fmla="*/ 8823 h 17645"/>
                    <a:gd name="connsiteX1" fmla="*/ 44115 w 52937"/>
                    <a:gd name="connsiteY1" fmla="*/ 8823 h 17645"/>
                  </a:gdLst>
                  <a:ahLst/>
                  <a:cxnLst>
                    <a:cxn ang="0">
                      <a:pos x="connsiteX0" y="connsiteY0"/>
                    </a:cxn>
                    <a:cxn ang="0">
                      <a:pos x="connsiteX1" y="connsiteY1"/>
                    </a:cxn>
                  </a:cxnLst>
                  <a:rect l="l" t="t" r="r" b="b"/>
                  <a:pathLst>
                    <a:path w="52937" h="17645">
                      <a:moveTo>
                        <a:pt x="8823" y="8823"/>
                      </a:moveTo>
                      <a:lnTo>
                        <a:pt x="44115" y="8823"/>
                      </a:lnTo>
                    </a:path>
                  </a:pathLst>
                </a:custGeom>
                <a:ln w="19050" cap="flat">
                  <a:solidFill>
                    <a:schemeClr val="accent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3389" b="0" i="0" u="none" strike="noStrike" kern="1200" cap="none" spc="0" normalizeH="0" baseline="0" noProof="0">
                    <a:ln>
                      <a:noFill/>
                    </a:ln>
                    <a:solidFill>
                      <a:srgbClr val="000000"/>
                    </a:solidFill>
                    <a:effectLst/>
                    <a:uLnTx/>
                    <a:uFillTx/>
                    <a:latin typeface="Amazon Ember"/>
                    <a:ea typeface="+mn-ea"/>
                    <a:cs typeface="+mn-cs"/>
                  </a:endParaRPr>
                </a:p>
              </p:txBody>
            </p:sp>
            <p:sp>
              <p:nvSpPr>
                <p:cNvPr id="175" name="Freeform: Shape 174">
                  <a:extLst>
                    <a:ext uri="{FF2B5EF4-FFF2-40B4-BE49-F238E27FC236}">
                      <a16:creationId xmlns:a16="http://schemas.microsoft.com/office/drawing/2014/main" id="{21DA1B20-4258-4945-AC55-8EC99CA4276D}"/>
                    </a:ext>
                  </a:extLst>
                </p:cNvPr>
                <p:cNvSpPr/>
                <p:nvPr/>
              </p:nvSpPr>
              <p:spPr>
                <a:xfrm>
                  <a:off x="758492" y="1185483"/>
                  <a:ext cx="117639" cy="17646"/>
                </a:xfrm>
                <a:custGeom>
                  <a:avLst/>
                  <a:gdLst>
                    <a:gd name="connsiteX0" fmla="*/ 8823 w 117639"/>
                    <a:gd name="connsiteY0" fmla="*/ 8823 h 17645"/>
                    <a:gd name="connsiteX1" fmla="*/ 111169 w 117639"/>
                    <a:gd name="connsiteY1" fmla="*/ 8823 h 17645"/>
                  </a:gdLst>
                  <a:ahLst/>
                  <a:cxnLst>
                    <a:cxn ang="0">
                      <a:pos x="connsiteX0" y="connsiteY0"/>
                    </a:cxn>
                    <a:cxn ang="0">
                      <a:pos x="connsiteX1" y="connsiteY1"/>
                    </a:cxn>
                  </a:cxnLst>
                  <a:rect l="l" t="t" r="r" b="b"/>
                  <a:pathLst>
                    <a:path w="117639" h="17645">
                      <a:moveTo>
                        <a:pt x="8823" y="8823"/>
                      </a:moveTo>
                      <a:lnTo>
                        <a:pt x="111169" y="8823"/>
                      </a:lnTo>
                    </a:path>
                  </a:pathLst>
                </a:custGeom>
                <a:ln w="19050" cap="flat">
                  <a:solidFill>
                    <a:schemeClr val="accent1"/>
                  </a:solidFill>
                  <a:custDash>
                    <a:ds d="869873" sp="869873"/>
                  </a:custDash>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3389" b="0" i="0" u="none" strike="noStrike" kern="1200" cap="none" spc="0" normalizeH="0" baseline="0" noProof="0">
                    <a:ln>
                      <a:noFill/>
                    </a:ln>
                    <a:solidFill>
                      <a:srgbClr val="000000"/>
                    </a:solidFill>
                    <a:effectLst/>
                    <a:uLnTx/>
                    <a:uFillTx/>
                    <a:latin typeface="Amazon Ember"/>
                    <a:ea typeface="+mn-ea"/>
                    <a:cs typeface="+mn-cs"/>
                  </a:endParaRPr>
                </a:p>
              </p:txBody>
            </p:sp>
            <p:sp>
              <p:nvSpPr>
                <p:cNvPr id="176" name="Freeform: Shape 175">
                  <a:extLst>
                    <a:ext uri="{FF2B5EF4-FFF2-40B4-BE49-F238E27FC236}">
                      <a16:creationId xmlns:a16="http://schemas.microsoft.com/office/drawing/2014/main" id="{8429540F-7C66-4F39-A553-32E875E1FC69}"/>
                    </a:ext>
                  </a:extLst>
                </p:cNvPr>
                <p:cNvSpPr/>
                <p:nvPr/>
              </p:nvSpPr>
              <p:spPr>
                <a:xfrm>
                  <a:off x="894953" y="1185483"/>
                  <a:ext cx="52938" cy="17646"/>
                </a:xfrm>
                <a:custGeom>
                  <a:avLst/>
                  <a:gdLst>
                    <a:gd name="connsiteX0" fmla="*/ 8823 w 52937"/>
                    <a:gd name="connsiteY0" fmla="*/ 8823 h 17645"/>
                    <a:gd name="connsiteX1" fmla="*/ 44115 w 52937"/>
                    <a:gd name="connsiteY1" fmla="*/ 8823 h 17645"/>
                  </a:gdLst>
                  <a:ahLst/>
                  <a:cxnLst>
                    <a:cxn ang="0">
                      <a:pos x="connsiteX0" y="connsiteY0"/>
                    </a:cxn>
                    <a:cxn ang="0">
                      <a:pos x="connsiteX1" y="connsiteY1"/>
                    </a:cxn>
                  </a:cxnLst>
                  <a:rect l="l" t="t" r="r" b="b"/>
                  <a:pathLst>
                    <a:path w="52937" h="17645">
                      <a:moveTo>
                        <a:pt x="8823" y="8823"/>
                      </a:moveTo>
                      <a:lnTo>
                        <a:pt x="44115" y="8823"/>
                      </a:lnTo>
                    </a:path>
                  </a:pathLst>
                </a:custGeom>
                <a:ln w="15875" cap="flat">
                  <a:solidFill>
                    <a:schemeClr val="accent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3389" b="0" i="0" u="none" strike="noStrike" kern="1200" cap="none" spc="0" normalizeH="0" baseline="0" noProof="0">
                    <a:ln>
                      <a:noFill/>
                    </a:ln>
                    <a:solidFill>
                      <a:srgbClr val="000000"/>
                    </a:solidFill>
                    <a:effectLst/>
                    <a:uLnTx/>
                    <a:uFillTx/>
                    <a:latin typeface="Amazon Ember"/>
                    <a:ea typeface="+mn-ea"/>
                    <a:cs typeface="+mn-cs"/>
                  </a:endParaRPr>
                </a:p>
              </p:txBody>
            </p:sp>
            <p:sp>
              <p:nvSpPr>
                <p:cNvPr id="177" name="Freeform: Shape 176">
                  <a:extLst>
                    <a:ext uri="{FF2B5EF4-FFF2-40B4-BE49-F238E27FC236}">
                      <a16:creationId xmlns:a16="http://schemas.microsoft.com/office/drawing/2014/main" id="{08C33D9E-8760-466E-B833-4EF61C78F102}"/>
                    </a:ext>
                  </a:extLst>
                </p:cNvPr>
                <p:cNvSpPr/>
                <p:nvPr/>
              </p:nvSpPr>
              <p:spPr>
                <a:xfrm>
                  <a:off x="537330" y="1344884"/>
                  <a:ext cx="47056" cy="17646"/>
                </a:xfrm>
                <a:custGeom>
                  <a:avLst/>
                  <a:gdLst>
                    <a:gd name="connsiteX0" fmla="*/ 8823 w 47055"/>
                    <a:gd name="connsiteY0" fmla="*/ 8823 h 17645"/>
                    <a:gd name="connsiteX1" fmla="*/ 44115 w 47055"/>
                    <a:gd name="connsiteY1" fmla="*/ 8823 h 17645"/>
                  </a:gdLst>
                  <a:ahLst/>
                  <a:cxnLst>
                    <a:cxn ang="0">
                      <a:pos x="connsiteX0" y="connsiteY0"/>
                    </a:cxn>
                    <a:cxn ang="0">
                      <a:pos x="connsiteX1" y="connsiteY1"/>
                    </a:cxn>
                  </a:cxnLst>
                  <a:rect l="l" t="t" r="r" b="b"/>
                  <a:pathLst>
                    <a:path w="47055" h="17645">
                      <a:moveTo>
                        <a:pt x="8823" y="8823"/>
                      </a:moveTo>
                      <a:lnTo>
                        <a:pt x="44115" y="8823"/>
                      </a:lnTo>
                    </a:path>
                  </a:pathLst>
                </a:custGeom>
                <a:ln w="19050" cap="flat">
                  <a:solidFill>
                    <a:schemeClr val="accent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3389" b="0" i="0" u="none" strike="noStrike" kern="1200" cap="none" spc="0" normalizeH="0" baseline="0" noProof="0">
                    <a:ln>
                      <a:noFill/>
                    </a:ln>
                    <a:solidFill>
                      <a:srgbClr val="000000"/>
                    </a:solidFill>
                    <a:effectLst/>
                    <a:uLnTx/>
                    <a:uFillTx/>
                    <a:latin typeface="Amazon Ember"/>
                    <a:ea typeface="+mn-ea"/>
                    <a:cs typeface="+mn-cs"/>
                  </a:endParaRPr>
                </a:p>
              </p:txBody>
            </p:sp>
            <p:sp>
              <p:nvSpPr>
                <p:cNvPr id="178" name="Freeform: Shape 177">
                  <a:extLst>
                    <a:ext uri="{FF2B5EF4-FFF2-40B4-BE49-F238E27FC236}">
                      <a16:creationId xmlns:a16="http://schemas.microsoft.com/office/drawing/2014/main" id="{FA764FB7-5E46-494E-AE54-18EB9CE6F930}"/>
                    </a:ext>
                  </a:extLst>
                </p:cNvPr>
                <p:cNvSpPr/>
                <p:nvPr/>
              </p:nvSpPr>
              <p:spPr>
                <a:xfrm>
                  <a:off x="634971" y="1344884"/>
                  <a:ext cx="235278" cy="17646"/>
                </a:xfrm>
                <a:custGeom>
                  <a:avLst/>
                  <a:gdLst>
                    <a:gd name="connsiteX0" fmla="*/ 8823 w 235278"/>
                    <a:gd name="connsiteY0" fmla="*/ 8823 h 17645"/>
                    <a:gd name="connsiteX1" fmla="*/ 227043 w 235278"/>
                    <a:gd name="connsiteY1" fmla="*/ 8823 h 17645"/>
                  </a:gdLst>
                  <a:ahLst/>
                  <a:cxnLst>
                    <a:cxn ang="0">
                      <a:pos x="connsiteX0" y="connsiteY0"/>
                    </a:cxn>
                    <a:cxn ang="0">
                      <a:pos x="connsiteX1" y="connsiteY1"/>
                    </a:cxn>
                  </a:cxnLst>
                  <a:rect l="l" t="t" r="r" b="b"/>
                  <a:pathLst>
                    <a:path w="235278" h="17645">
                      <a:moveTo>
                        <a:pt x="8823" y="8823"/>
                      </a:moveTo>
                      <a:lnTo>
                        <a:pt x="227043" y="8823"/>
                      </a:lnTo>
                    </a:path>
                  </a:pathLst>
                </a:custGeom>
                <a:ln w="19050" cap="flat">
                  <a:solidFill>
                    <a:schemeClr val="accent1"/>
                  </a:solidFill>
                  <a:custDash>
                    <a:ds d="795000" sp="795000"/>
                  </a:custDash>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3389" b="0" i="0" u="none" strike="noStrike" kern="1200" cap="none" spc="0" normalizeH="0" baseline="0" noProof="0">
                    <a:ln>
                      <a:noFill/>
                    </a:ln>
                    <a:solidFill>
                      <a:srgbClr val="000000"/>
                    </a:solidFill>
                    <a:effectLst/>
                    <a:uLnTx/>
                    <a:uFillTx/>
                    <a:latin typeface="Amazon Ember"/>
                    <a:ea typeface="+mn-ea"/>
                    <a:cs typeface="+mn-cs"/>
                  </a:endParaRPr>
                </a:p>
              </p:txBody>
            </p:sp>
            <p:sp>
              <p:nvSpPr>
                <p:cNvPr id="179" name="Freeform: Shape 178">
                  <a:extLst>
                    <a:ext uri="{FF2B5EF4-FFF2-40B4-BE49-F238E27FC236}">
                      <a16:creationId xmlns:a16="http://schemas.microsoft.com/office/drawing/2014/main" id="{D868A113-5149-42BA-AF4E-B6AF9CCA19ED}"/>
                    </a:ext>
                  </a:extLst>
                </p:cNvPr>
                <p:cNvSpPr/>
                <p:nvPr/>
              </p:nvSpPr>
              <p:spPr>
                <a:xfrm>
                  <a:off x="884366" y="1344884"/>
                  <a:ext cx="52938" cy="17646"/>
                </a:xfrm>
                <a:custGeom>
                  <a:avLst/>
                  <a:gdLst>
                    <a:gd name="connsiteX0" fmla="*/ 8823 w 52937"/>
                    <a:gd name="connsiteY0" fmla="*/ 8823 h 17645"/>
                    <a:gd name="connsiteX1" fmla="*/ 44115 w 52937"/>
                    <a:gd name="connsiteY1" fmla="*/ 8823 h 17645"/>
                  </a:gdLst>
                  <a:ahLst/>
                  <a:cxnLst>
                    <a:cxn ang="0">
                      <a:pos x="connsiteX0" y="connsiteY0"/>
                    </a:cxn>
                    <a:cxn ang="0">
                      <a:pos x="connsiteX1" y="connsiteY1"/>
                    </a:cxn>
                  </a:cxnLst>
                  <a:rect l="l" t="t" r="r" b="b"/>
                  <a:pathLst>
                    <a:path w="52937" h="17645">
                      <a:moveTo>
                        <a:pt x="8823" y="8823"/>
                      </a:moveTo>
                      <a:lnTo>
                        <a:pt x="44115" y="8823"/>
                      </a:lnTo>
                    </a:path>
                  </a:pathLst>
                </a:custGeom>
                <a:ln w="19050" cap="flat">
                  <a:solidFill>
                    <a:schemeClr val="accent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3389" b="0" i="0" u="none" strike="noStrike" kern="1200" cap="none" spc="0" normalizeH="0" baseline="0" noProof="0">
                    <a:ln>
                      <a:noFill/>
                    </a:ln>
                    <a:solidFill>
                      <a:srgbClr val="000000"/>
                    </a:solidFill>
                    <a:effectLst/>
                    <a:uLnTx/>
                    <a:uFillTx/>
                    <a:latin typeface="Amazon Ember"/>
                    <a:ea typeface="+mn-ea"/>
                    <a:cs typeface="+mn-cs"/>
                  </a:endParaRPr>
                </a:p>
              </p:txBody>
            </p:sp>
            <p:sp>
              <p:nvSpPr>
                <p:cNvPr id="180" name="Freeform: Shape 179">
                  <a:extLst>
                    <a:ext uri="{FF2B5EF4-FFF2-40B4-BE49-F238E27FC236}">
                      <a16:creationId xmlns:a16="http://schemas.microsoft.com/office/drawing/2014/main" id="{FD989CAB-086E-4B1B-84CD-01058454A1B1}"/>
                    </a:ext>
                  </a:extLst>
                </p:cNvPr>
                <p:cNvSpPr/>
                <p:nvPr/>
              </p:nvSpPr>
              <p:spPr>
                <a:xfrm>
                  <a:off x="1196698" y="949617"/>
                  <a:ext cx="52938" cy="17646"/>
                </a:xfrm>
                <a:custGeom>
                  <a:avLst/>
                  <a:gdLst>
                    <a:gd name="connsiteX0" fmla="*/ 8823 w 52937"/>
                    <a:gd name="connsiteY0" fmla="*/ 8823 h 17645"/>
                    <a:gd name="connsiteX1" fmla="*/ 44115 w 52937"/>
                    <a:gd name="connsiteY1" fmla="*/ 8823 h 17645"/>
                  </a:gdLst>
                  <a:ahLst/>
                  <a:cxnLst>
                    <a:cxn ang="0">
                      <a:pos x="connsiteX0" y="connsiteY0"/>
                    </a:cxn>
                    <a:cxn ang="0">
                      <a:pos x="connsiteX1" y="connsiteY1"/>
                    </a:cxn>
                  </a:cxnLst>
                  <a:rect l="l" t="t" r="r" b="b"/>
                  <a:pathLst>
                    <a:path w="52937" h="17645">
                      <a:moveTo>
                        <a:pt x="8823" y="8823"/>
                      </a:moveTo>
                      <a:lnTo>
                        <a:pt x="44115" y="8823"/>
                      </a:lnTo>
                    </a:path>
                  </a:pathLst>
                </a:custGeom>
                <a:ln w="19050" cap="flat">
                  <a:solidFill>
                    <a:schemeClr val="accent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3389" b="0" i="0" u="none" strike="noStrike" kern="1200" cap="none" spc="0" normalizeH="0" baseline="0" noProof="0">
                    <a:ln>
                      <a:noFill/>
                    </a:ln>
                    <a:solidFill>
                      <a:srgbClr val="000000"/>
                    </a:solidFill>
                    <a:effectLst/>
                    <a:uLnTx/>
                    <a:uFillTx/>
                    <a:latin typeface="Amazon Ember"/>
                    <a:ea typeface="+mn-ea"/>
                    <a:cs typeface="+mn-cs"/>
                  </a:endParaRPr>
                </a:p>
              </p:txBody>
            </p:sp>
            <p:sp>
              <p:nvSpPr>
                <p:cNvPr id="181" name="Freeform: Shape 180">
                  <a:extLst>
                    <a:ext uri="{FF2B5EF4-FFF2-40B4-BE49-F238E27FC236}">
                      <a16:creationId xmlns:a16="http://schemas.microsoft.com/office/drawing/2014/main" id="{5686E020-B0D5-4555-98A5-7235CA0081C0}"/>
                    </a:ext>
                  </a:extLst>
                </p:cNvPr>
                <p:cNvSpPr/>
                <p:nvPr/>
              </p:nvSpPr>
              <p:spPr>
                <a:xfrm>
                  <a:off x="1300220" y="949617"/>
                  <a:ext cx="117639" cy="17646"/>
                </a:xfrm>
                <a:custGeom>
                  <a:avLst/>
                  <a:gdLst>
                    <a:gd name="connsiteX0" fmla="*/ 8823 w 117639"/>
                    <a:gd name="connsiteY0" fmla="*/ 8823 h 17645"/>
                    <a:gd name="connsiteX1" fmla="*/ 111169 w 117639"/>
                    <a:gd name="connsiteY1" fmla="*/ 8823 h 17645"/>
                  </a:gdLst>
                  <a:ahLst/>
                  <a:cxnLst>
                    <a:cxn ang="0">
                      <a:pos x="connsiteX0" y="connsiteY0"/>
                    </a:cxn>
                    <a:cxn ang="0">
                      <a:pos x="connsiteX1" y="connsiteY1"/>
                    </a:cxn>
                  </a:cxnLst>
                  <a:rect l="l" t="t" r="r" b="b"/>
                  <a:pathLst>
                    <a:path w="117639" h="17645">
                      <a:moveTo>
                        <a:pt x="8823" y="8823"/>
                      </a:moveTo>
                      <a:lnTo>
                        <a:pt x="111169" y="8823"/>
                      </a:lnTo>
                    </a:path>
                  </a:pathLst>
                </a:custGeom>
                <a:ln w="19050" cap="flat">
                  <a:solidFill>
                    <a:schemeClr val="accent1"/>
                  </a:solidFill>
                  <a:custDash>
                    <a:ds d="869873" sp="869873"/>
                  </a:custDash>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3389" b="0" i="0" u="none" strike="noStrike" kern="1200" cap="none" spc="0" normalizeH="0" baseline="0" noProof="0">
                    <a:ln>
                      <a:noFill/>
                    </a:ln>
                    <a:solidFill>
                      <a:srgbClr val="000000"/>
                    </a:solidFill>
                    <a:effectLst/>
                    <a:uLnTx/>
                    <a:uFillTx/>
                    <a:latin typeface="Amazon Ember"/>
                    <a:ea typeface="+mn-ea"/>
                    <a:cs typeface="+mn-cs"/>
                  </a:endParaRPr>
                </a:p>
              </p:txBody>
            </p:sp>
            <p:sp>
              <p:nvSpPr>
                <p:cNvPr id="182" name="Freeform: Shape 181">
                  <a:extLst>
                    <a:ext uri="{FF2B5EF4-FFF2-40B4-BE49-F238E27FC236}">
                      <a16:creationId xmlns:a16="http://schemas.microsoft.com/office/drawing/2014/main" id="{A8261C4A-6AC2-43A7-AE2C-8CB4CDF4258B}"/>
                    </a:ext>
                  </a:extLst>
                </p:cNvPr>
                <p:cNvSpPr/>
                <p:nvPr/>
              </p:nvSpPr>
              <p:spPr>
                <a:xfrm>
                  <a:off x="1436681" y="949617"/>
                  <a:ext cx="52938" cy="17646"/>
                </a:xfrm>
                <a:custGeom>
                  <a:avLst/>
                  <a:gdLst>
                    <a:gd name="connsiteX0" fmla="*/ 8823 w 52937"/>
                    <a:gd name="connsiteY0" fmla="*/ 8823 h 17645"/>
                    <a:gd name="connsiteX1" fmla="*/ 44115 w 52937"/>
                    <a:gd name="connsiteY1" fmla="*/ 8823 h 17645"/>
                  </a:gdLst>
                  <a:ahLst/>
                  <a:cxnLst>
                    <a:cxn ang="0">
                      <a:pos x="connsiteX0" y="connsiteY0"/>
                    </a:cxn>
                    <a:cxn ang="0">
                      <a:pos x="connsiteX1" y="connsiteY1"/>
                    </a:cxn>
                  </a:cxnLst>
                  <a:rect l="l" t="t" r="r" b="b"/>
                  <a:pathLst>
                    <a:path w="52937" h="17645">
                      <a:moveTo>
                        <a:pt x="8823" y="8823"/>
                      </a:moveTo>
                      <a:lnTo>
                        <a:pt x="44115" y="8823"/>
                      </a:lnTo>
                    </a:path>
                  </a:pathLst>
                </a:custGeom>
                <a:ln w="19050" cap="flat">
                  <a:solidFill>
                    <a:schemeClr val="accent1"/>
                  </a:solidFill>
                  <a:prstDash val="solid"/>
                  <a:round/>
                </a:ln>
              </p:spPr>
              <p:txBody>
                <a:bodyPr rtlCol="0" anchor="ctr"/>
                <a:lstStyle/>
                <a:p>
                  <a:pPr marL="0" marR="0" lvl="0" indent="0" algn="l" defTabSz="731520" rtl="0" eaLnBrk="1" fontAlgn="auto" latinLnBrk="0" hangingPunct="1">
                    <a:lnSpc>
                      <a:spcPct val="100000"/>
                    </a:lnSpc>
                    <a:spcBef>
                      <a:spcPts val="0"/>
                    </a:spcBef>
                    <a:spcAft>
                      <a:spcPts val="0"/>
                    </a:spcAft>
                    <a:buClrTx/>
                    <a:buSzTx/>
                    <a:buFontTx/>
                    <a:buNone/>
                    <a:tabLst/>
                    <a:defRPr/>
                  </a:pPr>
                  <a:endParaRPr kumimoji="0" lang="en-US" sz="3389" b="0" i="0" u="none" strike="noStrike" kern="1200" cap="none" spc="0" normalizeH="0" baseline="0" noProof="0">
                    <a:ln>
                      <a:noFill/>
                    </a:ln>
                    <a:solidFill>
                      <a:srgbClr val="000000"/>
                    </a:solidFill>
                    <a:effectLst/>
                    <a:uLnTx/>
                    <a:uFillTx/>
                    <a:latin typeface="Amazon Ember"/>
                    <a:ea typeface="+mn-ea"/>
                    <a:cs typeface="+mn-cs"/>
                  </a:endParaRPr>
                </a:p>
              </p:txBody>
            </p:sp>
          </p:grpSp>
        </p:grpSp>
      </p:grpSp>
      <p:sp>
        <p:nvSpPr>
          <p:cNvPr id="131" name="TextBox 130">
            <a:extLst>
              <a:ext uri="{FF2B5EF4-FFF2-40B4-BE49-F238E27FC236}">
                <a16:creationId xmlns:a16="http://schemas.microsoft.com/office/drawing/2014/main" id="{6E716CF8-D191-4C41-9AA6-B3D6CB42FCED}"/>
              </a:ext>
            </a:extLst>
          </p:cNvPr>
          <p:cNvSpPr txBox="1"/>
          <p:nvPr/>
        </p:nvSpPr>
        <p:spPr>
          <a:xfrm>
            <a:off x="1803947" y="5134006"/>
            <a:ext cx="790348" cy="467820"/>
          </a:xfrm>
          <a:prstGeom prst="rect">
            <a:avLst/>
          </a:prstGeom>
          <a:noFill/>
        </p:spPr>
        <p:txBody>
          <a:bodyPr wrap="square" lIns="0" tIns="73152" rIns="0" bIns="0" rtlCol="0">
            <a:spAutoFit/>
          </a:bodyPr>
          <a:lstStyle/>
          <a:p>
            <a:pPr lvl="0" algn="ctr" defTabSz="731502"/>
            <a:r>
              <a:rPr lang="en-US" sz="1280" b="1" dirty="0">
                <a:solidFill>
                  <a:srgbClr val="FFFFFF"/>
                </a:solidFill>
                <a:latin typeface="Amazon Ember" panose="020B0603020204020204" pitchFamily="34" charset="0"/>
                <a:ea typeface="Amazon Ember" panose="020B0603020204020204" pitchFamily="34" charset="0"/>
                <a:cs typeface="Amazon Ember" panose="020B0603020204020204" pitchFamily="34" charset="0"/>
              </a:rPr>
              <a:t>Assess/ Prioritize</a:t>
            </a:r>
          </a:p>
        </p:txBody>
      </p:sp>
      <p:grpSp>
        <p:nvGrpSpPr>
          <p:cNvPr id="238" name="Group 237">
            <a:extLst>
              <a:ext uri="{FF2B5EF4-FFF2-40B4-BE49-F238E27FC236}">
                <a16:creationId xmlns:a16="http://schemas.microsoft.com/office/drawing/2014/main" id="{C2F2D255-7979-4482-B956-15125CB5B61A}"/>
              </a:ext>
            </a:extLst>
          </p:cNvPr>
          <p:cNvGrpSpPr/>
          <p:nvPr/>
        </p:nvGrpSpPr>
        <p:grpSpPr>
          <a:xfrm>
            <a:off x="1950604" y="4320046"/>
            <a:ext cx="496882" cy="701681"/>
            <a:chOff x="-1056533" y="4742617"/>
            <a:chExt cx="280327" cy="395869"/>
          </a:xfrm>
        </p:grpSpPr>
        <p:sp>
          <p:nvSpPr>
            <p:cNvPr id="139" name="Freeform: Shape 138">
              <a:extLst>
                <a:ext uri="{FF2B5EF4-FFF2-40B4-BE49-F238E27FC236}">
                  <a16:creationId xmlns:a16="http://schemas.microsoft.com/office/drawing/2014/main" id="{CE305EB4-8116-4B14-A18E-B2227F9FFF90}"/>
                </a:ext>
              </a:extLst>
            </p:cNvPr>
            <p:cNvSpPr/>
            <p:nvPr/>
          </p:nvSpPr>
          <p:spPr>
            <a:xfrm>
              <a:off x="-1056533" y="4742617"/>
              <a:ext cx="280005" cy="395869"/>
            </a:xfrm>
            <a:custGeom>
              <a:avLst/>
              <a:gdLst>
                <a:gd name="connsiteX0" fmla="*/ 4828 w 280004"/>
                <a:gd name="connsiteY0" fmla="*/ 382995 h 395868"/>
                <a:gd name="connsiteX1" fmla="*/ 4828 w 280004"/>
                <a:gd name="connsiteY1" fmla="*/ 15449 h 395868"/>
                <a:gd name="connsiteX2" fmla="*/ 15449 w 280004"/>
                <a:gd name="connsiteY2" fmla="*/ 4828 h 395868"/>
                <a:gd name="connsiteX3" fmla="*/ 185382 w 280004"/>
                <a:gd name="connsiteY3" fmla="*/ 4828 h 395868"/>
                <a:gd name="connsiteX4" fmla="*/ 275821 w 280004"/>
                <a:gd name="connsiteY4" fmla="*/ 95266 h 395868"/>
                <a:gd name="connsiteX5" fmla="*/ 275821 w 280004"/>
                <a:gd name="connsiteY5" fmla="*/ 382995 h 395868"/>
                <a:gd name="connsiteX6" fmla="*/ 265200 w 280004"/>
                <a:gd name="connsiteY6" fmla="*/ 393616 h 395868"/>
                <a:gd name="connsiteX7" fmla="*/ 15449 w 280004"/>
                <a:gd name="connsiteY7" fmla="*/ 393616 h 395868"/>
                <a:gd name="connsiteX8" fmla="*/ 4828 w 280004"/>
                <a:gd name="connsiteY8" fmla="*/ 382995 h 395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004" h="395868">
                  <a:moveTo>
                    <a:pt x="4828" y="382995"/>
                  </a:moveTo>
                  <a:lnTo>
                    <a:pt x="4828" y="15449"/>
                  </a:lnTo>
                  <a:cubicBezTo>
                    <a:pt x="4828" y="9655"/>
                    <a:pt x="9655" y="4828"/>
                    <a:pt x="15449" y="4828"/>
                  </a:cubicBezTo>
                  <a:lnTo>
                    <a:pt x="185382" y="4828"/>
                  </a:lnTo>
                  <a:lnTo>
                    <a:pt x="275821" y="95266"/>
                  </a:lnTo>
                  <a:lnTo>
                    <a:pt x="275821" y="382995"/>
                  </a:lnTo>
                  <a:cubicBezTo>
                    <a:pt x="275821" y="388788"/>
                    <a:pt x="270993" y="393616"/>
                    <a:pt x="265200" y="393616"/>
                  </a:cubicBezTo>
                  <a:lnTo>
                    <a:pt x="15449" y="393616"/>
                  </a:lnTo>
                  <a:cubicBezTo>
                    <a:pt x="9655" y="393616"/>
                    <a:pt x="4828" y="388788"/>
                    <a:pt x="4828" y="382995"/>
                  </a:cubicBezTo>
                  <a:close/>
                </a:path>
              </a:pathLst>
            </a:custGeom>
            <a:noFill/>
            <a:ln w="19050" cap="flat">
              <a:solidFill>
                <a:schemeClr val="tx1"/>
              </a:solidFill>
              <a:prstDash val="solid"/>
              <a:round/>
            </a:ln>
          </p:spPr>
          <p:txBody>
            <a:bodyPr rtlCol="0" anchor="ctr"/>
            <a:lstStyle/>
            <a:p>
              <a:endParaRPr lang="en-US"/>
            </a:p>
          </p:txBody>
        </p:sp>
        <p:sp>
          <p:nvSpPr>
            <p:cNvPr id="140" name="Freeform: Shape 139">
              <a:extLst>
                <a:ext uri="{FF2B5EF4-FFF2-40B4-BE49-F238E27FC236}">
                  <a16:creationId xmlns:a16="http://schemas.microsoft.com/office/drawing/2014/main" id="{A9B34C1E-FBFF-4421-A952-9BA75BE4556B}"/>
                </a:ext>
              </a:extLst>
            </p:cNvPr>
            <p:cNvSpPr/>
            <p:nvPr/>
          </p:nvSpPr>
          <p:spPr>
            <a:xfrm>
              <a:off x="-875978" y="4742617"/>
              <a:ext cx="99772" cy="99772"/>
            </a:xfrm>
            <a:custGeom>
              <a:avLst/>
              <a:gdLst>
                <a:gd name="connsiteX0" fmla="*/ 4828 w 99771"/>
                <a:gd name="connsiteY0" fmla="*/ 95266 h 99771"/>
                <a:gd name="connsiteX1" fmla="*/ 95266 w 99771"/>
                <a:gd name="connsiteY1" fmla="*/ 95266 h 99771"/>
                <a:gd name="connsiteX2" fmla="*/ 4828 w 99771"/>
                <a:gd name="connsiteY2" fmla="*/ 4828 h 99771"/>
              </a:gdLst>
              <a:ahLst/>
              <a:cxnLst>
                <a:cxn ang="0">
                  <a:pos x="connsiteX0" y="connsiteY0"/>
                </a:cxn>
                <a:cxn ang="0">
                  <a:pos x="connsiteX1" y="connsiteY1"/>
                </a:cxn>
                <a:cxn ang="0">
                  <a:pos x="connsiteX2" y="connsiteY2"/>
                </a:cxn>
              </a:cxnLst>
              <a:rect l="l" t="t" r="r" b="b"/>
              <a:pathLst>
                <a:path w="99771" h="99771">
                  <a:moveTo>
                    <a:pt x="4828" y="95266"/>
                  </a:moveTo>
                  <a:lnTo>
                    <a:pt x="95266" y="95266"/>
                  </a:lnTo>
                  <a:lnTo>
                    <a:pt x="4828" y="4828"/>
                  </a:lnTo>
                  <a:close/>
                </a:path>
              </a:pathLst>
            </a:custGeom>
            <a:noFill/>
            <a:ln w="19050" cap="flat">
              <a:solidFill>
                <a:schemeClr val="tx1"/>
              </a:solidFill>
              <a:prstDash val="solid"/>
              <a:round/>
            </a:ln>
          </p:spPr>
          <p:txBody>
            <a:bodyPr rtlCol="0" anchor="ctr"/>
            <a:lstStyle/>
            <a:p>
              <a:endParaRPr lang="en-US"/>
            </a:p>
          </p:txBody>
        </p:sp>
        <p:sp>
          <p:nvSpPr>
            <p:cNvPr id="141" name="Freeform: Shape 140">
              <a:extLst>
                <a:ext uri="{FF2B5EF4-FFF2-40B4-BE49-F238E27FC236}">
                  <a16:creationId xmlns:a16="http://schemas.microsoft.com/office/drawing/2014/main" id="{2A055740-71D5-4AE9-BC23-C368E9E070EB}"/>
                </a:ext>
              </a:extLst>
            </p:cNvPr>
            <p:cNvSpPr/>
            <p:nvPr/>
          </p:nvSpPr>
          <p:spPr>
            <a:xfrm>
              <a:off x="-1016624" y="4906114"/>
              <a:ext cx="199544" cy="9655"/>
            </a:xfrm>
            <a:custGeom>
              <a:avLst/>
              <a:gdLst>
                <a:gd name="connsiteX0" fmla="*/ 4828 w 199543"/>
                <a:gd name="connsiteY0" fmla="*/ 4828 h 9655"/>
                <a:gd name="connsiteX1" fmla="*/ 196003 w 199543"/>
                <a:gd name="connsiteY1" fmla="*/ 4828 h 9655"/>
              </a:gdLst>
              <a:ahLst/>
              <a:cxnLst>
                <a:cxn ang="0">
                  <a:pos x="connsiteX0" y="connsiteY0"/>
                </a:cxn>
                <a:cxn ang="0">
                  <a:pos x="connsiteX1" y="connsiteY1"/>
                </a:cxn>
              </a:cxnLst>
              <a:rect l="l" t="t" r="r" b="b"/>
              <a:pathLst>
                <a:path w="199543" h="9655">
                  <a:moveTo>
                    <a:pt x="4828" y="4828"/>
                  </a:moveTo>
                  <a:lnTo>
                    <a:pt x="196003" y="4828"/>
                  </a:lnTo>
                </a:path>
              </a:pathLst>
            </a:custGeom>
            <a:ln w="19050" cap="flat">
              <a:solidFill>
                <a:schemeClr val="accent1"/>
              </a:solidFill>
              <a:prstDash val="solid"/>
              <a:round/>
            </a:ln>
          </p:spPr>
          <p:txBody>
            <a:bodyPr rtlCol="0" anchor="ctr"/>
            <a:lstStyle/>
            <a:p>
              <a:endParaRPr lang="en-US"/>
            </a:p>
          </p:txBody>
        </p:sp>
        <p:sp>
          <p:nvSpPr>
            <p:cNvPr id="142" name="Freeform: Shape 141">
              <a:extLst>
                <a:ext uri="{FF2B5EF4-FFF2-40B4-BE49-F238E27FC236}">
                  <a16:creationId xmlns:a16="http://schemas.microsoft.com/office/drawing/2014/main" id="{1400D3BD-C6AC-4766-89CC-E2EFD8C3A46C}"/>
                </a:ext>
              </a:extLst>
            </p:cNvPr>
            <p:cNvSpPr/>
            <p:nvPr/>
          </p:nvSpPr>
          <p:spPr>
            <a:xfrm>
              <a:off x="-1016624" y="4958896"/>
              <a:ext cx="199544" cy="9655"/>
            </a:xfrm>
            <a:custGeom>
              <a:avLst/>
              <a:gdLst>
                <a:gd name="connsiteX0" fmla="*/ 4828 w 199543"/>
                <a:gd name="connsiteY0" fmla="*/ 4828 h 9655"/>
                <a:gd name="connsiteX1" fmla="*/ 196003 w 199543"/>
                <a:gd name="connsiteY1" fmla="*/ 4828 h 9655"/>
              </a:gdLst>
              <a:ahLst/>
              <a:cxnLst>
                <a:cxn ang="0">
                  <a:pos x="connsiteX0" y="connsiteY0"/>
                </a:cxn>
                <a:cxn ang="0">
                  <a:pos x="connsiteX1" y="connsiteY1"/>
                </a:cxn>
              </a:cxnLst>
              <a:rect l="l" t="t" r="r" b="b"/>
              <a:pathLst>
                <a:path w="199543" h="9655">
                  <a:moveTo>
                    <a:pt x="4828" y="4828"/>
                  </a:moveTo>
                  <a:lnTo>
                    <a:pt x="196003" y="4828"/>
                  </a:lnTo>
                </a:path>
              </a:pathLst>
            </a:custGeom>
            <a:ln w="19050" cap="flat">
              <a:solidFill>
                <a:schemeClr val="accent1"/>
              </a:solidFill>
              <a:prstDash val="solid"/>
              <a:round/>
            </a:ln>
          </p:spPr>
          <p:txBody>
            <a:bodyPr rtlCol="0" anchor="ctr"/>
            <a:lstStyle/>
            <a:p>
              <a:endParaRPr lang="en-US"/>
            </a:p>
          </p:txBody>
        </p:sp>
        <p:sp>
          <p:nvSpPr>
            <p:cNvPr id="143" name="Freeform: Shape 142">
              <a:extLst>
                <a:ext uri="{FF2B5EF4-FFF2-40B4-BE49-F238E27FC236}">
                  <a16:creationId xmlns:a16="http://schemas.microsoft.com/office/drawing/2014/main" id="{F14AEFE1-4352-47C2-97C8-06F4723DD7EF}"/>
                </a:ext>
              </a:extLst>
            </p:cNvPr>
            <p:cNvSpPr/>
            <p:nvPr/>
          </p:nvSpPr>
          <p:spPr>
            <a:xfrm>
              <a:off x="-1016624" y="5012001"/>
              <a:ext cx="199544" cy="9655"/>
            </a:xfrm>
            <a:custGeom>
              <a:avLst/>
              <a:gdLst>
                <a:gd name="connsiteX0" fmla="*/ 4828 w 199543"/>
                <a:gd name="connsiteY0" fmla="*/ 4828 h 9655"/>
                <a:gd name="connsiteX1" fmla="*/ 196003 w 199543"/>
                <a:gd name="connsiteY1" fmla="*/ 4828 h 9655"/>
              </a:gdLst>
              <a:ahLst/>
              <a:cxnLst>
                <a:cxn ang="0">
                  <a:pos x="connsiteX0" y="connsiteY0"/>
                </a:cxn>
                <a:cxn ang="0">
                  <a:pos x="connsiteX1" y="connsiteY1"/>
                </a:cxn>
              </a:cxnLst>
              <a:rect l="l" t="t" r="r" b="b"/>
              <a:pathLst>
                <a:path w="199543" h="9655">
                  <a:moveTo>
                    <a:pt x="4828" y="4828"/>
                  </a:moveTo>
                  <a:lnTo>
                    <a:pt x="196003" y="4828"/>
                  </a:lnTo>
                </a:path>
              </a:pathLst>
            </a:custGeom>
            <a:ln w="19050" cap="flat">
              <a:solidFill>
                <a:schemeClr val="accent1"/>
              </a:solidFill>
              <a:prstDash val="solid"/>
              <a:round/>
            </a:ln>
          </p:spPr>
          <p:txBody>
            <a:bodyPr rtlCol="0" anchor="ctr"/>
            <a:lstStyle/>
            <a:p>
              <a:endParaRPr lang="en-US"/>
            </a:p>
          </p:txBody>
        </p:sp>
        <p:sp>
          <p:nvSpPr>
            <p:cNvPr id="157" name="Freeform: Shape 156">
              <a:extLst>
                <a:ext uri="{FF2B5EF4-FFF2-40B4-BE49-F238E27FC236}">
                  <a16:creationId xmlns:a16="http://schemas.microsoft.com/office/drawing/2014/main" id="{02256162-6F56-4E2A-AAF2-C53CFE377ABD}"/>
                </a:ext>
              </a:extLst>
            </p:cNvPr>
            <p:cNvSpPr/>
            <p:nvPr/>
          </p:nvSpPr>
          <p:spPr>
            <a:xfrm>
              <a:off x="-1016624" y="5065105"/>
              <a:ext cx="199544" cy="9655"/>
            </a:xfrm>
            <a:custGeom>
              <a:avLst/>
              <a:gdLst>
                <a:gd name="connsiteX0" fmla="*/ 4828 w 199543"/>
                <a:gd name="connsiteY0" fmla="*/ 4828 h 9655"/>
                <a:gd name="connsiteX1" fmla="*/ 196003 w 199543"/>
                <a:gd name="connsiteY1" fmla="*/ 4828 h 9655"/>
              </a:gdLst>
              <a:ahLst/>
              <a:cxnLst>
                <a:cxn ang="0">
                  <a:pos x="connsiteX0" y="connsiteY0"/>
                </a:cxn>
                <a:cxn ang="0">
                  <a:pos x="connsiteX1" y="connsiteY1"/>
                </a:cxn>
              </a:cxnLst>
              <a:rect l="l" t="t" r="r" b="b"/>
              <a:pathLst>
                <a:path w="199543" h="9655">
                  <a:moveTo>
                    <a:pt x="4828" y="4828"/>
                  </a:moveTo>
                  <a:lnTo>
                    <a:pt x="196003" y="4828"/>
                  </a:lnTo>
                </a:path>
              </a:pathLst>
            </a:custGeom>
            <a:ln w="19050" cap="flat">
              <a:solidFill>
                <a:schemeClr val="accent1"/>
              </a:solidFill>
              <a:prstDash val="solid"/>
              <a:round/>
            </a:ln>
          </p:spPr>
          <p:txBody>
            <a:bodyPr rtlCol="0" anchor="ctr"/>
            <a:lstStyle/>
            <a:p>
              <a:endParaRPr lang="en-US"/>
            </a:p>
          </p:txBody>
        </p:sp>
        <p:sp>
          <p:nvSpPr>
            <p:cNvPr id="158" name="Freeform: Shape 157">
              <a:extLst>
                <a:ext uri="{FF2B5EF4-FFF2-40B4-BE49-F238E27FC236}">
                  <a16:creationId xmlns:a16="http://schemas.microsoft.com/office/drawing/2014/main" id="{A79DD36E-79F5-40A7-9DE4-1311C45A696A}"/>
                </a:ext>
              </a:extLst>
            </p:cNvPr>
            <p:cNvSpPr/>
            <p:nvPr/>
          </p:nvSpPr>
          <p:spPr>
            <a:xfrm>
              <a:off x="-1016624" y="4853009"/>
              <a:ext cx="115864" cy="9655"/>
            </a:xfrm>
            <a:custGeom>
              <a:avLst/>
              <a:gdLst>
                <a:gd name="connsiteX0" fmla="*/ 4828 w 115864"/>
                <a:gd name="connsiteY0" fmla="*/ 4828 h 9655"/>
                <a:gd name="connsiteX1" fmla="*/ 113289 w 115864"/>
                <a:gd name="connsiteY1" fmla="*/ 4828 h 9655"/>
              </a:gdLst>
              <a:ahLst/>
              <a:cxnLst>
                <a:cxn ang="0">
                  <a:pos x="connsiteX0" y="connsiteY0"/>
                </a:cxn>
                <a:cxn ang="0">
                  <a:pos x="connsiteX1" y="connsiteY1"/>
                </a:cxn>
              </a:cxnLst>
              <a:rect l="l" t="t" r="r" b="b"/>
              <a:pathLst>
                <a:path w="115864" h="9655">
                  <a:moveTo>
                    <a:pt x="4828" y="4828"/>
                  </a:moveTo>
                  <a:lnTo>
                    <a:pt x="113289" y="4828"/>
                  </a:lnTo>
                </a:path>
              </a:pathLst>
            </a:custGeom>
            <a:ln w="19050" cap="flat">
              <a:solidFill>
                <a:schemeClr val="accent1"/>
              </a:solidFill>
              <a:prstDash val="solid"/>
              <a:round/>
            </a:ln>
          </p:spPr>
          <p:txBody>
            <a:bodyPr rtlCol="0" anchor="ctr"/>
            <a:lstStyle/>
            <a:p>
              <a:endParaRPr lang="en-US"/>
            </a:p>
          </p:txBody>
        </p:sp>
      </p:grpSp>
      <p:cxnSp>
        <p:nvCxnSpPr>
          <p:cNvPr id="159" name="Straight Arrow Connector 158">
            <a:extLst>
              <a:ext uri="{FF2B5EF4-FFF2-40B4-BE49-F238E27FC236}">
                <a16:creationId xmlns:a16="http://schemas.microsoft.com/office/drawing/2014/main" id="{DFD8D8D6-98B2-42B4-82CB-462BABF77E3E}"/>
              </a:ext>
            </a:extLst>
          </p:cNvPr>
          <p:cNvCxnSpPr>
            <a:cxnSpLocks/>
          </p:cNvCxnSpPr>
          <p:nvPr/>
        </p:nvCxnSpPr>
        <p:spPr>
          <a:xfrm>
            <a:off x="2553249" y="4840644"/>
            <a:ext cx="403173" cy="0"/>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203" name="Straight Arrow Connector 202">
            <a:extLst>
              <a:ext uri="{FF2B5EF4-FFF2-40B4-BE49-F238E27FC236}">
                <a16:creationId xmlns:a16="http://schemas.microsoft.com/office/drawing/2014/main" id="{91F67DBD-45AB-4C26-A118-D13FE5B75137}"/>
              </a:ext>
            </a:extLst>
          </p:cNvPr>
          <p:cNvCxnSpPr>
            <a:cxnSpLocks/>
            <a:stCxn id="4" idx="3"/>
          </p:cNvCxnSpPr>
          <p:nvPr/>
        </p:nvCxnSpPr>
        <p:spPr>
          <a:xfrm>
            <a:off x="3512845" y="4840647"/>
            <a:ext cx="1030575" cy="6805"/>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65" name="Connector: Elbow 64">
            <a:extLst>
              <a:ext uri="{FF2B5EF4-FFF2-40B4-BE49-F238E27FC236}">
                <a16:creationId xmlns:a16="http://schemas.microsoft.com/office/drawing/2014/main" id="{A7DCD811-196B-4194-82CD-47B8E83CED8A}"/>
              </a:ext>
            </a:extLst>
          </p:cNvPr>
          <p:cNvCxnSpPr>
            <a:cxnSpLocks/>
            <a:stCxn id="4" idx="3"/>
            <a:endCxn id="132" idx="1"/>
          </p:cNvCxnSpPr>
          <p:nvPr/>
        </p:nvCxnSpPr>
        <p:spPr>
          <a:xfrm flipV="1">
            <a:off x="3512845" y="3571566"/>
            <a:ext cx="1030574" cy="1269081"/>
          </a:xfrm>
          <a:prstGeom prst="bentConnector3">
            <a:avLst>
              <a:gd name="adj1" fmla="val 32877"/>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132" name="Rectangle 131">
            <a:extLst>
              <a:ext uri="{FF2B5EF4-FFF2-40B4-BE49-F238E27FC236}">
                <a16:creationId xmlns:a16="http://schemas.microsoft.com/office/drawing/2014/main" id="{3893F454-812F-4916-ADCD-E0531FAE6487}"/>
              </a:ext>
            </a:extLst>
          </p:cNvPr>
          <p:cNvSpPr/>
          <p:nvPr/>
        </p:nvSpPr>
        <p:spPr>
          <a:xfrm>
            <a:off x="4543419" y="3376192"/>
            <a:ext cx="390747" cy="390747"/>
          </a:xfrm>
          <a:prstGeom prst="rect">
            <a:avLst/>
          </a:prstGeom>
          <a:solidFill>
            <a:srgbClr val="FB57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31502"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rial"/>
              <a:ea typeface="+mn-ea"/>
              <a:cs typeface="+mn-cs"/>
            </a:endParaRPr>
          </a:p>
        </p:txBody>
      </p:sp>
      <p:sp>
        <p:nvSpPr>
          <p:cNvPr id="133" name="Rectangle 132">
            <a:extLst>
              <a:ext uri="{FF2B5EF4-FFF2-40B4-BE49-F238E27FC236}">
                <a16:creationId xmlns:a16="http://schemas.microsoft.com/office/drawing/2014/main" id="{6CFF0888-D120-4B85-8A1C-53483F9CFD02}"/>
              </a:ext>
            </a:extLst>
          </p:cNvPr>
          <p:cNvSpPr/>
          <p:nvPr/>
        </p:nvSpPr>
        <p:spPr>
          <a:xfrm>
            <a:off x="5950181" y="3375439"/>
            <a:ext cx="390747" cy="390747"/>
          </a:xfrm>
          <a:prstGeom prst="rect">
            <a:avLst/>
          </a:prstGeom>
          <a:solidFill>
            <a:srgbClr val="FB57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31502"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134" name="Straight Arrow Connector 133">
            <a:extLst>
              <a:ext uri="{FF2B5EF4-FFF2-40B4-BE49-F238E27FC236}">
                <a16:creationId xmlns:a16="http://schemas.microsoft.com/office/drawing/2014/main" id="{480A5CCE-EA29-4462-9E72-68557D554FB5}"/>
              </a:ext>
            </a:extLst>
          </p:cNvPr>
          <p:cNvCxnSpPr>
            <a:cxnSpLocks/>
            <a:stCxn id="132" idx="3"/>
            <a:endCxn id="133" idx="1"/>
          </p:cNvCxnSpPr>
          <p:nvPr/>
        </p:nvCxnSpPr>
        <p:spPr>
          <a:xfrm flipV="1">
            <a:off x="4934166" y="3570813"/>
            <a:ext cx="1016015" cy="753"/>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135" name="Rectangle 134">
            <a:extLst>
              <a:ext uri="{FF2B5EF4-FFF2-40B4-BE49-F238E27FC236}">
                <a16:creationId xmlns:a16="http://schemas.microsoft.com/office/drawing/2014/main" id="{2A82F408-C821-4A92-B97B-864BA9A03AB4}"/>
              </a:ext>
            </a:extLst>
          </p:cNvPr>
          <p:cNvSpPr/>
          <p:nvPr/>
        </p:nvSpPr>
        <p:spPr>
          <a:xfrm>
            <a:off x="7355614" y="3371311"/>
            <a:ext cx="390747" cy="390747"/>
          </a:xfrm>
          <a:prstGeom prst="rect">
            <a:avLst/>
          </a:prstGeom>
          <a:solidFill>
            <a:srgbClr val="FB57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31502"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136" name="Straight Arrow Connector 135">
            <a:extLst>
              <a:ext uri="{FF2B5EF4-FFF2-40B4-BE49-F238E27FC236}">
                <a16:creationId xmlns:a16="http://schemas.microsoft.com/office/drawing/2014/main" id="{6D203D7A-A8D9-454B-B006-31AC3C328FEA}"/>
              </a:ext>
            </a:extLst>
          </p:cNvPr>
          <p:cNvCxnSpPr>
            <a:cxnSpLocks/>
            <a:stCxn id="133" idx="3"/>
            <a:endCxn id="135" idx="1"/>
          </p:cNvCxnSpPr>
          <p:nvPr/>
        </p:nvCxnSpPr>
        <p:spPr>
          <a:xfrm flipV="1">
            <a:off x="6340928" y="3566687"/>
            <a:ext cx="1014686" cy="4128"/>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137" name="Straight Arrow Connector 136">
            <a:extLst>
              <a:ext uri="{FF2B5EF4-FFF2-40B4-BE49-F238E27FC236}">
                <a16:creationId xmlns:a16="http://schemas.microsoft.com/office/drawing/2014/main" id="{F7F69FB2-3E6C-4680-B3C8-CC280B283F91}"/>
              </a:ext>
            </a:extLst>
          </p:cNvPr>
          <p:cNvCxnSpPr>
            <a:cxnSpLocks/>
            <a:stCxn id="135" idx="3"/>
          </p:cNvCxnSpPr>
          <p:nvPr/>
        </p:nvCxnSpPr>
        <p:spPr>
          <a:xfrm>
            <a:off x="7746361" y="3566687"/>
            <a:ext cx="3678811" cy="0"/>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138" name="TextBox 137">
            <a:extLst>
              <a:ext uri="{FF2B5EF4-FFF2-40B4-BE49-F238E27FC236}">
                <a16:creationId xmlns:a16="http://schemas.microsoft.com/office/drawing/2014/main" id="{4975D595-68B9-4781-8F89-CBA2EE7CB7FE}"/>
              </a:ext>
            </a:extLst>
          </p:cNvPr>
          <p:cNvSpPr txBox="1"/>
          <p:nvPr/>
        </p:nvSpPr>
        <p:spPr>
          <a:xfrm>
            <a:off x="4123999" y="3771712"/>
            <a:ext cx="1229587" cy="295465"/>
          </a:xfrm>
          <a:prstGeom prst="rect">
            <a:avLst/>
          </a:prstGeom>
          <a:noFill/>
        </p:spPr>
        <p:txBody>
          <a:bodyPr wrap="square" lIns="0" tIns="73152" rIns="0" bIns="0" rtlCol="0">
            <a:sp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440" i="0" u="none" strike="noStrike" kern="1200" cap="none" spc="0" normalizeH="0" baseline="0" noProof="0" dirty="0">
                <a:ln>
                  <a:noFill/>
                </a:ln>
                <a:solidFill>
                  <a:srgbClr val="FFFFFF"/>
                </a:solidFill>
                <a:effectLst/>
                <a:uLnTx/>
                <a:uFillTx/>
                <a:latin typeface="Amazon Ember"/>
                <a:ea typeface="Amazon Ember Heavy" panose="020B0803020204020204" pitchFamily="34" charset="0"/>
                <a:cs typeface="Amazon Ember Heavy" panose="020B0803020204020204" pitchFamily="34" charset="0"/>
              </a:rPr>
              <a:t>Repurchase</a:t>
            </a:r>
          </a:p>
        </p:txBody>
      </p:sp>
      <p:sp>
        <p:nvSpPr>
          <p:cNvPr id="163" name="TextBox 162">
            <a:extLst>
              <a:ext uri="{FF2B5EF4-FFF2-40B4-BE49-F238E27FC236}">
                <a16:creationId xmlns:a16="http://schemas.microsoft.com/office/drawing/2014/main" id="{BD1297A0-17CF-4584-B9FB-91056CAFC11F}"/>
              </a:ext>
            </a:extLst>
          </p:cNvPr>
          <p:cNvSpPr txBox="1"/>
          <p:nvPr/>
        </p:nvSpPr>
        <p:spPr>
          <a:xfrm>
            <a:off x="5530760" y="3736654"/>
            <a:ext cx="1229587" cy="467819"/>
          </a:xfrm>
          <a:prstGeom prst="rect">
            <a:avLst/>
          </a:prstGeom>
          <a:noFill/>
        </p:spPr>
        <p:txBody>
          <a:bodyPr wrap="square" lIns="0" tIns="73152" rIns="0" bIns="0" rtlCol="0">
            <a:sp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280" b="0" i="0" u="none" strike="noStrike" kern="1200" cap="none" spc="0" normalizeH="0" baseline="0" noProof="0" dirty="0">
                <a:ln>
                  <a:noFill/>
                </a:ln>
                <a:solidFill>
                  <a:srgbClr val="FFFFFF"/>
                </a:solidFill>
                <a:effectLst/>
                <a:uLnTx/>
                <a:uFillTx/>
                <a:latin typeface="Amazon Ember Regular"/>
                <a:ea typeface="Amazon Ember Light" panose="020B0403020204020204" pitchFamily="34" charset="0"/>
                <a:cs typeface="Amazon Ember Light" panose="020B0403020204020204" pitchFamily="34" charset="0"/>
              </a:rPr>
              <a:t>Buy</a:t>
            </a:r>
          </a:p>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280" b="0" i="0" u="none" strike="noStrike" kern="1200" cap="none" spc="0" normalizeH="0" baseline="0" noProof="0" dirty="0">
                <a:ln>
                  <a:noFill/>
                </a:ln>
                <a:solidFill>
                  <a:srgbClr val="FFFFFF"/>
                </a:solidFill>
                <a:effectLst/>
                <a:uLnTx/>
                <a:uFillTx/>
                <a:latin typeface="Amazon Ember Regular"/>
                <a:ea typeface="Amazon Ember Light" panose="020B0403020204020204" pitchFamily="34" charset="0"/>
                <a:cs typeface="Amazon Ember Light" panose="020B0403020204020204" pitchFamily="34" charset="0"/>
              </a:rPr>
              <a:t>COTS/SaaS</a:t>
            </a:r>
          </a:p>
        </p:txBody>
      </p:sp>
      <p:sp>
        <p:nvSpPr>
          <p:cNvPr id="164" name="TextBox 163">
            <a:extLst>
              <a:ext uri="{FF2B5EF4-FFF2-40B4-BE49-F238E27FC236}">
                <a16:creationId xmlns:a16="http://schemas.microsoft.com/office/drawing/2014/main" id="{4183BD46-A6A7-446E-9FB2-A6CA248D44B8}"/>
              </a:ext>
            </a:extLst>
          </p:cNvPr>
          <p:cNvSpPr txBox="1"/>
          <p:nvPr/>
        </p:nvSpPr>
        <p:spPr>
          <a:xfrm>
            <a:off x="6936193" y="3736654"/>
            <a:ext cx="1229587" cy="270843"/>
          </a:xfrm>
          <a:prstGeom prst="rect">
            <a:avLst/>
          </a:prstGeom>
          <a:noFill/>
        </p:spPr>
        <p:txBody>
          <a:bodyPr wrap="square" lIns="0" tIns="73152" rIns="0" bIns="0" rtlCol="0">
            <a:sp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280" b="0" i="0" u="none" strike="noStrike" kern="1200" cap="none" spc="0" normalizeH="0" baseline="0" noProof="0" dirty="0">
                <a:ln>
                  <a:noFill/>
                </a:ln>
                <a:solidFill>
                  <a:srgbClr val="FFFFFF"/>
                </a:solidFill>
                <a:effectLst/>
                <a:uLnTx/>
                <a:uFillTx/>
                <a:latin typeface="Amazon Ember Regular"/>
                <a:ea typeface="Amazon Ember Light" panose="020B0403020204020204" pitchFamily="34" charset="0"/>
                <a:cs typeface="Amazon Ember Light" panose="020B0403020204020204" pitchFamily="34" charset="0"/>
              </a:rPr>
              <a:t>Install/setup</a:t>
            </a:r>
          </a:p>
        </p:txBody>
      </p:sp>
      <p:sp>
        <p:nvSpPr>
          <p:cNvPr id="123" name="Rectangle 122">
            <a:extLst>
              <a:ext uri="{FF2B5EF4-FFF2-40B4-BE49-F238E27FC236}">
                <a16:creationId xmlns:a16="http://schemas.microsoft.com/office/drawing/2014/main" id="{8461F323-650D-4380-86A9-30B461F4B934}"/>
              </a:ext>
            </a:extLst>
          </p:cNvPr>
          <p:cNvSpPr/>
          <p:nvPr/>
        </p:nvSpPr>
        <p:spPr>
          <a:xfrm>
            <a:off x="4543419" y="5467408"/>
            <a:ext cx="390747" cy="390747"/>
          </a:xfrm>
          <a:prstGeom prst="rect">
            <a:avLst/>
          </a:prstGeom>
          <a:solidFill>
            <a:srgbClr val="3EBE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31502"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rial"/>
              <a:ea typeface="+mn-ea"/>
              <a:cs typeface="+mn-cs"/>
            </a:endParaRPr>
          </a:p>
        </p:txBody>
      </p:sp>
      <p:sp>
        <p:nvSpPr>
          <p:cNvPr id="125" name="TextBox 124">
            <a:extLst>
              <a:ext uri="{FF2B5EF4-FFF2-40B4-BE49-F238E27FC236}">
                <a16:creationId xmlns:a16="http://schemas.microsoft.com/office/drawing/2014/main" id="{DD21FE35-87B5-46AE-8091-8028DD7C5501}"/>
              </a:ext>
            </a:extLst>
          </p:cNvPr>
          <p:cNvSpPr txBox="1"/>
          <p:nvPr/>
        </p:nvSpPr>
        <p:spPr>
          <a:xfrm>
            <a:off x="3933824" y="5799324"/>
            <a:ext cx="1609936" cy="494879"/>
          </a:xfrm>
          <a:prstGeom prst="rect">
            <a:avLst/>
          </a:prstGeom>
          <a:noFill/>
        </p:spPr>
        <p:txBody>
          <a:bodyPr wrap="square" lIns="0" tIns="73152" rIns="0" bIns="0" rtlCol="0">
            <a:sp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440" i="0" u="none" strike="noStrike" kern="1200" cap="none" spc="0" normalizeH="0" baseline="0" noProof="0" dirty="0">
                <a:ln>
                  <a:noFill/>
                </a:ln>
                <a:solidFill>
                  <a:srgbClr val="FFFFFF"/>
                </a:solidFill>
                <a:effectLst/>
                <a:uLnTx/>
                <a:uFillTx/>
                <a:latin typeface="Amazon Ember"/>
                <a:ea typeface="Amazon Ember Heavy" panose="020B0803020204020204" pitchFamily="34" charset="0"/>
                <a:cs typeface="Amazon Ember Heavy" panose="020B0803020204020204" pitchFamily="34" charset="0"/>
              </a:rPr>
              <a:t>Relocate</a:t>
            </a:r>
          </a:p>
          <a:p>
            <a:pPr lvl="0" algn="ctr" defTabSz="731502">
              <a:lnSpc>
                <a:spcPct val="90000"/>
              </a:lnSpc>
              <a:defRPr/>
            </a:pPr>
            <a:r>
              <a:rPr kumimoji="0" lang="en-US" sz="1440" i="0" u="none" strike="noStrike" kern="1200" cap="none" spc="0" normalizeH="0" baseline="0" noProof="0" dirty="0">
                <a:ln>
                  <a:noFill/>
                </a:ln>
                <a:solidFill>
                  <a:srgbClr val="FFFFFF"/>
                </a:solidFill>
                <a:effectLst/>
                <a:uLnTx/>
                <a:uFillTx/>
                <a:latin typeface="Amazon Ember"/>
                <a:ea typeface="Amazon Ember Heavy" panose="020B0803020204020204" pitchFamily="34" charset="0"/>
                <a:cs typeface="Amazon Ember Heavy" panose="020B0803020204020204" pitchFamily="34" charset="0"/>
              </a:rPr>
              <a:t> </a:t>
            </a:r>
            <a:r>
              <a:rPr lang="en-US" sz="1100" dirty="0">
                <a:solidFill>
                  <a:srgbClr val="FFFFFF"/>
                </a:solidFill>
                <a:ea typeface="Amazon Ember Heavy" panose="020B0803020204020204" pitchFamily="34" charset="0"/>
                <a:cs typeface="Amazon Ember Heavy" panose="020B0803020204020204" pitchFamily="34" charset="0"/>
              </a:rPr>
              <a:t>(VMware Cloud on AWS)</a:t>
            </a:r>
            <a:endParaRPr kumimoji="0" lang="en-US" sz="1440" i="0" u="none" strike="noStrike" kern="1200" cap="none" spc="0" normalizeH="0" baseline="0" noProof="0" dirty="0">
              <a:ln>
                <a:noFill/>
              </a:ln>
              <a:solidFill>
                <a:srgbClr val="FFFFFF"/>
              </a:solidFill>
              <a:effectLst/>
              <a:uLnTx/>
              <a:uFillTx/>
              <a:latin typeface="Amazon Ember"/>
              <a:ea typeface="Amazon Ember Heavy" panose="020B0803020204020204" pitchFamily="34" charset="0"/>
              <a:cs typeface="Amazon Ember Heavy" panose="020B0803020204020204" pitchFamily="34" charset="0"/>
            </a:endParaRPr>
          </a:p>
        </p:txBody>
      </p:sp>
      <p:sp>
        <p:nvSpPr>
          <p:cNvPr id="39" name="Diamond 38">
            <a:extLst>
              <a:ext uri="{FF2B5EF4-FFF2-40B4-BE49-F238E27FC236}">
                <a16:creationId xmlns:a16="http://schemas.microsoft.com/office/drawing/2014/main" id="{30F35C21-79DE-B147-A623-E64423C8C5FE}"/>
              </a:ext>
            </a:extLst>
          </p:cNvPr>
          <p:cNvSpPr/>
          <p:nvPr/>
        </p:nvSpPr>
        <p:spPr>
          <a:xfrm>
            <a:off x="4493949" y="4607314"/>
            <a:ext cx="489686" cy="489686"/>
          </a:xfrm>
          <a:prstGeom prst="diamond">
            <a:avLst/>
          </a:prstGeom>
          <a:solidFill>
            <a:srgbClr val="68AE3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6304" tIns="73152" rIns="146304" bIns="73152" numCol="1" spcCol="0" rtlCol="0" fromWordArt="0" anchor="ctr" anchorCtr="0" forceAA="0" compatLnSpc="1">
            <a:prstTxWarp prst="textNoShape">
              <a:avLst/>
            </a:prstTxWarp>
            <a:no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116" name="Straight Arrow Connector 115">
            <a:extLst>
              <a:ext uri="{FF2B5EF4-FFF2-40B4-BE49-F238E27FC236}">
                <a16:creationId xmlns:a16="http://schemas.microsoft.com/office/drawing/2014/main" id="{45E80CB9-D65A-45B4-995F-513B4FF3A90F}"/>
              </a:ext>
            </a:extLst>
          </p:cNvPr>
          <p:cNvCxnSpPr>
            <a:cxnSpLocks/>
            <a:stCxn id="123" idx="3"/>
          </p:cNvCxnSpPr>
          <p:nvPr/>
        </p:nvCxnSpPr>
        <p:spPr>
          <a:xfrm>
            <a:off x="4934166" y="5662782"/>
            <a:ext cx="6500415" cy="0"/>
          </a:xfrm>
          <a:prstGeom prst="straightConnector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126" name="TextBox 125">
            <a:extLst>
              <a:ext uri="{FF2B5EF4-FFF2-40B4-BE49-F238E27FC236}">
                <a16:creationId xmlns:a16="http://schemas.microsoft.com/office/drawing/2014/main" id="{88BD86D9-1B4D-4EDF-ABA0-9CEC628E7DF7}"/>
              </a:ext>
            </a:extLst>
          </p:cNvPr>
          <p:cNvSpPr txBox="1"/>
          <p:nvPr/>
        </p:nvSpPr>
        <p:spPr>
          <a:xfrm>
            <a:off x="5652897" y="5567086"/>
            <a:ext cx="914400" cy="196977"/>
          </a:xfrm>
          <a:prstGeom prst="rect">
            <a:avLst/>
          </a:prstGeom>
          <a:solidFill>
            <a:srgbClr val="253140"/>
          </a:solidFill>
        </p:spPr>
        <p:txBody>
          <a:bodyPr wrap="square" lIns="0" tIns="0" rIns="0" bIns="0" rtlCol="0" anchor="ctr" anchorCtr="0">
            <a:sp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280" b="0" i="0" u="none" strike="noStrike" kern="1200" cap="none" spc="0" normalizeH="0" baseline="0" noProof="0" dirty="0">
                <a:ln>
                  <a:noFill/>
                </a:ln>
                <a:solidFill>
                  <a:srgbClr val="FFFFFF"/>
                </a:solidFill>
                <a:effectLst/>
                <a:uLnTx/>
                <a:uFillTx/>
                <a:latin typeface="Amazon Ember Regular"/>
                <a:ea typeface="Amazon Ember Light" panose="020B0403020204020204" pitchFamily="34" charset="0"/>
                <a:cs typeface="Amazon Ember Light" panose="020B0403020204020204" pitchFamily="34" charset="0"/>
              </a:rPr>
              <a:t>Automate</a:t>
            </a:r>
          </a:p>
        </p:txBody>
      </p:sp>
      <p:cxnSp>
        <p:nvCxnSpPr>
          <p:cNvPr id="14" name="Connector: Elbow 13">
            <a:extLst>
              <a:ext uri="{FF2B5EF4-FFF2-40B4-BE49-F238E27FC236}">
                <a16:creationId xmlns:a16="http://schemas.microsoft.com/office/drawing/2014/main" id="{6807CCE1-0A66-4E91-BD6E-08DEBEE8E647}"/>
              </a:ext>
            </a:extLst>
          </p:cNvPr>
          <p:cNvCxnSpPr>
            <a:cxnSpLocks/>
            <a:stCxn id="15" idx="3"/>
            <a:endCxn id="16" idx="2"/>
          </p:cNvCxnSpPr>
          <p:nvPr/>
        </p:nvCxnSpPr>
        <p:spPr>
          <a:xfrm flipH="1">
            <a:off x="7573134" y="2568224"/>
            <a:ext cx="163814" cy="2788224"/>
          </a:xfrm>
          <a:prstGeom prst="bentConnector4">
            <a:avLst>
              <a:gd name="adj1" fmla="val -400698"/>
              <a:gd name="adj2" fmla="val 117491"/>
            </a:avLst>
          </a:prstGeom>
          <a:ln w="19050">
            <a:solidFill>
              <a:schemeClr val="tx1"/>
            </a:solidFill>
            <a:tailEnd type="arrow" w="med" len="sm"/>
          </a:ln>
          <a:effectLst/>
        </p:spPr>
        <p:style>
          <a:lnRef idx="2">
            <a:schemeClr val="accent1"/>
          </a:lnRef>
          <a:fillRef idx="0">
            <a:schemeClr val="accent1"/>
          </a:fillRef>
          <a:effectRef idx="1">
            <a:schemeClr val="accent1"/>
          </a:effectRef>
          <a:fontRef idx="minor">
            <a:schemeClr val="tx1"/>
          </a:fontRef>
        </p:style>
      </p:cxnSp>
      <p:sp>
        <p:nvSpPr>
          <p:cNvPr id="191" name="TextBox 190">
            <a:extLst>
              <a:ext uri="{FF2B5EF4-FFF2-40B4-BE49-F238E27FC236}">
                <a16:creationId xmlns:a16="http://schemas.microsoft.com/office/drawing/2014/main" id="{130E18B0-EFE5-1541-99FE-4B0182364E05}"/>
              </a:ext>
            </a:extLst>
          </p:cNvPr>
          <p:cNvSpPr txBox="1"/>
          <p:nvPr/>
        </p:nvSpPr>
        <p:spPr>
          <a:xfrm>
            <a:off x="6814122" y="5446393"/>
            <a:ext cx="1518023" cy="196977"/>
          </a:xfrm>
          <a:prstGeom prst="rect">
            <a:avLst/>
          </a:prstGeom>
          <a:solidFill>
            <a:srgbClr val="253140"/>
          </a:solidFill>
        </p:spPr>
        <p:txBody>
          <a:bodyPr wrap="square" lIns="0" tIns="0" rIns="0" bIns="0" rtlCol="0">
            <a:spAutoFit/>
          </a:bodyPr>
          <a:lstStyle/>
          <a:p>
            <a:pPr marL="0" marR="0" lvl="0" indent="0" algn="ctr" defTabSz="731502" rtl="0" eaLnBrk="1" fontAlgn="auto" latinLnBrk="0" hangingPunct="1">
              <a:lnSpc>
                <a:spcPct val="100000"/>
              </a:lnSpc>
              <a:spcBef>
                <a:spcPts val="0"/>
              </a:spcBef>
              <a:spcAft>
                <a:spcPts val="0"/>
              </a:spcAft>
              <a:buClrTx/>
              <a:buSzTx/>
              <a:buFontTx/>
              <a:buNone/>
              <a:tabLst/>
              <a:defRPr/>
            </a:pPr>
            <a:r>
              <a:rPr kumimoji="0" lang="en-US" sz="1280" b="0" i="0" u="none" strike="noStrike" kern="1200" cap="none" spc="0" normalizeH="0" baseline="0" noProof="0" dirty="0">
                <a:ln>
                  <a:noFill/>
                </a:ln>
                <a:solidFill>
                  <a:srgbClr val="FFFFFF"/>
                </a:solidFill>
                <a:effectLst/>
                <a:uLnTx/>
                <a:uFillTx/>
                <a:latin typeface="Amazon Ember Regular"/>
                <a:ea typeface="Amazon Ember Light" panose="020B0403020204020204" pitchFamily="34" charset="0"/>
                <a:cs typeface="Amazon Ember Light" panose="020B0403020204020204" pitchFamily="34" charset="0"/>
              </a:rPr>
              <a:t>Use migration tools</a:t>
            </a:r>
          </a:p>
        </p:txBody>
      </p:sp>
      <p:pic>
        <p:nvPicPr>
          <p:cNvPr id="121" name="Picture 120">
            <a:extLst>
              <a:ext uri="{FF2B5EF4-FFF2-40B4-BE49-F238E27FC236}">
                <a16:creationId xmlns:a16="http://schemas.microsoft.com/office/drawing/2014/main" id="{6A2BEB6A-0E5D-4038-A31E-A04C19B6C62A}"/>
              </a:ext>
            </a:extLst>
          </p:cNvPr>
          <p:cNvPicPr>
            <a:picLocks noChangeAspect="1"/>
          </p:cNvPicPr>
          <p:nvPr/>
        </p:nvPicPr>
        <p:blipFill rotWithShape="1">
          <a:blip r:embed="rId3"/>
          <a:srcRect l="11024" r="14231"/>
          <a:stretch/>
        </p:blipFill>
        <p:spPr>
          <a:xfrm>
            <a:off x="13654112" y="6811"/>
            <a:ext cx="966264" cy="896112"/>
          </a:xfrm>
          <a:prstGeom prst="rect">
            <a:avLst/>
          </a:prstGeom>
        </p:spPr>
      </p:pic>
    </p:spTree>
    <p:extLst>
      <p:ext uri="{BB962C8B-B14F-4D97-AF65-F5344CB8AC3E}">
        <p14:creationId xmlns:p14="http://schemas.microsoft.com/office/powerpoint/2010/main" val="1403644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840" dirty="0">
                <a:solidFill>
                  <a:schemeClr val="tx1"/>
                </a:solidFill>
              </a:rPr>
              <a:t>Cloud Migration Sample 7R Disposition Tree</a:t>
            </a:r>
          </a:p>
        </p:txBody>
      </p:sp>
      <p:sp>
        <p:nvSpPr>
          <p:cNvPr id="3" name="Rounded Rectangle 2"/>
          <p:cNvSpPr/>
          <p:nvPr/>
        </p:nvSpPr>
        <p:spPr>
          <a:xfrm>
            <a:off x="3902085" y="938732"/>
            <a:ext cx="2633829" cy="921600"/>
          </a:xfrm>
          <a:prstGeom prst="roundRect">
            <a:avLst/>
          </a:prstGeom>
          <a:solidFill>
            <a:schemeClr val="bg1">
              <a:lumMod val="95000"/>
            </a:schemeClr>
          </a:solidFill>
          <a:ln w="25400">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rtlCol="0" anchor="t"/>
          <a:lstStyle/>
          <a:p>
            <a:pPr algn="ctr" defTabSz="1097280">
              <a:defRPr/>
            </a:pPr>
            <a:r>
              <a:rPr lang="en-AU" sz="1280" b="1" dirty="0">
                <a:solidFill>
                  <a:schemeClr val="tx1"/>
                </a:solidFill>
                <a:latin typeface="Calibri" panose="020F0502020204030204"/>
              </a:rPr>
              <a:t>Cost Reduction / Avoidance</a:t>
            </a:r>
          </a:p>
          <a:p>
            <a:pPr algn="ctr" defTabSz="1097280">
              <a:defRPr/>
            </a:pPr>
            <a:r>
              <a:rPr lang="en-AU" sz="1120" i="1" dirty="0">
                <a:solidFill>
                  <a:schemeClr val="tx1"/>
                </a:solidFill>
                <a:latin typeface="Calibri" panose="020F0502020204030204"/>
              </a:rPr>
              <a:t>(i.e. License Renewal, Hardware Refresh, Operational Efficiencies)</a:t>
            </a:r>
          </a:p>
        </p:txBody>
      </p:sp>
      <p:sp>
        <p:nvSpPr>
          <p:cNvPr id="4" name="Rounded Rectangle 3"/>
          <p:cNvSpPr/>
          <p:nvPr/>
        </p:nvSpPr>
        <p:spPr>
          <a:xfrm>
            <a:off x="6883176" y="941862"/>
            <a:ext cx="2633829" cy="921600"/>
          </a:xfrm>
          <a:prstGeom prst="roundRect">
            <a:avLst/>
          </a:prstGeom>
          <a:solidFill>
            <a:schemeClr val="bg1">
              <a:lumMod val="95000"/>
            </a:schemeClr>
          </a:solidFill>
          <a:ln w="25400">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rtlCol="0" anchor="t"/>
          <a:lstStyle/>
          <a:p>
            <a:pPr algn="ctr" defTabSz="1097280">
              <a:defRPr/>
            </a:pPr>
            <a:r>
              <a:rPr lang="en-AU" sz="1280" b="1" dirty="0">
                <a:solidFill>
                  <a:schemeClr val="tx1"/>
                </a:solidFill>
                <a:latin typeface="Calibri" panose="020F0502020204030204"/>
              </a:rPr>
              <a:t>Risk Reduction</a:t>
            </a:r>
          </a:p>
          <a:p>
            <a:pPr algn="ctr" defTabSz="1097280">
              <a:defRPr/>
            </a:pPr>
            <a:r>
              <a:rPr lang="en-AU" sz="1120" i="1" dirty="0">
                <a:solidFill>
                  <a:schemeClr val="tx1"/>
                </a:solidFill>
                <a:latin typeface="Calibri" panose="020F0502020204030204"/>
              </a:rPr>
              <a:t>(i.e. Regulatory Requirements, End of Life H/W, Unsupported Application, Audit Compliance)</a:t>
            </a:r>
          </a:p>
        </p:txBody>
      </p:sp>
      <p:sp>
        <p:nvSpPr>
          <p:cNvPr id="5" name="Rounded Rectangle 4"/>
          <p:cNvSpPr/>
          <p:nvPr/>
        </p:nvSpPr>
        <p:spPr>
          <a:xfrm>
            <a:off x="9864267" y="942478"/>
            <a:ext cx="2633829" cy="921600"/>
          </a:xfrm>
          <a:prstGeom prst="roundRect">
            <a:avLst/>
          </a:prstGeom>
          <a:solidFill>
            <a:schemeClr val="bg1">
              <a:lumMod val="95000"/>
            </a:schemeClr>
          </a:solidFill>
          <a:ln w="25400">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rtlCol="0" anchor="t"/>
          <a:lstStyle/>
          <a:p>
            <a:pPr algn="ctr" defTabSz="1097280">
              <a:defRPr/>
            </a:pPr>
            <a:r>
              <a:rPr lang="en-AU" sz="1280" b="1" dirty="0">
                <a:solidFill>
                  <a:schemeClr val="tx1"/>
                </a:solidFill>
                <a:latin typeface="Calibri" panose="020F0502020204030204"/>
              </a:rPr>
              <a:t>Business Transformation</a:t>
            </a:r>
          </a:p>
          <a:p>
            <a:pPr algn="ctr" defTabSz="1097280">
              <a:defRPr/>
            </a:pPr>
            <a:r>
              <a:rPr lang="en-AU" sz="1120" i="1" dirty="0">
                <a:solidFill>
                  <a:schemeClr val="tx1"/>
                </a:solidFill>
                <a:latin typeface="Calibri" panose="020F0502020204030204"/>
              </a:rPr>
              <a:t>(i.e. Business Expansion, Merger &amp; Acquisition, Increased Innovation &amp; Agility, Reduced Time to Market)</a:t>
            </a:r>
          </a:p>
        </p:txBody>
      </p:sp>
      <p:sp>
        <p:nvSpPr>
          <p:cNvPr id="6" name="Rounded Rectangle 5"/>
          <p:cNvSpPr/>
          <p:nvPr/>
        </p:nvSpPr>
        <p:spPr>
          <a:xfrm>
            <a:off x="4896858" y="2495583"/>
            <a:ext cx="6624582" cy="1119719"/>
          </a:xfrm>
          <a:prstGeom prst="roundRect">
            <a:avLst/>
          </a:prstGeom>
          <a:noFill/>
          <a:ln w="25400">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rtlCol="0" anchor="t"/>
          <a:lstStyle/>
          <a:p>
            <a:pPr defTabSz="1097280">
              <a:defRPr/>
            </a:pPr>
            <a:endParaRPr lang="en-AU" sz="1280" b="1" dirty="0">
              <a:solidFill>
                <a:schemeClr val="tx1"/>
              </a:solidFill>
              <a:latin typeface="Calibri" panose="020F0502020204030204"/>
            </a:endParaRPr>
          </a:p>
        </p:txBody>
      </p:sp>
      <p:sp>
        <p:nvSpPr>
          <p:cNvPr id="7" name="TextBox 6"/>
          <p:cNvSpPr txBox="1"/>
          <p:nvPr/>
        </p:nvSpPr>
        <p:spPr>
          <a:xfrm>
            <a:off x="458556" y="1049334"/>
            <a:ext cx="3070915" cy="781752"/>
          </a:xfrm>
          <a:prstGeom prst="rect">
            <a:avLst/>
          </a:prstGeom>
          <a:noFill/>
        </p:spPr>
        <p:txBody>
          <a:bodyPr wrap="square" rtlCol="0">
            <a:spAutoFit/>
          </a:bodyPr>
          <a:lstStyle/>
          <a:p>
            <a:pPr defTabSz="1097280">
              <a:defRPr/>
            </a:pPr>
            <a:r>
              <a:rPr lang="en-US" sz="2240" b="1" dirty="0">
                <a:latin typeface="Calibri" panose="020F0502020204030204"/>
              </a:rPr>
              <a:t>Typical Customer Migration Drivers</a:t>
            </a:r>
            <a:endParaRPr lang="en-US" sz="1280" dirty="0">
              <a:latin typeface="Calibri" panose="020F0502020204030204"/>
            </a:endParaRPr>
          </a:p>
        </p:txBody>
      </p:sp>
      <p:sp>
        <p:nvSpPr>
          <p:cNvPr id="8" name="Rounded Rectangle 7"/>
          <p:cNvSpPr/>
          <p:nvPr/>
        </p:nvSpPr>
        <p:spPr>
          <a:xfrm>
            <a:off x="7286214" y="2740164"/>
            <a:ext cx="1862218" cy="633600"/>
          </a:xfrm>
          <a:prstGeom prst="roundRect">
            <a:avLst/>
          </a:prstGeom>
          <a:solidFill>
            <a:schemeClr val="bg1">
              <a:lumMod val="95000"/>
            </a:schemeClr>
          </a:solidFill>
          <a:ln w="3175">
            <a:solidFill>
              <a:schemeClr val="tx2">
                <a:lumMod val="60000"/>
                <a:lumOff val="4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rtlCol="0" anchor="ctr"/>
          <a:lstStyle/>
          <a:p>
            <a:pPr algn="ctr" defTabSz="1097280">
              <a:defRPr/>
            </a:pPr>
            <a:r>
              <a:rPr lang="en-AU" sz="1280" dirty="0">
                <a:solidFill>
                  <a:schemeClr val="tx1"/>
                </a:solidFill>
                <a:latin typeface="Calibri" panose="020F0502020204030204"/>
              </a:rPr>
              <a:t>Security, Risk &amp; Compliance Assessment</a:t>
            </a:r>
          </a:p>
        </p:txBody>
      </p:sp>
      <p:sp>
        <p:nvSpPr>
          <p:cNvPr id="9" name="Rounded Rectangle 8"/>
          <p:cNvSpPr/>
          <p:nvPr/>
        </p:nvSpPr>
        <p:spPr>
          <a:xfrm>
            <a:off x="9355567" y="2740164"/>
            <a:ext cx="1886165" cy="633600"/>
          </a:xfrm>
          <a:prstGeom prst="roundRect">
            <a:avLst/>
          </a:prstGeom>
          <a:solidFill>
            <a:schemeClr val="bg1">
              <a:lumMod val="95000"/>
            </a:schemeClr>
          </a:solidFill>
          <a:ln w="3175">
            <a:solidFill>
              <a:schemeClr val="tx2">
                <a:lumMod val="60000"/>
                <a:lumOff val="4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rtlCol="0" anchor="ctr"/>
          <a:lstStyle/>
          <a:p>
            <a:pPr algn="ctr" defTabSz="1097280">
              <a:defRPr/>
            </a:pPr>
            <a:r>
              <a:rPr lang="en-AU" sz="1280" dirty="0">
                <a:solidFill>
                  <a:schemeClr val="tx1"/>
                </a:solidFill>
                <a:latin typeface="Calibri" panose="020F0502020204030204"/>
              </a:rPr>
              <a:t>Business Criticality Assessment </a:t>
            </a:r>
          </a:p>
        </p:txBody>
      </p:sp>
      <p:sp>
        <p:nvSpPr>
          <p:cNvPr id="10" name="Rounded Rectangle 9"/>
          <p:cNvSpPr/>
          <p:nvPr/>
        </p:nvSpPr>
        <p:spPr>
          <a:xfrm>
            <a:off x="5194878" y="2742232"/>
            <a:ext cx="1862217" cy="633600"/>
          </a:xfrm>
          <a:prstGeom prst="roundRect">
            <a:avLst/>
          </a:prstGeom>
          <a:solidFill>
            <a:schemeClr val="bg1">
              <a:lumMod val="95000"/>
            </a:schemeClr>
          </a:solidFill>
          <a:ln w="3175">
            <a:solidFill>
              <a:schemeClr val="tx2">
                <a:lumMod val="60000"/>
                <a:lumOff val="4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rtlCol="0" anchor="ctr"/>
          <a:lstStyle/>
          <a:p>
            <a:pPr algn="ctr" defTabSz="1097280">
              <a:defRPr/>
            </a:pPr>
            <a:r>
              <a:rPr lang="en-AU" sz="1280" dirty="0">
                <a:solidFill>
                  <a:schemeClr val="tx1"/>
                </a:solidFill>
                <a:latin typeface="Calibri" panose="020F0502020204030204"/>
              </a:rPr>
              <a:t>Application</a:t>
            </a:r>
          </a:p>
          <a:p>
            <a:pPr algn="ctr" defTabSz="1097280">
              <a:defRPr/>
            </a:pPr>
            <a:r>
              <a:rPr lang="en-AU" sz="1280" dirty="0">
                <a:solidFill>
                  <a:schemeClr val="tx1"/>
                </a:solidFill>
                <a:latin typeface="Calibri" panose="020F0502020204030204"/>
              </a:rPr>
              <a:t>Architecture Assessment</a:t>
            </a:r>
          </a:p>
        </p:txBody>
      </p:sp>
      <p:cxnSp>
        <p:nvCxnSpPr>
          <p:cNvPr id="17" name="Elbow Connector 16"/>
          <p:cNvCxnSpPr>
            <a:cxnSpLocks/>
            <a:endCxn id="73" idx="1"/>
          </p:cNvCxnSpPr>
          <p:nvPr/>
        </p:nvCxnSpPr>
        <p:spPr>
          <a:xfrm flipV="1">
            <a:off x="11525745" y="2811839"/>
            <a:ext cx="1758415" cy="343468"/>
          </a:xfrm>
          <a:prstGeom prst="bentConnector3">
            <a:avLst>
              <a:gd name="adj1" fmla="val 68246"/>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Elbow Connector 17"/>
          <p:cNvCxnSpPr>
            <a:cxnSpLocks/>
            <a:stCxn id="3" idx="2"/>
            <a:endCxn id="6" idx="0"/>
          </p:cNvCxnSpPr>
          <p:nvPr/>
        </p:nvCxnSpPr>
        <p:spPr>
          <a:xfrm rot="16200000" flipH="1">
            <a:off x="6396449" y="682882"/>
            <a:ext cx="635251" cy="2990149"/>
          </a:xfrm>
          <a:prstGeom prst="bentConnector3">
            <a:avLst>
              <a:gd name="adj1" fmla="val 37712"/>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Elbow Connector 19"/>
          <p:cNvCxnSpPr>
            <a:cxnSpLocks/>
            <a:stCxn id="5" idx="2"/>
            <a:endCxn id="6" idx="0"/>
          </p:cNvCxnSpPr>
          <p:nvPr/>
        </p:nvCxnSpPr>
        <p:spPr>
          <a:xfrm rot="5400000">
            <a:off x="9379414" y="693814"/>
            <a:ext cx="631505" cy="2972033"/>
          </a:xfrm>
          <a:prstGeom prst="bentConnector3">
            <a:avLst>
              <a:gd name="adj1" fmla="val 37639"/>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23" name="Rounded Rectangle 22"/>
          <p:cNvSpPr/>
          <p:nvPr/>
        </p:nvSpPr>
        <p:spPr>
          <a:xfrm>
            <a:off x="2888598" y="4574461"/>
            <a:ext cx="1555200" cy="640339"/>
          </a:xfrm>
          <a:prstGeom prst="roundRect">
            <a:avLst/>
          </a:prstGeom>
          <a:solidFill>
            <a:schemeClr val="bg1">
              <a:lumMod val="95000"/>
            </a:schemeClr>
          </a:solidFill>
          <a:ln w="25400">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rtlCol="0" anchor="ctr"/>
          <a:lstStyle/>
          <a:p>
            <a:pPr algn="ctr"/>
            <a:r>
              <a:rPr lang="en-AU" sz="1280" dirty="0">
                <a:solidFill>
                  <a:schemeClr val="tx1"/>
                </a:solidFill>
                <a:latin typeface="Calibri" panose="020F0502020204030204"/>
              </a:rPr>
              <a:t>Business Impact?</a:t>
            </a:r>
          </a:p>
        </p:txBody>
      </p:sp>
      <p:sp>
        <p:nvSpPr>
          <p:cNvPr id="26" name="Rounded Rectangle 25"/>
          <p:cNvSpPr/>
          <p:nvPr/>
        </p:nvSpPr>
        <p:spPr>
          <a:xfrm>
            <a:off x="4980714" y="4577321"/>
            <a:ext cx="1555200" cy="633600"/>
          </a:xfrm>
          <a:prstGeom prst="roundRect">
            <a:avLst/>
          </a:prstGeom>
          <a:solidFill>
            <a:schemeClr val="bg1">
              <a:lumMod val="95000"/>
            </a:schemeClr>
          </a:solidFill>
          <a:ln w="25400">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rtlCol="0" anchor="ctr"/>
          <a:lstStyle/>
          <a:p>
            <a:pPr lvl="0" algn="ctr">
              <a:defRPr/>
            </a:pPr>
            <a:r>
              <a:rPr lang="en-AU" sz="1280" dirty="0">
                <a:solidFill>
                  <a:schemeClr val="tx1"/>
                </a:solidFill>
              </a:rPr>
              <a:t>Transformation Needed?</a:t>
            </a:r>
          </a:p>
        </p:txBody>
      </p:sp>
      <p:cxnSp>
        <p:nvCxnSpPr>
          <p:cNvPr id="35" name="Elbow Connector 34"/>
          <p:cNvCxnSpPr>
            <a:cxnSpLocks/>
            <a:stCxn id="6" idx="2"/>
            <a:endCxn id="23" idx="0"/>
          </p:cNvCxnSpPr>
          <p:nvPr/>
        </p:nvCxnSpPr>
        <p:spPr>
          <a:xfrm rot="5400000">
            <a:off x="5458095" y="1823406"/>
            <a:ext cx="959159" cy="4542951"/>
          </a:xfrm>
          <a:prstGeom prst="bentConnector3">
            <a:avLst>
              <a:gd name="adj1" fmla="val 50000"/>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flipV="1">
            <a:off x="126074" y="2236243"/>
            <a:ext cx="14311192" cy="0"/>
          </a:xfrm>
          <a:prstGeom prst="line">
            <a:avLst/>
          </a:prstGeom>
          <a:ln w="635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flipV="1">
            <a:off x="53030" y="4271290"/>
            <a:ext cx="14311192" cy="0"/>
          </a:xfrm>
          <a:prstGeom prst="line">
            <a:avLst/>
          </a:prstGeom>
          <a:ln w="635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41" name="TextBox 40"/>
          <p:cNvSpPr txBox="1"/>
          <p:nvPr/>
        </p:nvSpPr>
        <p:spPr>
          <a:xfrm>
            <a:off x="312182" y="2819936"/>
            <a:ext cx="2638776" cy="781752"/>
          </a:xfrm>
          <a:prstGeom prst="rect">
            <a:avLst/>
          </a:prstGeom>
          <a:noFill/>
        </p:spPr>
        <p:txBody>
          <a:bodyPr wrap="square" rtlCol="0">
            <a:spAutoFit/>
          </a:bodyPr>
          <a:lstStyle/>
          <a:p>
            <a:pPr algn="ctr" defTabSz="1097280">
              <a:defRPr/>
            </a:pPr>
            <a:r>
              <a:rPr lang="en-AU" sz="2240" b="1" dirty="0">
                <a:latin typeface="Calibri" panose="020F0502020204030204"/>
              </a:rPr>
              <a:t>Cloud Readiness</a:t>
            </a:r>
          </a:p>
          <a:p>
            <a:pPr algn="ctr" defTabSz="1097280">
              <a:defRPr/>
            </a:pPr>
            <a:r>
              <a:rPr lang="en-AU" sz="2240" b="1" dirty="0">
                <a:latin typeface="Calibri" panose="020F0502020204030204"/>
              </a:rPr>
              <a:t>Assessment</a:t>
            </a:r>
          </a:p>
        </p:txBody>
      </p:sp>
      <p:sp>
        <p:nvSpPr>
          <p:cNvPr id="42" name="TextBox 41"/>
          <p:cNvSpPr txBox="1"/>
          <p:nvPr/>
        </p:nvSpPr>
        <p:spPr>
          <a:xfrm>
            <a:off x="342299" y="4774505"/>
            <a:ext cx="2194170" cy="781752"/>
          </a:xfrm>
          <a:prstGeom prst="rect">
            <a:avLst/>
          </a:prstGeom>
          <a:noFill/>
        </p:spPr>
        <p:txBody>
          <a:bodyPr wrap="square" rtlCol="0">
            <a:spAutoFit/>
          </a:bodyPr>
          <a:lstStyle/>
          <a:p>
            <a:pPr algn="ctr" defTabSz="1097280">
              <a:defRPr/>
            </a:pPr>
            <a:r>
              <a:rPr lang="en-AU" sz="2240" b="1" dirty="0">
                <a:latin typeface="Calibri" panose="020F0502020204030204"/>
              </a:rPr>
              <a:t>Key Determinants</a:t>
            </a:r>
          </a:p>
        </p:txBody>
      </p:sp>
      <p:sp>
        <p:nvSpPr>
          <p:cNvPr id="44" name="TextBox 43"/>
          <p:cNvSpPr txBox="1"/>
          <p:nvPr/>
        </p:nvSpPr>
        <p:spPr>
          <a:xfrm>
            <a:off x="5988379" y="3746464"/>
            <a:ext cx="2444446" cy="338554"/>
          </a:xfrm>
          <a:prstGeom prst="rect">
            <a:avLst/>
          </a:prstGeom>
          <a:noFill/>
        </p:spPr>
        <p:txBody>
          <a:bodyPr wrap="square" rtlCol="0">
            <a:spAutoFit/>
          </a:bodyPr>
          <a:lstStyle/>
          <a:p>
            <a:pPr algn="ctr" defTabSz="1097280">
              <a:defRPr/>
            </a:pPr>
            <a:r>
              <a:rPr lang="en-US" sz="1600" b="1" dirty="0">
                <a:solidFill>
                  <a:schemeClr val="tx2">
                    <a:lumMod val="95000"/>
                  </a:schemeClr>
                </a:solidFill>
                <a:latin typeface="Calibri" panose="020F0502020204030204"/>
              </a:rPr>
              <a:t>In-Scope for Migration</a:t>
            </a:r>
          </a:p>
        </p:txBody>
      </p:sp>
      <p:sp>
        <p:nvSpPr>
          <p:cNvPr id="74" name="Rectangle 73"/>
          <p:cNvSpPr/>
          <p:nvPr>
            <p:custDataLst>
              <p:tags r:id="rId1"/>
            </p:custDataLst>
          </p:nvPr>
        </p:nvSpPr>
        <p:spPr bwMode="auto">
          <a:xfrm>
            <a:off x="4227536" y="6819624"/>
            <a:ext cx="2130883" cy="824871"/>
          </a:xfrm>
          <a:prstGeom prst="rect">
            <a:avLst/>
          </a:prstGeom>
          <a:solidFill>
            <a:schemeClr val="accent3">
              <a:lumMod val="60000"/>
              <a:lumOff val="40000"/>
            </a:schemeClr>
          </a:solidFill>
          <a:ln>
            <a:noFill/>
            <a:headEnd type="none" w="med" len="med"/>
            <a:tailEnd type="none" w="med" len="med"/>
          </a:ln>
          <a:effectLst>
            <a:outerShdw blurRad="40005" dist="22860" dir="5400000" algn="ctr" rotWithShape="0">
              <a:schemeClr val="bg1">
                <a:alpha val="35000"/>
              </a:schemeClr>
            </a:outerShdw>
            <a:softEdge rad="63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8258" tIns="78258" rIns="78258" bIns="78258" numCol="1" spcCol="0" rtlCol="0" fromWordArt="0" anchor="ctr" anchorCtr="0" forceAA="0" compatLnSpc="1">
            <a:prstTxWarp prst="textNoShape">
              <a:avLst/>
            </a:prstTxWarp>
            <a:noAutofit/>
          </a:bodyPr>
          <a:lstStyle/>
          <a:p>
            <a:pPr algn="ctr" defTabSz="1097280">
              <a:defRPr/>
            </a:pPr>
            <a:r>
              <a:rPr lang="en-US" sz="1800" b="1" dirty="0">
                <a:ln>
                  <a:solidFill>
                    <a:prstClr val="white">
                      <a:alpha val="0"/>
                    </a:prstClr>
                  </a:solidFill>
                </a:ln>
                <a:solidFill>
                  <a:prstClr val="black"/>
                </a:solidFill>
                <a:latin typeface="Calibri" panose="020F0502020204030204"/>
              </a:rPr>
              <a:t>Refactor /</a:t>
            </a:r>
          </a:p>
          <a:p>
            <a:pPr algn="ctr" defTabSz="1097280">
              <a:defRPr/>
            </a:pPr>
            <a:r>
              <a:rPr lang="en-US" sz="1800" b="1" dirty="0">
                <a:ln>
                  <a:solidFill>
                    <a:prstClr val="white">
                      <a:alpha val="0"/>
                    </a:prstClr>
                  </a:solidFill>
                </a:ln>
                <a:solidFill>
                  <a:prstClr val="black"/>
                </a:solidFill>
                <a:latin typeface="Calibri" panose="020F0502020204030204"/>
              </a:rPr>
              <a:t>Rearchitect</a:t>
            </a:r>
          </a:p>
        </p:txBody>
      </p:sp>
      <p:sp>
        <p:nvSpPr>
          <p:cNvPr id="76" name="Rectangle 75"/>
          <p:cNvSpPr/>
          <p:nvPr>
            <p:custDataLst>
              <p:tags r:id="rId2"/>
            </p:custDataLst>
          </p:nvPr>
        </p:nvSpPr>
        <p:spPr bwMode="auto">
          <a:xfrm>
            <a:off x="6580205" y="6819624"/>
            <a:ext cx="2130883" cy="824871"/>
          </a:xfrm>
          <a:prstGeom prst="rect">
            <a:avLst/>
          </a:prstGeom>
          <a:solidFill>
            <a:schemeClr val="accent5">
              <a:lumMod val="60000"/>
              <a:lumOff val="40000"/>
            </a:schemeClr>
          </a:solidFill>
          <a:ln>
            <a:noFill/>
            <a:headEnd type="none" w="med" len="med"/>
            <a:tailEnd type="none" w="med" len="med"/>
          </a:ln>
          <a:effectLst>
            <a:outerShdw blurRad="40005" dist="22860" dir="5400000" algn="ctr" rotWithShape="0">
              <a:schemeClr val="bg1">
                <a:alpha val="35000"/>
              </a:schemeClr>
            </a:outerShdw>
            <a:softEdge rad="63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8258" tIns="39130" rIns="78258" bIns="39130" numCol="1" spcCol="0" rtlCol="0" fromWordArt="0" anchor="ctr" anchorCtr="0" forceAA="0" compatLnSpc="1">
            <a:prstTxWarp prst="textNoShape">
              <a:avLst/>
            </a:prstTxWarp>
            <a:noAutofit/>
          </a:bodyPr>
          <a:lstStyle/>
          <a:p>
            <a:pPr algn="ctr" defTabSz="1097280">
              <a:defRPr/>
            </a:pPr>
            <a:r>
              <a:rPr lang="en-US" sz="1800" b="1" dirty="0">
                <a:ln>
                  <a:solidFill>
                    <a:prstClr val="white">
                      <a:alpha val="0"/>
                    </a:prstClr>
                  </a:solidFill>
                </a:ln>
                <a:solidFill>
                  <a:prstClr val="black"/>
                </a:solidFill>
                <a:latin typeface="Calibri" panose="020F0502020204030204"/>
              </a:rPr>
              <a:t>Repurchase</a:t>
            </a:r>
          </a:p>
        </p:txBody>
      </p:sp>
      <p:sp>
        <p:nvSpPr>
          <p:cNvPr id="72" name="Rectangle 71"/>
          <p:cNvSpPr/>
          <p:nvPr>
            <p:custDataLst>
              <p:tags r:id="rId3"/>
            </p:custDataLst>
          </p:nvPr>
        </p:nvSpPr>
        <p:spPr bwMode="auto">
          <a:xfrm>
            <a:off x="11229982" y="6810886"/>
            <a:ext cx="2130883" cy="803848"/>
          </a:xfrm>
          <a:prstGeom prst="rect">
            <a:avLst/>
          </a:prstGeom>
          <a:solidFill>
            <a:srgbClr val="00B050"/>
          </a:solidFill>
          <a:ln>
            <a:noFill/>
            <a:headEnd type="none" w="med" len="med"/>
            <a:tailEnd type="none" w="med" len="med"/>
          </a:ln>
          <a:effectLst>
            <a:outerShdw blurRad="40005" dist="22860" dir="5400000" algn="ctr" rotWithShape="0">
              <a:schemeClr val="bg1">
                <a:alpha val="35000"/>
              </a:schemeClr>
            </a:outerShdw>
            <a:softEdge rad="63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8258" tIns="78258" rIns="78258" bIns="78258" numCol="1" spcCol="0" rtlCol="0" fromWordArt="0" anchor="ctr" anchorCtr="0" forceAA="0" compatLnSpc="1">
            <a:prstTxWarp prst="textNoShape">
              <a:avLst/>
            </a:prstTxWarp>
            <a:noAutofit/>
          </a:bodyPr>
          <a:lstStyle/>
          <a:p>
            <a:pPr algn="ctr" defTabSz="1097280">
              <a:defRPr/>
            </a:pPr>
            <a:r>
              <a:rPr lang="en-US" sz="1800" b="1" dirty="0">
                <a:ln>
                  <a:solidFill>
                    <a:prstClr val="white">
                      <a:alpha val="0"/>
                    </a:prstClr>
                  </a:solidFill>
                </a:ln>
                <a:solidFill>
                  <a:prstClr val="black"/>
                </a:solidFill>
                <a:latin typeface="Calibri" panose="020F0502020204030204"/>
              </a:rPr>
              <a:t>Rehost / Relocate</a:t>
            </a:r>
          </a:p>
        </p:txBody>
      </p:sp>
      <p:sp>
        <p:nvSpPr>
          <p:cNvPr id="112" name="TextBox 111"/>
          <p:cNvSpPr txBox="1"/>
          <p:nvPr/>
        </p:nvSpPr>
        <p:spPr>
          <a:xfrm>
            <a:off x="8695680" y="4490386"/>
            <a:ext cx="593575" cy="289310"/>
          </a:xfrm>
          <a:prstGeom prst="rect">
            <a:avLst/>
          </a:prstGeom>
          <a:noFill/>
        </p:spPr>
        <p:txBody>
          <a:bodyPr wrap="square" rtlCol="0">
            <a:spAutoFit/>
          </a:bodyPr>
          <a:lstStyle/>
          <a:p>
            <a:pPr defTabSz="1097280">
              <a:defRPr/>
            </a:pPr>
            <a:r>
              <a:rPr lang="en-AU" sz="1280" i="1" dirty="0">
                <a:latin typeface="Calibri" panose="020F0502020204030204"/>
              </a:rPr>
              <a:t>Large</a:t>
            </a:r>
          </a:p>
        </p:txBody>
      </p:sp>
      <p:sp>
        <p:nvSpPr>
          <p:cNvPr id="114" name="TextBox 113"/>
          <p:cNvSpPr txBox="1"/>
          <p:nvPr/>
        </p:nvSpPr>
        <p:spPr>
          <a:xfrm>
            <a:off x="7359242" y="5219460"/>
            <a:ext cx="646157" cy="289310"/>
          </a:xfrm>
          <a:prstGeom prst="rect">
            <a:avLst/>
          </a:prstGeom>
          <a:noFill/>
        </p:spPr>
        <p:txBody>
          <a:bodyPr wrap="square" rtlCol="0">
            <a:spAutoFit/>
          </a:bodyPr>
          <a:lstStyle/>
          <a:p>
            <a:pPr defTabSz="1097280">
              <a:defRPr/>
            </a:pPr>
            <a:r>
              <a:rPr lang="en-AU" sz="1280" i="1" dirty="0">
                <a:latin typeface="Calibri" panose="020F0502020204030204"/>
              </a:rPr>
              <a:t>Small</a:t>
            </a:r>
          </a:p>
        </p:txBody>
      </p:sp>
      <p:sp>
        <p:nvSpPr>
          <p:cNvPr id="134" name="Rounded Rectangle 133"/>
          <p:cNvSpPr/>
          <p:nvPr/>
        </p:nvSpPr>
        <p:spPr>
          <a:xfrm>
            <a:off x="7140925" y="4577320"/>
            <a:ext cx="1555200" cy="633600"/>
          </a:xfrm>
          <a:prstGeom prst="roundRect">
            <a:avLst/>
          </a:prstGeom>
          <a:solidFill>
            <a:schemeClr val="bg1">
              <a:lumMod val="95000"/>
            </a:schemeClr>
          </a:solidFill>
          <a:ln w="25400">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rtlCol="0" anchor="ctr"/>
          <a:lstStyle/>
          <a:p>
            <a:pPr algn="ctr" defTabSz="1097280">
              <a:defRPr/>
            </a:pPr>
            <a:r>
              <a:rPr lang="en-AU" sz="1280" dirty="0">
                <a:solidFill>
                  <a:schemeClr val="tx1"/>
                </a:solidFill>
                <a:latin typeface="Calibri" panose="020F0502020204030204"/>
              </a:rPr>
              <a:t>Size of Available Investment?</a:t>
            </a:r>
          </a:p>
        </p:txBody>
      </p:sp>
      <p:sp>
        <p:nvSpPr>
          <p:cNvPr id="155" name="TextBox 154"/>
          <p:cNvSpPr txBox="1"/>
          <p:nvPr/>
        </p:nvSpPr>
        <p:spPr>
          <a:xfrm>
            <a:off x="11584320" y="2894739"/>
            <a:ext cx="1233212" cy="486287"/>
          </a:xfrm>
          <a:prstGeom prst="rect">
            <a:avLst/>
          </a:prstGeom>
          <a:noFill/>
        </p:spPr>
        <p:txBody>
          <a:bodyPr wrap="square" rtlCol="0">
            <a:spAutoFit/>
          </a:bodyPr>
          <a:lstStyle/>
          <a:p>
            <a:pPr defTabSz="1097280">
              <a:defRPr/>
            </a:pPr>
            <a:r>
              <a:rPr lang="en-AU" sz="1280" dirty="0">
                <a:latin typeface="Calibri" panose="020F0502020204030204"/>
              </a:rPr>
              <a:t>Out of Scope for Migration</a:t>
            </a:r>
          </a:p>
        </p:txBody>
      </p:sp>
      <p:cxnSp>
        <p:nvCxnSpPr>
          <p:cNvPr id="46" name="Straight Connector 45">
            <a:extLst>
              <a:ext uri="{FF2B5EF4-FFF2-40B4-BE49-F238E27FC236}">
                <a16:creationId xmlns:a16="http://schemas.microsoft.com/office/drawing/2014/main" id="{DA408E7E-5778-354D-B587-F0A55CB24E5C}"/>
              </a:ext>
            </a:extLst>
          </p:cNvPr>
          <p:cNvCxnSpPr>
            <a:cxnSpLocks/>
            <a:stCxn id="4" idx="2"/>
            <a:endCxn id="6" idx="0"/>
          </p:cNvCxnSpPr>
          <p:nvPr/>
        </p:nvCxnSpPr>
        <p:spPr>
          <a:xfrm>
            <a:off x="8200091" y="1863462"/>
            <a:ext cx="9058" cy="632121"/>
          </a:xfrm>
          <a:prstGeom prst="line">
            <a:avLst/>
          </a:prstGeom>
          <a:ln w="25400">
            <a:solidFill>
              <a:schemeClr val="accent1"/>
            </a:solidFill>
          </a:ln>
        </p:spPr>
        <p:style>
          <a:lnRef idx="2">
            <a:schemeClr val="accent1"/>
          </a:lnRef>
          <a:fillRef idx="0">
            <a:schemeClr val="accent1"/>
          </a:fillRef>
          <a:effectRef idx="1">
            <a:schemeClr val="accent1"/>
          </a:effectRef>
          <a:fontRef idx="minor">
            <a:schemeClr val="tx1"/>
          </a:fontRef>
        </p:style>
      </p:cxnSp>
      <p:pic>
        <p:nvPicPr>
          <p:cNvPr id="57" name="Picture 56">
            <a:extLst>
              <a:ext uri="{FF2B5EF4-FFF2-40B4-BE49-F238E27FC236}">
                <a16:creationId xmlns:a16="http://schemas.microsoft.com/office/drawing/2014/main" id="{39DE3455-3F74-7844-9141-80053AEF1BCF}"/>
              </a:ext>
            </a:extLst>
          </p:cNvPr>
          <p:cNvPicPr>
            <a:picLocks noChangeAspect="1"/>
          </p:cNvPicPr>
          <p:nvPr/>
        </p:nvPicPr>
        <p:blipFill rotWithShape="1">
          <a:blip r:embed="rId9"/>
          <a:srcRect l="11024" r="14231"/>
          <a:stretch/>
        </p:blipFill>
        <p:spPr>
          <a:xfrm>
            <a:off x="13654112" y="6811"/>
            <a:ext cx="966264" cy="896112"/>
          </a:xfrm>
          <a:prstGeom prst="rect">
            <a:avLst/>
          </a:prstGeom>
        </p:spPr>
      </p:pic>
      <p:cxnSp>
        <p:nvCxnSpPr>
          <p:cNvPr id="67" name="Elbow Connector 66">
            <a:extLst>
              <a:ext uri="{FF2B5EF4-FFF2-40B4-BE49-F238E27FC236}">
                <a16:creationId xmlns:a16="http://schemas.microsoft.com/office/drawing/2014/main" id="{F90F3559-0367-BA4B-A8E7-B1B1C312DAF1}"/>
              </a:ext>
            </a:extLst>
          </p:cNvPr>
          <p:cNvCxnSpPr>
            <a:cxnSpLocks/>
            <a:endCxn id="75" idx="1"/>
          </p:cNvCxnSpPr>
          <p:nvPr/>
        </p:nvCxnSpPr>
        <p:spPr>
          <a:xfrm>
            <a:off x="11525745" y="3155306"/>
            <a:ext cx="1754680" cy="538122"/>
          </a:xfrm>
          <a:prstGeom prst="bentConnector3">
            <a:avLst>
              <a:gd name="adj1" fmla="val 68285"/>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73" name="Rectangle 72">
            <a:extLst>
              <a:ext uri="{FF2B5EF4-FFF2-40B4-BE49-F238E27FC236}">
                <a16:creationId xmlns:a16="http://schemas.microsoft.com/office/drawing/2014/main" id="{B85A5FE0-68B2-E945-9B42-F92DAA5E912E}"/>
              </a:ext>
            </a:extLst>
          </p:cNvPr>
          <p:cNvSpPr/>
          <p:nvPr>
            <p:custDataLst>
              <p:tags r:id="rId4"/>
            </p:custDataLst>
          </p:nvPr>
        </p:nvSpPr>
        <p:spPr bwMode="auto">
          <a:xfrm>
            <a:off x="13284160" y="2478291"/>
            <a:ext cx="773848" cy="667096"/>
          </a:xfrm>
          <a:prstGeom prst="rect">
            <a:avLst/>
          </a:prstGeom>
          <a:solidFill>
            <a:schemeClr val="tx2">
              <a:lumMod val="50000"/>
            </a:schemeClr>
          </a:solidFill>
          <a:ln>
            <a:noFill/>
            <a:headEnd type="none" w="med" len="med"/>
            <a:tailEnd type="none" w="med" len="med"/>
          </a:ln>
          <a:effectLst>
            <a:outerShdw blurRad="40005" dist="22860" dir="5400000" algn="ctr" rotWithShape="0">
              <a:schemeClr val="bg1">
                <a:alpha val="35000"/>
              </a:schemeClr>
            </a:outerShdw>
            <a:softEdge rad="63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8258" tIns="78258" rIns="78258" bIns="78258" numCol="1" spcCol="0" rtlCol="0" fromWordArt="0" anchor="ctr" anchorCtr="0" forceAA="0" compatLnSpc="1">
            <a:prstTxWarp prst="textNoShape">
              <a:avLst/>
            </a:prstTxWarp>
            <a:noAutofit/>
          </a:bodyPr>
          <a:lstStyle/>
          <a:p>
            <a:pPr algn="ctr" defTabSz="1097280">
              <a:defRPr/>
            </a:pPr>
            <a:r>
              <a:rPr lang="en-US" sz="1050" b="1" dirty="0">
                <a:ln>
                  <a:solidFill>
                    <a:prstClr val="white">
                      <a:alpha val="0"/>
                    </a:prstClr>
                  </a:solidFill>
                </a:ln>
                <a:solidFill>
                  <a:schemeClr val="tx1"/>
                </a:solidFill>
                <a:latin typeface="Calibri" panose="020F0502020204030204"/>
              </a:rPr>
              <a:t>Retire</a:t>
            </a:r>
          </a:p>
        </p:txBody>
      </p:sp>
      <p:sp>
        <p:nvSpPr>
          <p:cNvPr id="75" name="Rectangle 74">
            <a:extLst>
              <a:ext uri="{FF2B5EF4-FFF2-40B4-BE49-F238E27FC236}">
                <a16:creationId xmlns:a16="http://schemas.microsoft.com/office/drawing/2014/main" id="{7F661F8A-7E49-0843-B848-0AE25622DFDA}"/>
              </a:ext>
            </a:extLst>
          </p:cNvPr>
          <p:cNvSpPr/>
          <p:nvPr>
            <p:custDataLst>
              <p:tags r:id="rId5"/>
            </p:custDataLst>
          </p:nvPr>
        </p:nvSpPr>
        <p:spPr bwMode="auto">
          <a:xfrm>
            <a:off x="13280425" y="3359880"/>
            <a:ext cx="773848" cy="667096"/>
          </a:xfrm>
          <a:prstGeom prst="rect">
            <a:avLst/>
          </a:prstGeom>
          <a:solidFill>
            <a:schemeClr val="tx2">
              <a:lumMod val="50000"/>
            </a:schemeClr>
          </a:solidFill>
          <a:ln>
            <a:noFill/>
            <a:headEnd type="none" w="med" len="med"/>
            <a:tailEnd type="none" w="med" len="med"/>
          </a:ln>
          <a:effectLst>
            <a:outerShdw blurRad="40005" dist="22860" dir="5400000" algn="ctr" rotWithShape="0">
              <a:schemeClr val="bg1">
                <a:alpha val="35000"/>
              </a:schemeClr>
            </a:outerShdw>
            <a:softEdge rad="63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8258" tIns="78258" rIns="78258" bIns="78258" numCol="1" spcCol="0" rtlCol="0" fromWordArt="0" anchor="ctr" anchorCtr="0" forceAA="0" compatLnSpc="1">
            <a:prstTxWarp prst="textNoShape">
              <a:avLst/>
            </a:prstTxWarp>
            <a:noAutofit/>
          </a:bodyPr>
          <a:lstStyle/>
          <a:p>
            <a:pPr algn="ctr" defTabSz="1097280">
              <a:defRPr/>
            </a:pPr>
            <a:r>
              <a:rPr lang="en-US" sz="1050" b="1" dirty="0">
                <a:ln>
                  <a:solidFill>
                    <a:prstClr val="white">
                      <a:alpha val="0"/>
                    </a:prstClr>
                  </a:solidFill>
                </a:ln>
                <a:solidFill>
                  <a:schemeClr val="tx1"/>
                </a:solidFill>
                <a:latin typeface="Calibri" panose="020F0502020204030204"/>
              </a:rPr>
              <a:t>Retain</a:t>
            </a:r>
          </a:p>
        </p:txBody>
      </p:sp>
      <p:sp>
        <p:nvSpPr>
          <p:cNvPr id="153" name="TextBox 152">
            <a:extLst>
              <a:ext uri="{FF2B5EF4-FFF2-40B4-BE49-F238E27FC236}">
                <a16:creationId xmlns:a16="http://schemas.microsoft.com/office/drawing/2014/main" id="{6B096018-1938-5049-B85E-A9DA1CAF4ADC}"/>
              </a:ext>
            </a:extLst>
          </p:cNvPr>
          <p:cNvSpPr txBox="1"/>
          <p:nvPr/>
        </p:nvSpPr>
        <p:spPr>
          <a:xfrm>
            <a:off x="4403389" y="4498671"/>
            <a:ext cx="547520" cy="289310"/>
          </a:xfrm>
          <a:prstGeom prst="rect">
            <a:avLst/>
          </a:prstGeom>
          <a:noFill/>
        </p:spPr>
        <p:txBody>
          <a:bodyPr wrap="square" rtlCol="0">
            <a:spAutoFit/>
          </a:bodyPr>
          <a:lstStyle/>
          <a:p>
            <a:pPr defTabSz="1097280">
              <a:defRPr/>
            </a:pPr>
            <a:r>
              <a:rPr lang="en-AU" sz="1280" i="1" dirty="0">
                <a:latin typeface="Calibri" panose="020F0502020204030204"/>
              </a:rPr>
              <a:t>High</a:t>
            </a:r>
          </a:p>
        </p:txBody>
      </p:sp>
      <p:cxnSp>
        <p:nvCxnSpPr>
          <p:cNvPr id="208" name="Straight Arrow Connector 207">
            <a:extLst>
              <a:ext uri="{FF2B5EF4-FFF2-40B4-BE49-F238E27FC236}">
                <a16:creationId xmlns:a16="http://schemas.microsoft.com/office/drawing/2014/main" id="{804378F3-3748-B349-AFB3-72282609D614}"/>
              </a:ext>
            </a:extLst>
          </p:cNvPr>
          <p:cNvCxnSpPr>
            <a:cxnSpLocks/>
            <a:stCxn id="26" idx="3"/>
            <a:endCxn id="134" idx="1"/>
          </p:cNvCxnSpPr>
          <p:nvPr/>
        </p:nvCxnSpPr>
        <p:spPr>
          <a:xfrm flipV="1">
            <a:off x="6535914" y="4894120"/>
            <a:ext cx="605011" cy="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9" name="Straight Arrow Connector 218">
            <a:extLst>
              <a:ext uri="{FF2B5EF4-FFF2-40B4-BE49-F238E27FC236}">
                <a16:creationId xmlns:a16="http://schemas.microsoft.com/office/drawing/2014/main" id="{36666013-C0D0-144E-B427-88C10FB72AF4}"/>
              </a:ext>
            </a:extLst>
          </p:cNvPr>
          <p:cNvCxnSpPr>
            <a:cxnSpLocks/>
            <a:stCxn id="23" idx="3"/>
            <a:endCxn id="26" idx="1"/>
          </p:cNvCxnSpPr>
          <p:nvPr/>
        </p:nvCxnSpPr>
        <p:spPr>
          <a:xfrm flipV="1">
            <a:off x="4443798" y="4894121"/>
            <a:ext cx="536916" cy="51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7" name="Rectangle 106">
            <a:extLst>
              <a:ext uri="{FF2B5EF4-FFF2-40B4-BE49-F238E27FC236}">
                <a16:creationId xmlns:a16="http://schemas.microsoft.com/office/drawing/2014/main" id="{CCB93849-8574-264A-AD5C-103CB86826E0}"/>
              </a:ext>
            </a:extLst>
          </p:cNvPr>
          <p:cNvSpPr/>
          <p:nvPr>
            <p:custDataLst>
              <p:tags r:id="rId6"/>
            </p:custDataLst>
          </p:nvPr>
        </p:nvSpPr>
        <p:spPr bwMode="auto">
          <a:xfrm>
            <a:off x="8935852" y="6819624"/>
            <a:ext cx="2130883" cy="803848"/>
          </a:xfrm>
          <a:prstGeom prst="rect">
            <a:avLst/>
          </a:prstGeom>
          <a:solidFill>
            <a:schemeClr val="accent2"/>
          </a:solidFill>
          <a:ln>
            <a:noFill/>
            <a:headEnd type="none" w="med" len="med"/>
            <a:tailEnd type="none" w="med" len="med"/>
          </a:ln>
          <a:effectLst>
            <a:outerShdw blurRad="40005" dist="22860" dir="5400000" algn="ctr" rotWithShape="0">
              <a:schemeClr val="bg1">
                <a:alpha val="35000"/>
              </a:schemeClr>
            </a:outerShdw>
            <a:softEdge rad="63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8258" tIns="78258" rIns="78258" bIns="78258" numCol="1" spcCol="0" rtlCol="0" fromWordArt="0" anchor="ctr" anchorCtr="0" forceAA="0" compatLnSpc="1">
            <a:prstTxWarp prst="textNoShape">
              <a:avLst/>
            </a:prstTxWarp>
            <a:noAutofit/>
          </a:bodyPr>
          <a:lstStyle/>
          <a:p>
            <a:pPr algn="ctr" defTabSz="1097280">
              <a:defRPr/>
            </a:pPr>
            <a:r>
              <a:rPr lang="en-US" sz="1800" b="1" dirty="0" err="1">
                <a:ln>
                  <a:solidFill>
                    <a:prstClr val="white">
                      <a:alpha val="0"/>
                    </a:prstClr>
                  </a:solidFill>
                </a:ln>
                <a:solidFill>
                  <a:prstClr val="black"/>
                </a:solidFill>
                <a:latin typeface="Calibri" panose="020F0502020204030204"/>
              </a:rPr>
              <a:t>Replatform</a:t>
            </a:r>
            <a:endParaRPr lang="en-US" sz="1800" b="1" dirty="0">
              <a:ln>
                <a:solidFill>
                  <a:prstClr val="white">
                    <a:alpha val="0"/>
                  </a:prstClr>
                </a:solidFill>
              </a:ln>
              <a:solidFill>
                <a:prstClr val="black"/>
              </a:solidFill>
              <a:latin typeface="Calibri" panose="020F0502020204030204"/>
            </a:endParaRPr>
          </a:p>
        </p:txBody>
      </p:sp>
      <p:sp>
        <p:nvSpPr>
          <p:cNvPr id="141" name="TextBox 140">
            <a:extLst>
              <a:ext uri="{FF2B5EF4-FFF2-40B4-BE49-F238E27FC236}">
                <a16:creationId xmlns:a16="http://schemas.microsoft.com/office/drawing/2014/main" id="{7F6933FD-2152-9543-ABA7-329E940A5407}"/>
              </a:ext>
            </a:extLst>
          </p:cNvPr>
          <p:cNvSpPr txBox="1"/>
          <p:nvPr/>
        </p:nvSpPr>
        <p:spPr>
          <a:xfrm>
            <a:off x="2659085" y="5244063"/>
            <a:ext cx="1141092" cy="289310"/>
          </a:xfrm>
          <a:prstGeom prst="rect">
            <a:avLst/>
          </a:prstGeom>
          <a:noFill/>
        </p:spPr>
        <p:txBody>
          <a:bodyPr wrap="square" rtlCol="0">
            <a:spAutoFit/>
          </a:bodyPr>
          <a:lstStyle/>
          <a:p>
            <a:pPr defTabSz="1097280">
              <a:defRPr/>
            </a:pPr>
            <a:r>
              <a:rPr lang="en-AU" sz="1280" i="1" dirty="0">
                <a:latin typeface="Calibri" panose="020F0502020204030204"/>
              </a:rPr>
              <a:t>Medium/Low</a:t>
            </a:r>
          </a:p>
        </p:txBody>
      </p:sp>
      <p:cxnSp>
        <p:nvCxnSpPr>
          <p:cNvPr id="185" name="Elbow Connector 184">
            <a:extLst>
              <a:ext uri="{FF2B5EF4-FFF2-40B4-BE49-F238E27FC236}">
                <a16:creationId xmlns:a16="http://schemas.microsoft.com/office/drawing/2014/main" id="{9CABAC86-A2AD-0241-BB99-78D383E90761}"/>
              </a:ext>
            </a:extLst>
          </p:cNvPr>
          <p:cNvCxnSpPr>
            <a:cxnSpLocks/>
            <a:stCxn id="63" idx="3"/>
            <a:endCxn id="78" idx="1"/>
          </p:cNvCxnSpPr>
          <p:nvPr/>
        </p:nvCxnSpPr>
        <p:spPr>
          <a:xfrm flipV="1">
            <a:off x="10776407" y="5820439"/>
            <a:ext cx="741416" cy="1"/>
          </a:xfrm>
          <a:prstGeom prst="bentConnector3">
            <a:avLst>
              <a:gd name="adj1" fmla="val 50000"/>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92" name="Elbow Connector 291">
            <a:extLst>
              <a:ext uri="{FF2B5EF4-FFF2-40B4-BE49-F238E27FC236}">
                <a16:creationId xmlns:a16="http://schemas.microsoft.com/office/drawing/2014/main" id="{0E4669C1-D64E-7F48-AD35-02DB883152C1}"/>
              </a:ext>
            </a:extLst>
          </p:cNvPr>
          <p:cNvCxnSpPr>
            <a:cxnSpLocks/>
            <a:stCxn id="134" idx="3"/>
            <a:endCxn id="74" idx="2"/>
          </p:cNvCxnSpPr>
          <p:nvPr/>
        </p:nvCxnSpPr>
        <p:spPr>
          <a:xfrm flipH="1">
            <a:off x="5292978" y="4894120"/>
            <a:ext cx="3403147" cy="2750375"/>
          </a:xfrm>
          <a:prstGeom prst="bentConnector4">
            <a:avLst>
              <a:gd name="adj1" fmla="val -166232"/>
              <a:gd name="adj2" fmla="val 115045"/>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303" name="TextBox 302">
            <a:extLst>
              <a:ext uri="{FF2B5EF4-FFF2-40B4-BE49-F238E27FC236}">
                <a16:creationId xmlns:a16="http://schemas.microsoft.com/office/drawing/2014/main" id="{4EF029FB-C9EB-0049-A54B-00E0096EB8D6}"/>
              </a:ext>
            </a:extLst>
          </p:cNvPr>
          <p:cNvSpPr txBox="1"/>
          <p:nvPr/>
        </p:nvSpPr>
        <p:spPr>
          <a:xfrm>
            <a:off x="13026748" y="5471247"/>
            <a:ext cx="1110610" cy="289310"/>
          </a:xfrm>
          <a:prstGeom prst="rect">
            <a:avLst/>
          </a:prstGeom>
          <a:noFill/>
        </p:spPr>
        <p:txBody>
          <a:bodyPr wrap="square" rtlCol="0">
            <a:spAutoFit/>
          </a:bodyPr>
          <a:lstStyle/>
          <a:p>
            <a:pPr defTabSz="1097280">
              <a:defRPr/>
            </a:pPr>
            <a:r>
              <a:rPr lang="en-AU" sz="1280" i="1" dirty="0">
                <a:latin typeface="Calibri" panose="020F0502020204030204"/>
              </a:rPr>
              <a:t>&gt;4 months</a:t>
            </a:r>
          </a:p>
        </p:txBody>
      </p:sp>
      <p:cxnSp>
        <p:nvCxnSpPr>
          <p:cNvPr id="323" name="Straight Connector 322">
            <a:extLst>
              <a:ext uri="{FF2B5EF4-FFF2-40B4-BE49-F238E27FC236}">
                <a16:creationId xmlns:a16="http://schemas.microsoft.com/office/drawing/2014/main" id="{729B5BCB-F487-DE4F-A9B6-03EC1E112F50}"/>
              </a:ext>
            </a:extLst>
          </p:cNvPr>
          <p:cNvCxnSpPr/>
          <p:nvPr/>
        </p:nvCxnSpPr>
        <p:spPr>
          <a:xfrm flipV="1">
            <a:off x="53030" y="6445688"/>
            <a:ext cx="14311192" cy="0"/>
          </a:xfrm>
          <a:prstGeom prst="line">
            <a:avLst/>
          </a:prstGeom>
          <a:ln w="635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324" name="TextBox 323">
            <a:extLst>
              <a:ext uri="{FF2B5EF4-FFF2-40B4-BE49-F238E27FC236}">
                <a16:creationId xmlns:a16="http://schemas.microsoft.com/office/drawing/2014/main" id="{0C59A0B7-56D4-7649-A6B1-02D44190FD81}"/>
              </a:ext>
            </a:extLst>
          </p:cNvPr>
          <p:cNvSpPr txBox="1"/>
          <p:nvPr/>
        </p:nvSpPr>
        <p:spPr>
          <a:xfrm>
            <a:off x="454141" y="6794881"/>
            <a:ext cx="2194170" cy="781752"/>
          </a:xfrm>
          <a:prstGeom prst="rect">
            <a:avLst/>
          </a:prstGeom>
          <a:noFill/>
        </p:spPr>
        <p:txBody>
          <a:bodyPr wrap="square" rtlCol="0">
            <a:spAutoFit/>
          </a:bodyPr>
          <a:lstStyle/>
          <a:p>
            <a:pPr algn="ctr" defTabSz="1097280">
              <a:defRPr/>
            </a:pPr>
            <a:r>
              <a:rPr lang="en-AU" sz="2240" b="1" dirty="0">
                <a:latin typeface="Calibri" panose="020F0502020204030204"/>
              </a:rPr>
              <a:t>Treatment Types</a:t>
            </a:r>
          </a:p>
          <a:p>
            <a:pPr algn="ctr" defTabSz="1097280">
              <a:defRPr/>
            </a:pPr>
            <a:r>
              <a:rPr lang="en-AU" sz="2240" b="1" dirty="0">
                <a:latin typeface="Calibri" panose="020F0502020204030204"/>
              </a:rPr>
              <a:t>To Consider</a:t>
            </a:r>
          </a:p>
        </p:txBody>
      </p:sp>
      <p:cxnSp>
        <p:nvCxnSpPr>
          <p:cNvPr id="423" name="Elbow Connector 422">
            <a:extLst>
              <a:ext uri="{FF2B5EF4-FFF2-40B4-BE49-F238E27FC236}">
                <a16:creationId xmlns:a16="http://schemas.microsoft.com/office/drawing/2014/main" id="{0AD6ABAB-7471-D246-9778-5E137D7269A3}"/>
              </a:ext>
            </a:extLst>
          </p:cNvPr>
          <p:cNvCxnSpPr>
            <a:cxnSpLocks/>
            <a:stCxn id="63" idx="2"/>
            <a:endCxn id="107" idx="0"/>
          </p:cNvCxnSpPr>
          <p:nvPr/>
        </p:nvCxnSpPr>
        <p:spPr>
          <a:xfrm rot="16200000" flipH="1">
            <a:off x="9660543" y="6478872"/>
            <a:ext cx="679015" cy="2487"/>
          </a:xfrm>
          <a:prstGeom prst="bentConnector3">
            <a:avLst>
              <a:gd name="adj1" fmla="val 50000"/>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63" name="Rounded Rectangle 62">
            <a:extLst>
              <a:ext uri="{FF2B5EF4-FFF2-40B4-BE49-F238E27FC236}">
                <a16:creationId xmlns:a16="http://schemas.microsoft.com/office/drawing/2014/main" id="{BA6DDEAE-A491-CB42-813E-667AE1EE5068}"/>
              </a:ext>
            </a:extLst>
          </p:cNvPr>
          <p:cNvSpPr/>
          <p:nvPr/>
        </p:nvSpPr>
        <p:spPr>
          <a:xfrm>
            <a:off x="9221207" y="5500270"/>
            <a:ext cx="1555200" cy="640339"/>
          </a:xfrm>
          <a:prstGeom prst="roundRect">
            <a:avLst/>
          </a:prstGeom>
          <a:solidFill>
            <a:schemeClr val="bg1">
              <a:lumMod val="95000"/>
            </a:schemeClr>
          </a:solidFill>
          <a:ln w="25400">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rtlCol="0" anchor="ctr"/>
          <a:lstStyle/>
          <a:p>
            <a:pPr algn="ctr"/>
            <a:r>
              <a:rPr lang="en-AU" sz="1280" dirty="0">
                <a:solidFill>
                  <a:schemeClr val="tx1"/>
                </a:solidFill>
                <a:latin typeface="Calibri" panose="020F0502020204030204"/>
              </a:rPr>
              <a:t>Supported in Cloud?</a:t>
            </a:r>
          </a:p>
        </p:txBody>
      </p:sp>
      <p:sp>
        <p:nvSpPr>
          <p:cNvPr id="65" name="TextBox 64">
            <a:extLst>
              <a:ext uri="{FF2B5EF4-FFF2-40B4-BE49-F238E27FC236}">
                <a16:creationId xmlns:a16="http://schemas.microsoft.com/office/drawing/2014/main" id="{CA26FB13-0E49-BD47-BA48-6DFB670B5BC7}"/>
              </a:ext>
            </a:extLst>
          </p:cNvPr>
          <p:cNvSpPr txBox="1"/>
          <p:nvPr/>
        </p:nvSpPr>
        <p:spPr>
          <a:xfrm>
            <a:off x="10761054" y="5484501"/>
            <a:ext cx="547520" cy="289310"/>
          </a:xfrm>
          <a:prstGeom prst="rect">
            <a:avLst/>
          </a:prstGeom>
          <a:noFill/>
        </p:spPr>
        <p:txBody>
          <a:bodyPr wrap="square" rtlCol="0">
            <a:spAutoFit/>
          </a:bodyPr>
          <a:lstStyle/>
          <a:p>
            <a:pPr defTabSz="1097280">
              <a:defRPr/>
            </a:pPr>
            <a:r>
              <a:rPr lang="en-AU" sz="1280" i="1" dirty="0">
                <a:latin typeface="Calibri" panose="020F0502020204030204"/>
              </a:rPr>
              <a:t>Yes</a:t>
            </a:r>
          </a:p>
        </p:txBody>
      </p:sp>
      <p:cxnSp>
        <p:nvCxnSpPr>
          <p:cNvPr id="66" name="Elbow Connector 65">
            <a:extLst>
              <a:ext uri="{FF2B5EF4-FFF2-40B4-BE49-F238E27FC236}">
                <a16:creationId xmlns:a16="http://schemas.microsoft.com/office/drawing/2014/main" id="{883F2AB2-6ADA-6744-8B27-1842C9AF7A7A}"/>
              </a:ext>
            </a:extLst>
          </p:cNvPr>
          <p:cNvCxnSpPr>
            <a:cxnSpLocks/>
            <a:stCxn id="23" idx="2"/>
            <a:endCxn id="63" idx="1"/>
          </p:cNvCxnSpPr>
          <p:nvPr/>
        </p:nvCxnSpPr>
        <p:spPr>
          <a:xfrm rot="16200000" flipH="1">
            <a:off x="6140882" y="2740115"/>
            <a:ext cx="605640" cy="5555009"/>
          </a:xfrm>
          <a:prstGeom prst="bentConnector2">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78" name="Rounded Rectangle 77">
            <a:extLst>
              <a:ext uri="{FF2B5EF4-FFF2-40B4-BE49-F238E27FC236}">
                <a16:creationId xmlns:a16="http://schemas.microsoft.com/office/drawing/2014/main" id="{44148E8A-15FE-DF47-B3FD-8C2724DA4476}"/>
              </a:ext>
            </a:extLst>
          </p:cNvPr>
          <p:cNvSpPr/>
          <p:nvPr/>
        </p:nvSpPr>
        <p:spPr>
          <a:xfrm>
            <a:off x="11517823" y="5500269"/>
            <a:ext cx="1555200" cy="640339"/>
          </a:xfrm>
          <a:prstGeom prst="roundRect">
            <a:avLst/>
          </a:prstGeom>
          <a:solidFill>
            <a:schemeClr val="bg1">
              <a:lumMod val="95000"/>
            </a:schemeClr>
          </a:solidFill>
          <a:ln w="25400">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rtlCol="0" anchor="ctr"/>
          <a:lstStyle/>
          <a:p>
            <a:pPr algn="ctr"/>
            <a:r>
              <a:rPr lang="en-AU" sz="1280" dirty="0">
                <a:solidFill>
                  <a:schemeClr val="tx1"/>
                </a:solidFill>
                <a:latin typeface="Calibri" panose="020F0502020204030204"/>
              </a:rPr>
              <a:t>Time available to migrate?</a:t>
            </a:r>
          </a:p>
        </p:txBody>
      </p:sp>
      <p:sp>
        <p:nvSpPr>
          <p:cNvPr id="91" name="TextBox 90">
            <a:extLst>
              <a:ext uri="{FF2B5EF4-FFF2-40B4-BE49-F238E27FC236}">
                <a16:creationId xmlns:a16="http://schemas.microsoft.com/office/drawing/2014/main" id="{1AA83BAA-62B8-6A45-9B5F-FC361C9D32E7}"/>
              </a:ext>
            </a:extLst>
          </p:cNvPr>
          <p:cNvSpPr txBox="1"/>
          <p:nvPr/>
        </p:nvSpPr>
        <p:spPr>
          <a:xfrm>
            <a:off x="9590507" y="6156377"/>
            <a:ext cx="547520" cy="289310"/>
          </a:xfrm>
          <a:prstGeom prst="rect">
            <a:avLst/>
          </a:prstGeom>
          <a:noFill/>
        </p:spPr>
        <p:txBody>
          <a:bodyPr wrap="square" rtlCol="0">
            <a:spAutoFit/>
          </a:bodyPr>
          <a:lstStyle/>
          <a:p>
            <a:pPr defTabSz="1097280">
              <a:defRPr/>
            </a:pPr>
            <a:r>
              <a:rPr lang="en-AU" sz="1280" i="1" dirty="0">
                <a:latin typeface="Calibri" panose="020F0502020204030204"/>
              </a:rPr>
              <a:t>No</a:t>
            </a:r>
          </a:p>
        </p:txBody>
      </p:sp>
      <p:cxnSp>
        <p:nvCxnSpPr>
          <p:cNvPr id="92" name="Elbow Connector 91">
            <a:extLst>
              <a:ext uri="{FF2B5EF4-FFF2-40B4-BE49-F238E27FC236}">
                <a16:creationId xmlns:a16="http://schemas.microsoft.com/office/drawing/2014/main" id="{0D481A4A-A426-D342-929F-50F44DF2C85B}"/>
              </a:ext>
            </a:extLst>
          </p:cNvPr>
          <p:cNvCxnSpPr>
            <a:cxnSpLocks/>
            <a:stCxn id="78" idx="2"/>
            <a:endCxn id="72" idx="0"/>
          </p:cNvCxnSpPr>
          <p:nvPr/>
        </p:nvCxnSpPr>
        <p:spPr>
          <a:xfrm rot="16200000" flipH="1">
            <a:off x="11960284" y="6475746"/>
            <a:ext cx="670278" cy="1"/>
          </a:xfrm>
          <a:prstGeom prst="bentConnector3">
            <a:avLst>
              <a:gd name="adj1" fmla="val 50000"/>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96" name="TextBox 95">
            <a:extLst>
              <a:ext uri="{FF2B5EF4-FFF2-40B4-BE49-F238E27FC236}">
                <a16:creationId xmlns:a16="http://schemas.microsoft.com/office/drawing/2014/main" id="{D7A84FCF-9173-8148-9728-0CD28C238983}"/>
              </a:ext>
            </a:extLst>
          </p:cNvPr>
          <p:cNvSpPr txBox="1"/>
          <p:nvPr/>
        </p:nvSpPr>
        <p:spPr>
          <a:xfrm>
            <a:off x="11387890" y="6147640"/>
            <a:ext cx="1015195" cy="289310"/>
          </a:xfrm>
          <a:prstGeom prst="rect">
            <a:avLst/>
          </a:prstGeom>
          <a:noFill/>
        </p:spPr>
        <p:txBody>
          <a:bodyPr wrap="square" rtlCol="0">
            <a:spAutoFit/>
          </a:bodyPr>
          <a:lstStyle/>
          <a:p>
            <a:pPr defTabSz="1097280">
              <a:defRPr/>
            </a:pPr>
            <a:r>
              <a:rPr lang="en-AU" sz="1280" i="1" dirty="0">
                <a:latin typeface="Calibri" panose="020F0502020204030204"/>
              </a:rPr>
              <a:t>&lt; 4 months</a:t>
            </a:r>
          </a:p>
        </p:txBody>
      </p:sp>
      <p:cxnSp>
        <p:nvCxnSpPr>
          <p:cNvPr id="106" name="Elbow Connector 105">
            <a:extLst>
              <a:ext uri="{FF2B5EF4-FFF2-40B4-BE49-F238E27FC236}">
                <a16:creationId xmlns:a16="http://schemas.microsoft.com/office/drawing/2014/main" id="{1E73F5E0-761A-494F-A1FF-7000B238F2C2}"/>
              </a:ext>
            </a:extLst>
          </p:cNvPr>
          <p:cNvCxnSpPr>
            <a:cxnSpLocks/>
            <a:stCxn id="134" idx="2"/>
            <a:endCxn id="63" idx="1"/>
          </p:cNvCxnSpPr>
          <p:nvPr/>
        </p:nvCxnSpPr>
        <p:spPr>
          <a:xfrm rot="16200000" flipH="1">
            <a:off x="8265106" y="4864339"/>
            <a:ext cx="609520" cy="1302682"/>
          </a:xfrm>
          <a:prstGeom prst="bentConnector2">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117" name="TextBox 116">
            <a:extLst>
              <a:ext uri="{FF2B5EF4-FFF2-40B4-BE49-F238E27FC236}">
                <a16:creationId xmlns:a16="http://schemas.microsoft.com/office/drawing/2014/main" id="{46B884CD-49E3-854E-B0FD-C0D20B45C52F}"/>
              </a:ext>
            </a:extLst>
          </p:cNvPr>
          <p:cNvSpPr txBox="1"/>
          <p:nvPr/>
        </p:nvSpPr>
        <p:spPr>
          <a:xfrm>
            <a:off x="6494240" y="4508990"/>
            <a:ext cx="547520" cy="289310"/>
          </a:xfrm>
          <a:prstGeom prst="rect">
            <a:avLst/>
          </a:prstGeom>
          <a:noFill/>
        </p:spPr>
        <p:txBody>
          <a:bodyPr wrap="square" rtlCol="0">
            <a:spAutoFit/>
          </a:bodyPr>
          <a:lstStyle/>
          <a:p>
            <a:pPr defTabSz="1097280">
              <a:defRPr/>
            </a:pPr>
            <a:r>
              <a:rPr lang="en-AU" sz="1280" i="1" dirty="0">
                <a:latin typeface="Calibri" panose="020F0502020204030204"/>
              </a:rPr>
              <a:t>Yes</a:t>
            </a:r>
          </a:p>
        </p:txBody>
      </p:sp>
      <p:sp>
        <p:nvSpPr>
          <p:cNvPr id="118" name="TextBox 117">
            <a:extLst>
              <a:ext uri="{FF2B5EF4-FFF2-40B4-BE49-F238E27FC236}">
                <a16:creationId xmlns:a16="http://schemas.microsoft.com/office/drawing/2014/main" id="{403C6D3B-516C-484D-83F7-7291E8D32B4C}"/>
              </a:ext>
            </a:extLst>
          </p:cNvPr>
          <p:cNvSpPr txBox="1"/>
          <p:nvPr/>
        </p:nvSpPr>
        <p:spPr>
          <a:xfrm>
            <a:off x="5365510" y="5195191"/>
            <a:ext cx="547520" cy="289310"/>
          </a:xfrm>
          <a:prstGeom prst="rect">
            <a:avLst/>
          </a:prstGeom>
          <a:noFill/>
        </p:spPr>
        <p:txBody>
          <a:bodyPr wrap="square" rtlCol="0">
            <a:spAutoFit/>
          </a:bodyPr>
          <a:lstStyle/>
          <a:p>
            <a:pPr defTabSz="1097280">
              <a:defRPr/>
            </a:pPr>
            <a:r>
              <a:rPr lang="en-AU" sz="1280" i="1" dirty="0">
                <a:latin typeface="Calibri" panose="020F0502020204030204"/>
              </a:rPr>
              <a:t>No</a:t>
            </a:r>
          </a:p>
        </p:txBody>
      </p:sp>
      <p:cxnSp>
        <p:nvCxnSpPr>
          <p:cNvPr id="119" name="Elbow Connector 118">
            <a:extLst>
              <a:ext uri="{FF2B5EF4-FFF2-40B4-BE49-F238E27FC236}">
                <a16:creationId xmlns:a16="http://schemas.microsoft.com/office/drawing/2014/main" id="{6E00895D-DBF6-BB46-8866-347148DCC01B}"/>
              </a:ext>
            </a:extLst>
          </p:cNvPr>
          <p:cNvCxnSpPr>
            <a:cxnSpLocks/>
            <a:stCxn id="26" idx="2"/>
            <a:endCxn id="63" idx="1"/>
          </p:cNvCxnSpPr>
          <p:nvPr/>
        </p:nvCxnSpPr>
        <p:spPr>
          <a:xfrm rot="16200000" flipH="1">
            <a:off x="7185001" y="3784233"/>
            <a:ext cx="609519" cy="3462893"/>
          </a:xfrm>
          <a:prstGeom prst="bentConnector2">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36" name="Elbow Connector 135">
            <a:extLst>
              <a:ext uri="{FF2B5EF4-FFF2-40B4-BE49-F238E27FC236}">
                <a16:creationId xmlns:a16="http://schemas.microsoft.com/office/drawing/2014/main" id="{EF5EDA5C-59B3-9C44-8746-ADD2B05853C6}"/>
              </a:ext>
            </a:extLst>
          </p:cNvPr>
          <p:cNvCxnSpPr>
            <a:cxnSpLocks/>
            <a:stCxn id="78" idx="3"/>
            <a:endCxn id="107" idx="2"/>
          </p:cNvCxnSpPr>
          <p:nvPr/>
        </p:nvCxnSpPr>
        <p:spPr>
          <a:xfrm flipH="1">
            <a:off x="10001294" y="5820439"/>
            <a:ext cx="3071729" cy="1803033"/>
          </a:xfrm>
          <a:prstGeom prst="bentConnector4">
            <a:avLst>
              <a:gd name="adj1" fmla="val -28081"/>
              <a:gd name="adj2" fmla="val 112679"/>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7" name="Elbow Connector 186">
            <a:extLst>
              <a:ext uri="{FF2B5EF4-FFF2-40B4-BE49-F238E27FC236}">
                <a16:creationId xmlns:a16="http://schemas.microsoft.com/office/drawing/2014/main" id="{A013A085-8E78-C647-889C-25E098D913CF}"/>
              </a:ext>
            </a:extLst>
          </p:cNvPr>
          <p:cNvCxnSpPr>
            <a:cxnSpLocks/>
            <a:stCxn id="134" idx="3"/>
            <a:endCxn id="76" idx="2"/>
          </p:cNvCxnSpPr>
          <p:nvPr/>
        </p:nvCxnSpPr>
        <p:spPr>
          <a:xfrm flipH="1">
            <a:off x="7645647" y="4894120"/>
            <a:ext cx="1050478" cy="2750375"/>
          </a:xfrm>
          <a:prstGeom prst="bentConnector4">
            <a:avLst>
              <a:gd name="adj1" fmla="val -538498"/>
              <a:gd name="adj2" fmla="val 115405"/>
            </a:avLst>
          </a:prstGeom>
          <a:ln w="254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132783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ounded Rectangle 32"/>
          <p:cNvSpPr/>
          <p:nvPr/>
        </p:nvSpPr>
        <p:spPr>
          <a:xfrm>
            <a:off x="1749798" y="7161387"/>
            <a:ext cx="12520858" cy="362096"/>
          </a:xfrm>
          <a:prstGeom prst="roundRect">
            <a:avLst/>
          </a:prstGeom>
          <a:gradFill>
            <a:gsLst>
              <a:gs pos="0">
                <a:srgbClr val="FF0000"/>
              </a:gs>
              <a:gs pos="42000">
                <a:srgbClr val="FFFF00"/>
              </a:gs>
              <a:gs pos="70000">
                <a:srgbClr val="0C9B2E"/>
              </a:gs>
            </a:gsLst>
            <a:lin ang="108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463005"/>
            <a:r>
              <a:rPr lang="en-US" sz="1600" kern="0" dirty="0">
                <a:solidFill>
                  <a:schemeClr val="tx1"/>
                </a:solidFill>
                <a:latin typeface="Arial"/>
                <a:sym typeface="Arial"/>
              </a:rPr>
              <a:t>Test       Development    	 			     Production			</a:t>
            </a:r>
          </a:p>
        </p:txBody>
      </p:sp>
      <p:sp>
        <p:nvSpPr>
          <p:cNvPr id="19" name="Rounded Rectangle 18"/>
          <p:cNvSpPr/>
          <p:nvPr/>
        </p:nvSpPr>
        <p:spPr>
          <a:xfrm>
            <a:off x="1738734" y="6491798"/>
            <a:ext cx="12526574" cy="377643"/>
          </a:xfrm>
          <a:prstGeom prst="roundRect">
            <a:avLst/>
          </a:prstGeom>
          <a:gradFill flip="none" rotWithShape="1">
            <a:gsLst>
              <a:gs pos="0">
                <a:srgbClr val="FF0000"/>
              </a:gs>
              <a:gs pos="36000">
                <a:srgbClr val="FFFF00"/>
              </a:gs>
              <a:gs pos="79000">
                <a:srgbClr val="0C9B2E"/>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463005"/>
            <a:r>
              <a:rPr lang="en-US" sz="1600" kern="0" dirty="0">
                <a:solidFill>
                  <a:srgbClr val="FFFFFF"/>
                </a:solidFill>
                <a:latin typeface="Arial"/>
                <a:sym typeface="Arial"/>
              </a:rPr>
              <a:t>Public/Internet		Partners	Internal Only			Restricted		</a:t>
            </a:r>
          </a:p>
        </p:txBody>
      </p:sp>
      <p:sp>
        <p:nvSpPr>
          <p:cNvPr id="2" name="Title 1"/>
          <p:cNvSpPr>
            <a:spLocks noGrp="1"/>
          </p:cNvSpPr>
          <p:nvPr>
            <p:ph type="title"/>
          </p:nvPr>
        </p:nvSpPr>
        <p:spPr>
          <a:xfrm>
            <a:off x="472362" y="216965"/>
            <a:ext cx="13128486" cy="873186"/>
          </a:xfrm>
        </p:spPr>
        <p:txBody>
          <a:bodyPr/>
          <a:lstStyle/>
          <a:p>
            <a:r>
              <a:rPr lang="en-US" dirty="0">
                <a:solidFill>
                  <a:schemeClr val="tx1"/>
                </a:solidFill>
              </a:rPr>
              <a:t>Application Prioritization Criteria</a:t>
            </a:r>
            <a:endParaRPr lang="en-US" sz="2240" b="0" dirty="0">
              <a:solidFill>
                <a:schemeClr val="tx1"/>
              </a:solidFill>
            </a:endParaRPr>
          </a:p>
        </p:txBody>
      </p:sp>
      <p:sp>
        <p:nvSpPr>
          <p:cNvPr id="5" name="TextBox 4"/>
          <p:cNvSpPr txBox="1"/>
          <p:nvPr/>
        </p:nvSpPr>
        <p:spPr>
          <a:xfrm>
            <a:off x="488813" y="6450232"/>
            <a:ext cx="712054" cy="289310"/>
          </a:xfrm>
          <a:prstGeom prst="rect">
            <a:avLst/>
          </a:prstGeom>
          <a:noFill/>
        </p:spPr>
        <p:txBody>
          <a:bodyPr wrap="none" rtlCol="0">
            <a:spAutoFit/>
          </a:bodyPr>
          <a:lstStyle/>
          <a:p>
            <a:pPr defTabSz="1463005"/>
            <a:r>
              <a:rPr lang="en-US" sz="1280" kern="0" dirty="0">
                <a:latin typeface="Arial"/>
                <a:cs typeface="Arial"/>
                <a:sym typeface="Arial"/>
              </a:rPr>
              <a:t>Access</a:t>
            </a:r>
          </a:p>
        </p:txBody>
      </p:sp>
      <p:sp>
        <p:nvSpPr>
          <p:cNvPr id="13" name="TextBox 12"/>
          <p:cNvSpPr txBox="1"/>
          <p:nvPr/>
        </p:nvSpPr>
        <p:spPr>
          <a:xfrm>
            <a:off x="486649" y="1593216"/>
            <a:ext cx="1091419" cy="289310"/>
          </a:xfrm>
          <a:prstGeom prst="rect">
            <a:avLst/>
          </a:prstGeom>
          <a:noFill/>
        </p:spPr>
        <p:txBody>
          <a:bodyPr wrap="square" rtlCol="0">
            <a:spAutoFit/>
          </a:bodyPr>
          <a:lstStyle/>
          <a:p>
            <a:pPr defTabSz="1463005"/>
            <a:r>
              <a:rPr lang="en-US" sz="1280" kern="0" dirty="0">
                <a:latin typeface="Arial"/>
                <a:cs typeface="Arial"/>
                <a:sym typeface="Arial"/>
              </a:rPr>
              <a:t>Risk</a:t>
            </a:r>
          </a:p>
        </p:txBody>
      </p:sp>
      <p:sp>
        <p:nvSpPr>
          <p:cNvPr id="21" name="TextBox 20"/>
          <p:cNvSpPr txBox="1"/>
          <p:nvPr/>
        </p:nvSpPr>
        <p:spPr>
          <a:xfrm>
            <a:off x="2051241" y="2322326"/>
            <a:ext cx="894797" cy="289310"/>
          </a:xfrm>
          <a:prstGeom prst="rect">
            <a:avLst/>
          </a:prstGeom>
          <a:noFill/>
        </p:spPr>
        <p:txBody>
          <a:bodyPr wrap="none" rtlCol="0">
            <a:spAutoFit/>
          </a:bodyPr>
          <a:lstStyle/>
          <a:p>
            <a:pPr defTabSz="1463005"/>
            <a:r>
              <a:rPr lang="en-US" sz="1280" kern="0" dirty="0">
                <a:solidFill>
                  <a:srgbClr val="FFFFFF"/>
                </a:solidFill>
                <a:latin typeface="Arial"/>
                <a:cs typeface="Arial"/>
                <a:sym typeface="Arial"/>
              </a:rPr>
              <a:t>Test Data</a:t>
            </a:r>
          </a:p>
        </p:txBody>
      </p:sp>
      <p:sp>
        <p:nvSpPr>
          <p:cNvPr id="30" name="TextBox 29"/>
          <p:cNvSpPr txBox="1"/>
          <p:nvPr/>
        </p:nvSpPr>
        <p:spPr>
          <a:xfrm>
            <a:off x="492165" y="7121885"/>
            <a:ext cx="1104790" cy="289310"/>
          </a:xfrm>
          <a:prstGeom prst="rect">
            <a:avLst/>
          </a:prstGeom>
          <a:noFill/>
        </p:spPr>
        <p:txBody>
          <a:bodyPr wrap="none" rtlCol="0">
            <a:spAutoFit/>
          </a:bodyPr>
          <a:lstStyle/>
          <a:p>
            <a:pPr defTabSz="1463005"/>
            <a:r>
              <a:rPr lang="en-US" sz="1280" kern="0" dirty="0">
                <a:latin typeface="Arial"/>
                <a:cs typeface="Arial"/>
                <a:sym typeface="Arial"/>
              </a:rPr>
              <a:t>Environment</a:t>
            </a:r>
          </a:p>
        </p:txBody>
      </p:sp>
      <p:sp>
        <p:nvSpPr>
          <p:cNvPr id="89" name="Rounded Rectangle 88"/>
          <p:cNvSpPr/>
          <p:nvPr/>
        </p:nvSpPr>
        <p:spPr>
          <a:xfrm>
            <a:off x="1776919" y="1570596"/>
            <a:ext cx="12526574" cy="377643"/>
          </a:xfrm>
          <a:prstGeom prst="roundRect">
            <a:avLst/>
          </a:prstGeom>
          <a:gradFill flip="none" rotWithShape="1">
            <a:gsLst>
              <a:gs pos="0">
                <a:srgbClr val="C00000"/>
              </a:gs>
              <a:gs pos="59000">
                <a:srgbClr val="FFFF00"/>
              </a:gs>
              <a:gs pos="71000">
                <a:srgbClr val="0C9B2E"/>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463005"/>
            <a:r>
              <a:rPr lang="en-US" sz="1600" kern="0" dirty="0">
                <a:solidFill>
                  <a:srgbClr val="FFFFFF"/>
                </a:solidFill>
                <a:latin typeface="Arial"/>
                <a:sym typeface="Arial"/>
              </a:rPr>
              <a:t>Low Business Impact/Cloud Mitigates Risks				                        High Business Impact</a:t>
            </a:r>
          </a:p>
        </p:txBody>
      </p:sp>
      <p:sp>
        <p:nvSpPr>
          <p:cNvPr id="93" name="Rounded Rectangle 92"/>
          <p:cNvSpPr/>
          <p:nvPr/>
        </p:nvSpPr>
        <p:spPr>
          <a:xfrm>
            <a:off x="1738733" y="5750887"/>
            <a:ext cx="12539072" cy="377643"/>
          </a:xfrm>
          <a:prstGeom prst="roundRect">
            <a:avLst/>
          </a:prstGeom>
          <a:gradFill flip="none" rotWithShape="1">
            <a:gsLst>
              <a:gs pos="0">
                <a:srgbClr val="FF0000"/>
              </a:gs>
              <a:gs pos="40000">
                <a:srgbClr val="FFFF00"/>
              </a:gs>
              <a:gs pos="49000">
                <a:srgbClr val="0C9B2E"/>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463005"/>
            <a:r>
              <a:rPr lang="en-US" sz="1600" kern="0" dirty="0">
                <a:solidFill>
                  <a:srgbClr val="FFFFFF"/>
                </a:solidFill>
                <a:latin typeface="Arial"/>
                <a:sym typeface="Arial"/>
              </a:rPr>
              <a:t>Unregulated		Minor Compliance		    Heavily Regulated		       </a:t>
            </a:r>
          </a:p>
        </p:txBody>
      </p:sp>
      <p:sp>
        <p:nvSpPr>
          <p:cNvPr id="95" name="TextBox 94"/>
          <p:cNvSpPr txBox="1"/>
          <p:nvPr/>
        </p:nvSpPr>
        <p:spPr>
          <a:xfrm>
            <a:off x="503140" y="5734261"/>
            <a:ext cx="978153" cy="289310"/>
          </a:xfrm>
          <a:prstGeom prst="rect">
            <a:avLst/>
          </a:prstGeom>
          <a:noFill/>
        </p:spPr>
        <p:txBody>
          <a:bodyPr wrap="none" rtlCol="0">
            <a:spAutoFit/>
          </a:bodyPr>
          <a:lstStyle/>
          <a:p>
            <a:pPr defTabSz="1463005"/>
            <a:r>
              <a:rPr lang="en-US" sz="1280" kern="0" dirty="0">
                <a:latin typeface="Arial"/>
                <a:cs typeface="Arial"/>
                <a:sym typeface="Arial"/>
              </a:rPr>
              <a:t>Regulatory</a:t>
            </a:r>
          </a:p>
        </p:txBody>
      </p:sp>
      <p:sp>
        <p:nvSpPr>
          <p:cNvPr id="25" name="TextBox 24"/>
          <p:cNvSpPr txBox="1"/>
          <p:nvPr/>
        </p:nvSpPr>
        <p:spPr>
          <a:xfrm>
            <a:off x="1080489" y="4389264"/>
            <a:ext cx="184731" cy="387798"/>
          </a:xfrm>
          <a:prstGeom prst="rect">
            <a:avLst/>
          </a:prstGeom>
          <a:noFill/>
        </p:spPr>
        <p:txBody>
          <a:bodyPr wrap="none" rtlCol="0">
            <a:spAutoFit/>
          </a:bodyPr>
          <a:lstStyle/>
          <a:p>
            <a:pPr defTabSz="1463005"/>
            <a:endParaRPr lang="en-US" sz="1920" kern="0" dirty="0">
              <a:solidFill>
                <a:srgbClr val="000000"/>
              </a:solidFill>
              <a:latin typeface="Arial"/>
              <a:cs typeface="Arial"/>
              <a:sym typeface="Arial"/>
            </a:endParaRPr>
          </a:p>
        </p:txBody>
      </p:sp>
      <p:sp>
        <p:nvSpPr>
          <p:cNvPr id="96" name="TextBox 95"/>
          <p:cNvSpPr txBox="1"/>
          <p:nvPr/>
        </p:nvSpPr>
        <p:spPr>
          <a:xfrm>
            <a:off x="503140" y="4385190"/>
            <a:ext cx="595035" cy="289310"/>
          </a:xfrm>
          <a:prstGeom prst="rect">
            <a:avLst/>
          </a:prstGeom>
          <a:noFill/>
        </p:spPr>
        <p:txBody>
          <a:bodyPr wrap="none" rtlCol="0">
            <a:spAutoFit/>
          </a:bodyPr>
          <a:lstStyle/>
          <a:p>
            <a:pPr defTabSz="1463005"/>
            <a:r>
              <a:rPr lang="en-US" sz="1280" kern="0" dirty="0">
                <a:latin typeface="Arial"/>
                <a:cs typeface="Arial"/>
                <a:sym typeface="Arial"/>
              </a:rPr>
              <a:t>Scale</a:t>
            </a:r>
          </a:p>
        </p:txBody>
      </p:sp>
      <p:sp>
        <p:nvSpPr>
          <p:cNvPr id="97" name="Rounded Rectangle 96"/>
          <p:cNvSpPr/>
          <p:nvPr/>
        </p:nvSpPr>
        <p:spPr>
          <a:xfrm>
            <a:off x="1759951" y="4362244"/>
            <a:ext cx="12526574" cy="377643"/>
          </a:xfrm>
          <a:prstGeom prst="roundRect">
            <a:avLst/>
          </a:prstGeom>
          <a:gradFill flip="none" rotWithShape="1">
            <a:gsLst>
              <a:gs pos="83000">
                <a:srgbClr val="FF0000"/>
              </a:gs>
              <a:gs pos="51000">
                <a:srgbClr val="FFFF00"/>
              </a:gs>
              <a:gs pos="8000">
                <a:srgbClr val="0C9B2E"/>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463005"/>
            <a:r>
              <a:rPr lang="en-US" sz="1600" kern="0" dirty="0">
                <a:solidFill>
                  <a:srgbClr val="FFFFFF"/>
                </a:solidFill>
                <a:latin typeface="Arial"/>
                <a:sym typeface="Arial"/>
              </a:rPr>
              <a:t>Variable/Growing Rapidly						 Static/Low Utilization</a:t>
            </a:r>
          </a:p>
        </p:txBody>
      </p:sp>
      <p:sp>
        <p:nvSpPr>
          <p:cNvPr id="56" name="TextBox 55"/>
          <p:cNvSpPr txBox="1"/>
          <p:nvPr/>
        </p:nvSpPr>
        <p:spPr>
          <a:xfrm>
            <a:off x="1734287" y="1110791"/>
            <a:ext cx="12562958" cy="387798"/>
          </a:xfrm>
          <a:prstGeom prst="rect">
            <a:avLst/>
          </a:prstGeom>
          <a:noFill/>
        </p:spPr>
        <p:txBody>
          <a:bodyPr wrap="square" rtlCol="0">
            <a:spAutoFit/>
          </a:bodyPr>
          <a:lstStyle/>
          <a:p>
            <a:pPr defTabSz="1463005"/>
            <a:r>
              <a:rPr lang="en-US" sz="1920" kern="0" dirty="0">
                <a:latin typeface="Arial"/>
                <a:cs typeface="Arial"/>
                <a:sym typeface="Arial"/>
              </a:rPr>
              <a:t>High Priority						                                Low Priority</a:t>
            </a:r>
          </a:p>
        </p:txBody>
      </p:sp>
      <p:sp>
        <p:nvSpPr>
          <p:cNvPr id="26" name="TextBox 25">
            <a:extLst>
              <a:ext uri="{FF2B5EF4-FFF2-40B4-BE49-F238E27FC236}">
                <a16:creationId xmlns:a16="http://schemas.microsoft.com/office/drawing/2014/main" id="{F3556B73-FBF3-CE46-9E75-D2B0F725DD6D}"/>
              </a:ext>
            </a:extLst>
          </p:cNvPr>
          <p:cNvSpPr txBox="1"/>
          <p:nvPr/>
        </p:nvSpPr>
        <p:spPr>
          <a:xfrm>
            <a:off x="528829" y="2941590"/>
            <a:ext cx="1239442" cy="486287"/>
          </a:xfrm>
          <a:prstGeom prst="rect">
            <a:avLst/>
          </a:prstGeom>
          <a:noFill/>
        </p:spPr>
        <p:txBody>
          <a:bodyPr wrap="none" rtlCol="0">
            <a:spAutoFit/>
          </a:bodyPr>
          <a:lstStyle/>
          <a:p>
            <a:pPr defTabSz="1463005"/>
            <a:r>
              <a:rPr lang="en-US" sz="1280" kern="0" dirty="0">
                <a:latin typeface="Arial"/>
                <a:cs typeface="Arial"/>
                <a:sym typeface="Arial"/>
              </a:rPr>
              <a:t>Cost Savings/ </a:t>
            </a:r>
          </a:p>
          <a:p>
            <a:pPr defTabSz="1463005"/>
            <a:r>
              <a:rPr lang="en-US" sz="1280" kern="0" dirty="0">
                <a:latin typeface="Arial"/>
                <a:cs typeface="Arial"/>
                <a:sym typeface="Arial"/>
              </a:rPr>
              <a:t>ROI</a:t>
            </a:r>
          </a:p>
        </p:txBody>
      </p:sp>
      <p:sp>
        <p:nvSpPr>
          <p:cNvPr id="27" name="Rounded Rectangle 26">
            <a:extLst>
              <a:ext uri="{FF2B5EF4-FFF2-40B4-BE49-F238E27FC236}">
                <a16:creationId xmlns:a16="http://schemas.microsoft.com/office/drawing/2014/main" id="{5A26C1A0-CDCD-FD40-B49A-48B4BE7D8EC4}"/>
              </a:ext>
            </a:extLst>
          </p:cNvPr>
          <p:cNvSpPr/>
          <p:nvPr/>
        </p:nvSpPr>
        <p:spPr>
          <a:xfrm>
            <a:off x="1770671" y="2978587"/>
            <a:ext cx="12526574" cy="377643"/>
          </a:xfrm>
          <a:prstGeom prst="roundRect">
            <a:avLst/>
          </a:prstGeom>
          <a:gradFill flip="none" rotWithShape="1">
            <a:gsLst>
              <a:gs pos="90000">
                <a:srgbClr val="FF0000"/>
              </a:gs>
              <a:gs pos="70000">
                <a:srgbClr val="FFFF00"/>
              </a:gs>
              <a:gs pos="14000">
                <a:srgbClr val="0C9B2E"/>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463005"/>
            <a:r>
              <a:rPr lang="en-US" sz="1600" kern="0" dirty="0">
                <a:solidFill>
                  <a:srgbClr val="FFFFFF"/>
                </a:solidFill>
                <a:latin typeface="Arial"/>
                <a:sym typeface="Arial"/>
              </a:rPr>
              <a:t>Migration Cost Recovered Rapidly				               Value Not Quickly Realized</a:t>
            </a:r>
          </a:p>
        </p:txBody>
      </p:sp>
      <p:sp>
        <p:nvSpPr>
          <p:cNvPr id="28" name="TextBox 27">
            <a:extLst>
              <a:ext uri="{FF2B5EF4-FFF2-40B4-BE49-F238E27FC236}">
                <a16:creationId xmlns:a16="http://schemas.microsoft.com/office/drawing/2014/main" id="{ADFE75CB-DA94-7A42-9A83-F2FDA248B20D}"/>
              </a:ext>
            </a:extLst>
          </p:cNvPr>
          <p:cNvSpPr txBox="1"/>
          <p:nvPr/>
        </p:nvSpPr>
        <p:spPr>
          <a:xfrm>
            <a:off x="482367" y="3694498"/>
            <a:ext cx="995785" cy="289310"/>
          </a:xfrm>
          <a:prstGeom prst="rect">
            <a:avLst/>
          </a:prstGeom>
          <a:noFill/>
        </p:spPr>
        <p:txBody>
          <a:bodyPr wrap="none" rtlCol="0">
            <a:spAutoFit/>
          </a:bodyPr>
          <a:lstStyle/>
          <a:p>
            <a:pPr defTabSz="1463005"/>
            <a:r>
              <a:rPr lang="en-US" sz="1280" kern="0" dirty="0">
                <a:latin typeface="Arial"/>
                <a:cs typeface="Arial"/>
                <a:sym typeface="Arial"/>
              </a:rPr>
              <a:t>Complexity</a:t>
            </a:r>
          </a:p>
        </p:txBody>
      </p:sp>
      <p:sp>
        <p:nvSpPr>
          <p:cNvPr id="29" name="Rounded Rectangle 28">
            <a:extLst>
              <a:ext uri="{FF2B5EF4-FFF2-40B4-BE49-F238E27FC236}">
                <a16:creationId xmlns:a16="http://schemas.microsoft.com/office/drawing/2014/main" id="{063B8537-3A87-884A-87A1-7BA6D6FCBDA7}"/>
              </a:ext>
            </a:extLst>
          </p:cNvPr>
          <p:cNvSpPr/>
          <p:nvPr/>
        </p:nvSpPr>
        <p:spPr>
          <a:xfrm>
            <a:off x="1770671" y="3671879"/>
            <a:ext cx="12526574" cy="377643"/>
          </a:xfrm>
          <a:prstGeom prst="roundRect">
            <a:avLst/>
          </a:prstGeom>
          <a:gradFill flip="none" rotWithShape="1">
            <a:gsLst>
              <a:gs pos="100000">
                <a:srgbClr val="FF0000"/>
              </a:gs>
              <a:gs pos="34000">
                <a:srgbClr val="FFFF00"/>
              </a:gs>
              <a:gs pos="0">
                <a:srgbClr val="0C9B2E"/>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1463005"/>
            <a:r>
              <a:rPr lang="en-US" sz="1600" kern="0" dirty="0">
                <a:solidFill>
                  <a:srgbClr val="FFFFFF"/>
                </a:solidFill>
                <a:latin typeface="Arial"/>
                <a:sym typeface="Arial"/>
              </a:rPr>
              <a:t>Trivial to migrate                                                                           Detailed plans/Orchestration Required                         Heavy dependent</a:t>
            </a:r>
          </a:p>
        </p:txBody>
      </p:sp>
      <p:sp>
        <p:nvSpPr>
          <p:cNvPr id="31" name="TextBox 30">
            <a:extLst>
              <a:ext uri="{FF2B5EF4-FFF2-40B4-BE49-F238E27FC236}">
                <a16:creationId xmlns:a16="http://schemas.microsoft.com/office/drawing/2014/main" id="{781B0E46-7259-8C40-85E1-016829669204}"/>
              </a:ext>
            </a:extLst>
          </p:cNvPr>
          <p:cNvSpPr txBox="1"/>
          <p:nvPr/>
        </p:nvSpPr>
        <p:spPr>
          <a:xfrm>
            <a:off x="482367" y="2205954"/>
            <a:ext cx="1632275" cy="486287"/>
          </a:xfrm>
          <a:prstGeom prst="rect">
            <a:avLst/>
          </a:prstGeom>
          <a:noFill/>
        </p:spPr>
        <p:txBody>
          <a:bodyPr wrap="square" rtlCol="0">
            <a:spAutoFit/>
          </a:bodyPr>
          <a:lstStyle/>
          <a:p>
            <a:pPr defTabSz="1463005"/>
            <a:r>
              <a:rPr lang="en-US" sz="1280" kern="0" dirty="0">
                <a:latin typeface="Arial"/>
                <a:cs typeface="Arial"/>
                <a:sym typeface="Arial"/>
              </a:rPr>
              <a:t>Change Effort</a:t>
            </a:r>
          </a:p>
          <a:p>
            <a:pPr defTabSz="1463005"/>
            <a:r>
              <a:rPr lang="en-US" sz="1280" kern="0" dirty="0">
                <a:latin typeface="Arial"/>
                <a:cs typeface="Arial"/>
                <a:sym typeface="Arial"/>
              </a:rPr>
              <a:t>Required</a:t>
            </a:r>
          </a:p>
        </p:txBody>
      </p:sp>
      <p:sp>
        <p:nvSpPr>
          <p:cNvPr id="34" name="Rounded Rectangle 33">
            <a:extLst>
              <a:ext uri="{FF2B5EF4-FFF2-40B4-BE49-F238E27FC236}">
                <a16:creationId xmlns:a16="http://schemas.microsoft.com/office/drawing/2014/main" id="{D278C55B-0184-4F4F-92F1-403E5AF5C76E}"/>
              </a:ext>
            </a:extLst>
          </p:cNvPr>
          <p:cNvSpPr/>
          <p:nvPr/>
        </p:nvSpPr>
        <p:spPr>
          <a:xfrm>
            <a:off x="1780291" y="2276299"/>
            <a:ext cx="12526574" cy="377643"/>
          </a:xfrm>
          <a:prstGeom prst="roundRect">
            <a:avLst/>
          </a:prstGeom>
          <a:gradFill flip="none" rotWithShape="1">
            <a:gsLst>
              <a:gs pos="100000">
                <a:srgbClr val="FF0000"/>
              </a:gs>
              <a:gs pos="60000">
                <a:srgbClr val="FFFF00"/>
              </a:gs>
              <a:gs pos="42000">
                <a:srgbClr val="0C9B2E"/>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463005"/>
            <a:r>
              <a:rPr lang="en-US" sz="1600" kern="0" dirty="0">
                <a:solidFill>
                  <a:srgbClr val="FFFFFF"/>
                </a:solidFill>
                <a:latin typeface="Arial"/>
                <a:sym typeface="Arial"/>
              </a:rPr>
              <a:t>Current Platforms/Minor Transformation			                 Outdated Platforms/Major Transformation</a:t>
            </a:r>
          </a:p>
        </p:txBody>
      </p:sp>
      <p:sp>
        <p:nvSpPr>
          <p:cNvPr id="35" name="TextBox 34">
            <a:extLst>
              <a:ext uri="{FF2B5EF4-FFF2-40B4-BE49-F238E27FC236}">
                <a16:creationId xmlns:a16="http://schemas.microsoft.com/office/drawing/2014/main" id="{F228740F-377F-EA4B-9E20-022B404B85C7}"/>
              </a:ext>
            </a:extLst>
          </p:cNvPr>
          <p:cNvSpPr txBox="1"/>
          <p:nvPr/>
        </p:nvSpPr>
        <p:spPr>
          <a:xfrm>
            <a:off x="503140" y="5034725"/>
            <a:ext cx="622286" cy="289310"/>
          </a:xfrm>
          <a:prstGeom prst="rect">
            <a:avLst/>
          </a:prstGeom>
          <a:noFill/>
        </p:spPr>
        <p:txBody>
          <a:bodyPr wrap="none" rtlCol="0">
            <a:spAutoFit/>
          </a:bodyPr>
          <a:lstStyle/>
          <a:p>
            <a:pPr defTabSz="1463005"/>
            <a:r>
              <a:rPr lang="en-US" sz="1280" kern="0" dirty="0">
                <a:latin typeface="Arial"/>
                <a:cs typeface="Arial"/>
                <a:sym typeface="Arial"/>
              </a:rPr>
              <a:t>Agility</a:t>
            </a:r>
          </a:p>
        </p:txBody>
      </p:sp>
      <p:sp>
        <p:nvSpPr>
          <p:cNvPr id="36" name="Rounded Rectangle 35">
            <a:extLst>
              <a:ext uri="{FF2B5EF4-FFF2-40B4-BE49-F238E27FC236}">
                <a16:creationId xmlns:a16="http://schemas.microsoft.com/office/drawing/2014/main" id="{B2161CF2-60A0-F049-AE7D-730FE1CACE38}"/>
              </a:ext>
            </a:extLst>
          </p:cNvPr>
          <p:cNvSpPr/>
          <p:nvPr/>
        </p:nvSpPr>
        <p:spPr>
          <a:xfrm>
            <a:off x="1759951" y="5032620"/>
            <a:ext cx="12526574" cy="377643"/>
          </a:xfrm>
          <a:prstGeom prst="roundRect">
            <a:avLst/>
          </a:prstGeom>
          <a:gradFill flip="none" rotWithShape="1">
            <a:gsLst>
              <a:gs pos="94000">
                <a:srgbClr val="FF0000"/>
              </a:gs>
              <a:gs pos="78000">
                <a:srgbClr val="FFFF00"/>
              </a:gs>
              <a:gs pos="0">
                <a:srgbClr val="0C9B2E"/>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463005"/>
            <a:r>
              <a:rPr lang="en-US" sz="1600" kern="0" dirty="0">
                <a:solidFill>
                  <a:srgbClr val="FFFFFF"/>
                </a:solidFill>
                <a:latin typeface="Arial"/>
                <a:sym typeface="Arial"/>
              </a:rPr>
              <a:t>Active/Heavy Development						     Stagnant/Retiring</a:t>
            </a:r>
          </a:p>
        </p:txBody>
      </p:sp>
      <p:pic>
        <p:nvPicPr>
          <p:cNvPr id="24" name="Picture 23">
            <a:extLst>
              <a:ext uri="{FF2B5EF4-FFF2-40B4-BE49-F238E27FC236}">
                <a16:creationId xmlns:a16="http://schemas.microsoft.com/office/drawing/2014/main" id="{7F877B40-E343-834B-8A3F-47509B9E7C90}"/>
              </a:ext>
            </a:extLst>
          </p:cNvPr>
          <p:cNvPicPr>
            <a:picLocks noChangeAspect="1"/>
          </p:cNvPicPr>
          <p:nvPr/>
        </p:nvPicPr>
        <p:blipFill rotWithShape="1">
          <a:blip r:embed="rId3"/>
          <a:srcRect l="11024" r="14231"/>
          <a:stretch/>
        </p:blipFill>
        <p:spPr>
          <a:xfrm>
            <a:off x="13654112" y="6811"/>
            <a:ext cx="966264" cy="896112"/>
          </a:xfrm>
          <a:prstGeom prst="rect">
            <a:avLst/>
          </a:prstGeom>
        </p:spPr>
      </p:pic>
    </p:spTree>
    <p:extLst>
      <p:ext uri="{BB962C8B-B14F-4D97-AF65-F5344CB8AC3E}">
        <p14:creationId xmlns:p14="http://schemas.microsoft.com/office/powerpoint/2010/main" val="41302311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C97F0-FFD7-1747-A006-FBD87B9E58CB}"/>
              </a:ext>
            </a:extLst>
          </p:cNvPr>
          <p:cNvSpPr>
            <a:spLocks noGrp="1"/>
          </p:cNvSpPr>
          <p:nvPr>
            <p:ph type="title"/>
          </p:nvPr>
        </p:nvSpPr>
        <p:spPr/>
        <p:txBody>
          <a:bodyPr/>
          <a:lstStyle/>
          <a:p>
            <a:r>
              <a:rPr lang="en-US" dirty="0">
                <a:solidFill>
                  <a:schemeClr val="tx1"/>
                </a:solidFill>
              </a:rPr>
              <a:t>Dependency Groups and Wave Planning Considerations </a:t>
            </a:r>
          </a:p>
        </p:txBody>
      </p:sp>
      <p:sp>
        <p:nvSpPr>
          <p:cNvPr id="3" name="Content Placeholder 2">
            <a:extLst>
              <a:ext uri="{FF2B5EF4-FFF2-40B4-BE49-F238E27FC236}">
                <a16:creationId xmlns:a16="http://schemas.microsoft.com/office/drawing/2014/main" id="{1DCFE527-E3CB-3F4A-825A-8ACC3C32C9ED}"/>
              </a:ext>
            </a:extLst>
          </p:cNvPr>
          <p:cNvSpPr>
            <a:spLocks noGrp="1"/>
          </p:cNvSpPr>
          <p:nvPr>
            <p:ph idx="1"/>
          </p:nvPr>
        </p:nvSpPr>
        <p:spPr/>
        <p:txBody>
          <a:bodyPr/>
          <a:lstStyle/>
          <a:p>
            <a:pPr marL="548640" indent="-548640">
              <a:buFontTx/>
              <a:buChar char="-"/>
            </a:pPr>
            <a:r>
              <a:rPr lang="en-US" dirty="0">
                <a:solidFill>
                  <a:schemeClr val="tx1"/>
                </a:solidFill>
              </a:rPr>
              <a:t>Dependency Groups are an atomic unit and what </a:t>
            </a:r>
            <a:r>
              <a:rPr lang="en-US" u="sng" dirty="0">
                <a:solidFill>
                  <a:schemeClr val="tx1"/>
                </a:solidFill>
              </a:rPr>
              <a:t>MUST</a:t>
            </a:r>
            <a:r>
              <a:rPr lang="en-US" dirty="0">
                <a:solidFill>
                  <a:schemeClr val="tx1"/>
                </a:solidFill>
              </a:rPr>
              <a:t> move at the same time</a:t>
            </a:r>
          </a:p>
          <a:p>
            <a:pPr marL="548640" indent="-548640">
              <a:buFontTx/>
              <a:buChar char="-"/>
            </a:pPr>
            <a:r>
              <a:rPr lang="en-US" dirty="0">
                <a:solidFill>
                  <a:schemeClr val="tx1"/>
                </a:solidFill>
              </a:rPr>
              <a:t>Waves are what </a:t>
            </a:r>
            <a:r>
              <a:rPr lang="en-US" u="sng" dirty="0">
                <a:solidFill>
                  <a:schemeClr val="tx1"/>
                </a:solidFill>
              </a:rPr>
              <a:t>IS</a:t>
            </a:r>
            <a:r>
              <a:rPr lang="en-US" dirty="0">
                <a:solidFill>
                  <a:schemeClr val="tx1"/>
                </a:solidFill>
              </a:rPr>
              <a:t> moving over a period of time</a:t>
            </a:r>
          </a:p>
          <a:p>
            <a:pPr marL="548640" indent="-548640">
              <a:buFontTx/>
              <a:buChar char="-"/>
            </a:pPr>
            <a:r>
              <a:rPr lang="en-US" dirty="0">
                <a:solidFill>
                  <a:schemeClr val="tx1"/>
                </a:solidFill>
              </a:rPr>
              <a:t>Combine and schedule “groups” into waves</a:t>
            </a:r>
          </a:p>
          <a:p>
            <a:pPr marL="548640" indent="-548640">
              <a:buFontTx/>
              <a:buChar char="-"/>
            </a:pPr>
            <a:r>
              <a:rPr lang="en-US" dirty="0">
                <a:solidFill>
                  <a:schemeClr val="tx1"/>
                </a:solidFill>
              </a:rPr>
              <a:t>Waves consist of one or more Dependency Groups</a:t>
            </a:r>
          </a:p>
          <a:p>
            <a:pPr marL="548640" indent="-548640">
              <a:buFontTx/>
              <a:buChar char="-"/>
            </a:pPr>
            <a:r>
              <a:rPr lang="en-US" dirty="0">
                <a:solidFill>
                  <a:schemeClr val="tx1"/>
                </a:solidFill>
              </a:rPr>
              <a:t>Align Waves to Business Outcomes</a:t>
            </a:r>
          </a:p>
          <a:p>
            <a:pPr marL="548640" indent="-548640">
              <a:buFontTx/>
              <a:buChar char="-"/>
            </a:pPr>
            <a:r>
              <a:rPr lang="en-US" dirty="0">
                <a:solidFill>
                  <a:schemeClr val="tx1"/>
                </a:solidFill>
              </a:rPr>
              <a:t>A Wave can range from a few weeks to months</a:t>
            </a:r>
          </a:p>
          <a:p>
            <a:pPr marL="548640" indent="-548640">
              <a:buFontTx/>
              <a:buChar char="-"/>
            </a:pPr>
            <a:r>
              <a:rPr lang="en-US" dirty="0">
                <a:solidFill>
                  <a:schemeClr val="tx1"/>
                </a:solidFill>
              </a:rPr>
              <a:t>Smaller and frequent waves are preferable</a:t>
            </a:r>
          </a:p>
          <a:p>
            <a:pPr marL="548640" indent="-548640">
              <a:buFontTx/>
              <a:buChar char="-"/>
            </a:pPr>
            <a:r>
              <a:rPr lang="en-US" dirty="0">
                <a:solidFill>
                  <a:schemeClr val="tx1"/>
                </a:solidFill>
              </a:rPr>
              <a:t>Overlap Waves where possible to gain efficiencies</a:t>
            </a:r>
          </a:p>
          <a:p>
            <a:endParaRPr lang="en-US" dirty="0"/>
          </a:p>
        </p:txBody>
      </p:sp>
      <p:pic>
        <p:nvPicPr>
          <p:cNvPr id="4" name="Picture 3">
            <a:extLst>
              <a:ext uri="{FF2B5EF4-FFF2-40B4-BE49-F238E27FC236}">
                <a16:creationId xmlns:a16="http://schemas.microsoft.com/office/drawing/2014/main" id="{D6121D7C-6291-EB4E-BF27-6829845368B8}"/>
              </a:ext>
            </a:extLst>
          </p:cNvPr>
          <p:cNvPicPr>
            <a:picLocks noChangeAspect="1"/>
          </p:cNvPicPr>
          <p:nvPr/>
        </p:nvPicPr>
        <p:blipFill rotWithShape="1">
          <a:blip r:embed="rId3"/>
          <a:srcRect l="11024" r="14231"/>
          <a:stretch/>
        </p:blipFill>
        <p:spPr>
          <a:xfrm>
            <a:off x="13654112" y="6811"/>
            <a:ext cx="966264" cy="896112"/>
          </a:xfrm>
          <a:prstGeom prst="rect">
            <a:avLst/>
          </a:prstGeom>
        </p:spPr>
      </p:pic>
    </p:spTree>
    <p:extLst>
      <p:ext uri="{BB962C8B-B14F-4D97-AF65-F5344CB8AC3E}">
        <p14:creationId xmlns:p14="http://schemas.microsoft.com/office/powerpoint/2010/main" val="30315742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FKXENZor0uMJqAFqVLYb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ixxzw4E5k6wfqbzyau9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V7bf6Ep9kGs4A2oAXXc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FKXENZor0uMJqAFqVLYb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FKXENZor0uMJqAFqVLYb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V7bf6Ep9kGs4A2oAXXcAQ"/>
</p:tagLst>
</file>

<file path=ppt/theme/theme1.xml><?xml version="1.0" encoding="utf-8"?>
<a:theme xmlns:a="http://schemas.openxmlformats.org/drawingml/2006/main" name="DeckTemplate-AWS">
  <a:themeElements>
    <a:clrScheme name="Custom 16">
      <a:dk1>
        <a:srgbClr val="002D43"/>
      </a:dk1>
      <a:lt1>
        <a:srgbClr val="FFFFFF"/>
      </a:lt1>
      <a:dk2>
        <a:srgbClr val="232F3E"/>
      </a:dk2>
      <a:lt2>
        <a:srgbClr val="FFFFFF"/>
      </a:lt2>
      <a:accent1>
        <a:srgbClr val="FF9900"/>
      </a:accent1>
      <a:accent2>
        <a:srgbClr val="FDC500"/>
      </a:accent2>
      <a:accent3>
        <a:srgbClr val="4D27AA"/>
      </a:accent3>
      <a:accent4>
        <a:srgbClr val="A166FF"/>
      </a:accent4>
      <a:accent5>
        <a:srgbClr val="00A0C8"/>
      </a:accent5>
      <a:accent6>
        <a:srgbClr val="007DBC"/>
      </a:accent6>
      <a:hlink>
        <a:srgbClr val="00E0EA"/>
      </a:hlink>
      <a:folHlink>
        <a:srgbClr val="00A0C8"/>
      </a:folHlink>
    </a:clrScheme>
    <a:fontScheme name="Test">
      <a:majorFont>
        <a:latin typeface="Amazon Ember"/>
        <a:ea typeface=""/>
        <a:cs typeface=""/>
      </a:majorFont>
      <a:minorFont>
        <a:latin typeface="Amazon Embe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2900" dirty="0" err="1" smtClean="0">
            <a:latin typeface="Amazon Ember" panose="020B0603020204020204" pitchFamily="34" charset="0"/>
            <a:ea typeface="Amazon Ember" panose="020B0603020204020204" pitchFamily="34" charset="0"/>
            <a:cs typeface="Amazon Ember" panose="020B0603020204020204" pitchFamily="34" charset="0"/>
          </a:defRPr>
        </a:defPPr>
      </a:lstStyle>
    </a:txDef>
  </a:objectDefaults>
  <a:extraClrSchemeLst/>
  <a:extLst>
    <a:ext uri="{05A4C25C-085E-4340-85A3-A5531E510DB2}">
      <thm15:themeFamily xmlns:thm15="http://schemas.microsoft.com/office/thememl/2012/main" name="AWS_Deck_Template.potx" id="{956C5B2E-0233-4212-9383-50A039694C0C}" vid="{0176EEA5-D87D-4097-B356-86DC884F454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26A3D6C04DFD740953BA1B2B9E62D60" ma:contentTypeVersion="0" ma:contentTypeDescription="Create a new document." ma:contentTypeScope="" ma:versionID="26617cd14cd3af163c0e97ff614e520a">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705B35A6-8B52-46A5-AE45-B98C6459DC10}">
  <ds:schemaRefs>
    <ds:schemaRef ds:uri="http://schemas.microsoft.com/sharepoint/v3/contenttype/forms"/>
  </ds:schemaRefs>
</ds:datastoreItem>
</file>

<file path=customXml/itemProps2.xml><?xml version="1.0" encoding="utf-8"?>
<ds:datastoreItem xmlns:ds="http://schemas.openxmlformats.org/officeDocument/2006/customXml" ds:itemID="{51A3258A-222C-4488-825E-7520D001FB7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C597C89A-FD0C-431E-81F6-90225B937683}">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ckTemplate_AWS</Template>
  <TotalTime>70460</TotalTime>
  <Words>2301</Words>
  <Application>Microsoft Macintosh PowerPoint</Application>
  <PresentationFormat>Custom</PresentationFormat>
  <Paragraphs>323</Paragraphs>
  <Slides>12</Slides>
  <Notes>11</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2</vt:i4>
      </vt:variant>
    </vt:vector>
  </HeadingPairs>
  <TitlesOfParts>
    <vt:vector size="18" baseType="lpstr">
      <vt:lpstr>Amazon Ember</vt:lpstr>
      <vt:lpstr>Amazon Ember Light</vt:lpstr>
      <vt:lpstr>Amazon Ember Regular</vt:lpstr>
      <vt:lpstr>Arial</vt:lpstr>
      <vt:lpstr>Calibri</vt:lpstr>
      <vt:lpstr>DeckTemplate-AWS</vt:lpstr>
      <vt:lpstr>PowerPoint Presentation</vt:lpstr>
      <vt:lpstr>Agenda</vt:lpstr>
      <vt:lpstr>Customer journey</vt:lpstr>
      <vt:lpstr>Portfolio Assessment Overview</vt:lpstr>
      <vt:lpstr>Portfolio Assessment Questions</vt:lpstr>
      <vt:lpstr>“The 7 Rs of migration” </vt:lpstr>
      <vt:lpstr>Cloud Migration Sample 7R Disposition Tree</vt:lpstr>
      <vt:lpstr>Application Prioritization Criteria</vt:lpstr>
      <vt:lpstr>Dependency Groups and Wave Planning Considerations </vt:lpstr>
      <vt:lpstr>Typical Activity Cadence</vt:lpstr>
      <vt:lpstr>Portfolio Assessment Delivery Kit (DK)</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German Goncalves</cp:lastModifiedBy>
  <cp:revision>332</cp:revision>
  <dcterms:created xsi:type="dcterms:W3CDTF">2016-06-17T18:22:10Z</dcterms:created>
  <dcterms:modified xsi:type="dcterms:W3CDTF">2021-08-17T19:45: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6A3D6C04DFD740953BA1B2B9E62D60</vt:lpwstr>
  </property>
</Properties>
</file>